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8" r:id="rId2"/>
    <p:sldMasterId id="2147483723" r:id="rId3"/>
    <p:sldMasterId id="2147483735" r:id="rId4"/>
    <p:sldMasterId id="2147483769" r:id="rId5"/>
    <p:sldMasterId id="2147483775" r:id="rId6"/>
    <p:sldMasterId id="2147483818" r:id="rId7"/>
    <p:sldMasterId id="2147483824" r:id="rId8"/>
  </p:sldMasterIdLst>
  <p:notesMasterIdLst>
    <p:notesMasterId r:id="rId63"/>
  </p:notesMasterIdLst>
  <p:sldIdLst>
    <p:sldId id="257" r:id="rId9"/>
    <p:sldId id="258" r:id="rId10"/>
    <p:sldId id="1979422029" r:id="rId11"/>
    <p:sldId id="1979422115" r:id="rId12"/>
    <p:sldId id="1979422027" r:id="rId13"/>
    <p:sldId id="1979422114" r:id="rId14"/>
    <p:sldId id="1979422109" r:id="rId15"/>
    <p:sldId id="1979422113" r:id="rId16"/>
    <p:sldId id="1979422108" r:id="rId17"/>
    <p:sldId id="1979422104" r:id="rId18"/>
    <p:sldId id="1979422105" r:id="rId19"/>
    <p:sldId id="1979422106" r:id="rId20"/>
    <p:sldId id="1979422107" r:id="rId21"/>
    <p:sldId id="1979422095" r:id="rId22"/>
    <p:sldId id="262" r:id="rId23"/>
    <p:sldId id="263" r:id="rId24"/>
    <p:sldId id="264" r:id="rId25"/>
    <p:sldId id="266" r:id="rId26"/>
    <p:sldId id="267" r:id="rId27"/>
    <p:sldId id="268" r:id="rId28"/>
    <p:sldId id="269" r:id="rId29"/>
    <p:sldId id="270" r:id="rId30"/>
    <p:sldId id="271" r:id="rId31"/>
    <p:sldId id="272" r:id="rId32"/>
    <p:sldId id="1979422110" r:id="rId33"/>
    <p:sldId id="1979422094" r:id="rId34"/>
    <p:sldId id="275" r:id="rId35"/>
    <p:sldId id="276" r:id="rId36"/>
    <p:sldId id="278" r:id="rId37"/>
    <p:sldId id="279" r:id="rId38"/>
    <p:sldId id="282" r:id="rId39"/>
    <p:sldId id="1979422111" r:id="rId40"/>
    <p:sldId id="280" r:id="rId41"/>
    <p:sldId id="281" r:id="rId42"/>
    <p:sldId id="1979422112" r:id="rId43"/>
    <p:sldId id="1979422097" r:id="rId44"/>
    <p:sldId id="265" r:id="rId45"/>
    <p:sldId id="1979422098" r:id="rId46"/>
    <p:sldId id="1979422099" r:id="rId47"/>
    <p:sldId id="1979422100" r:id="rId48"/>
    <p:sldId id="693" r:id="rId49"/>
    <p:sldId id="694" r:id="rId50"/>
    <p:sldId id="695" r:id="rId51"/>
    <p:sldId id="719" r:id="rId52"/>
    <p:sldId id="697" r:id="rId53"/>
    <p:sldId id="698" r:id="rId54"/>
    <p:sldId id="1979422101" r:id="rId55"/>
    <p:sldId id="1979422102" r:id="rId56"/>
    <p:sldId id="1979422103" r:id="rId57"/>
    <p:sldId id="273" r:id="rId58"/>
    <p:sldId id="1979422093" r:id="rId59"/>
    <p:sldId id="1979422034" r:id="rId60"/>
    <p:sldId id="1979422049" r:id="rId61"/>
    <p:sldId id="1979422036" r:id="rId62"/>
  </p:sldIdLst>
  <p:sldSz cx="12192000" cy="6858000"/>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4F9223-B6D4-D14A-B279-9D7038014DEB}" v="88" dt="2020-04-16T07:58:21.8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70"/>
    <p:restoredTop sz="92177"/>
  </p:normalViewPr>
  <p:slideViewPr>
    <p:cSldViewPr snapToGrid="0" snapToObjects="1">
      <p:cViewPr varScale="1">
        <p:scale>
          <a:sx n="117" d="100"/>
          <a:sy n="117" d="100"/>
        </p:scale>
        <p:origin x="856" y="184"/>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notesMaster" Target="notesMasters/notesMaster1.xml"/><Relationship Id="rId68" Type="http://schemas.microsoft.com/office/2016/11/relationships/changesInfo" Target="changesInfos/changesInfo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k Tan (qutan)" userId="1cc8c1fc-bfb1-4b23-ae96-de603ddcbe90" providerId="ADAL" clId="{9FA03400-4DD3-D246-8FCF-0F7531916716}"/>
    <pc:docChg chg="custSel delSld modSld">
      <pc:chgData name="Frank Tan (qutan)" userId="1cc8c1fc-bfb1-4b23-ae96-de603ddcbe90" providerId="ADAL" clId="{9FA03400-4DD3-D246-8FCF-0F7531916716}" dt="2020-03-09T04:15:06.449" v="168" actId="20577"/>
      <pc:docMkLst>
        <pc:docMk/>
      </pc:docMkLst>
      <pc:sldChg chg="modSp">
        <pc:chgData name="Frank Tan (qutan)" userId="1cc8c1fc-bfb1-4b23-ae96-de603ddcbe90" providerId="ADAL" clId="{9FA03400-4DD3-D246-8FCF-0F7531916716}" dt="2020-03-09T04:11:20.103" v="50" actId="20577"/>
        <pc:sldMkLst>
          <pc:docMk/>
          <pc:sldMk cId="2193831592" sldId="257"/>
        </pc:sldMkLst>
        <pc:spChg chg="mod">
          <ac:chgData name="Frank Tan (qutan)" userId="1cc8c1fc-bfb1-4b23-ae96-de603ddcbe90" providerId="ADAL" clId="{9FA03400-4DD3-D246-8FCF-0F7531916716}" dt="2020-03-09T04:11:20.103" v="50" actId="20577"/>
          <ac:spMkLst>
            <pc:docMk/>
            <pc:sldMk cId="2193831592" sldId="257"/>
            <ac:spMk id="5" creationId="{690C8D39-1DA4-1A4F-96EE-E5E97F0772CC}"/>
          </ac:spMkLst>
        </pc:spChg>
      </pc:sldChg>
      <pc:sldChg chg="modSp">
        <pc:chgData name="Frank Tan (qutan)" userId="1cc8c1fc-bfb1-4b23-ae96-de603ddcbe90" providerId="ADAL" clId="{9FA03400-4DD3-D246-8FCF-0F7531916716}" dt="2020-03-09T04:13:37.259" v="148" actId="14100"/>
        <pc:sldMkLst>
          <pc:docMk/>
          <pc:sldMk cId="666991905" sldId="258"/>
        </pc:sldMkLst>
        <pc:spChg chg="mod">
          <ac:chgData name="Frank Tan (qutan)" userId="1cc8c1fc-bfb1-4b23-ae96-de603ddcbe90" providerId="ADAL" clId="{9FA03400-4DD3-D246-8FCF-0F7531916716}" dt="2020-03-09T04:13:37.259" v="148" actId="14100"/>
          <ac:spMkLst>
            <pc:docMk/>
            <pc:sldMk cId="666991905" sldId="258"/>
            <ac:spMk id="6" creationId="{2ECACC77-877A-934F-88DA-C325D964C959}"/>
          </ac:spMkLst>
        </pc:spChg>
      </pc:sldChg>
      <pc:sldChg chg="modSp">
        <pc:chgData name="Frank Tan (qutan)" userId="1cc8c1fc-bfb1-4b23-ae96-de603ddcbe90" providerId="ADAL" clId="{9FA03400-4DD3-D246-8FCF-0F7531916716}" dt="2020-03-09T04:15:06.449" v="168" actId="20577"/>
        <pc:sldMkLst>
          <pc:docMk/>
          <pc:sldMk cId="3225929323" sldId="1979422027"/>
        </pc:sldMkLst>
        <pc:spChg chg="mod">
          <ac:chgData name="Frank Tan (qutan)" userId="1cc8c1fc-bfb1-4b23-ae96-de603ddcbe90" providerId="ADAL" clId="{9FA03400-4DD3-D246-8FCF-0F7531916716}" dt="2020-03-09T04:15:06.449" v="168" actId="20577"/>
          <ac:spMkLst>
            <pc:docMk/>
            <pc:sldMk cId="3225929323" sldId="1979422027"/>
            <ac:spMk id="4" creationId="{D891410B-5DD0-BE4F-B12F-737A13614620}"/>
          </ac:spMkLst>
        </pc:spChg>
      </pc:sldChg>
      <pc:sldChg chg="del">
        <pc:chgData name="Frank Tan (qutan)" userId="1cc8c1fc-bfb1-4b23-ae96-de603ddcbe90" providerId="ADAL" clId="{9FA03400-4DD3-D246-8FCF-0F7531916716}" dt="2020-03-09T04:15:01.429" v="155" actId="2696"/>
        <pc:sldMkLst>
          <pc:docMk/>
          <pc:sldMk cId="3264067555" sldId="1979422028"/>
        </pc:sldMkLst>
      </pc:sldChg>
      <pc:sldChg chg="modSp">
        <pc:chgData name="Frank Tan (qutan)" userId="1cc8c1fc-bfb1-4b23-ae96-de603ddcbe90" providerId="ADAL" clId="{9FA03400-4DD3-D246-8FCF-0F7531916716}" dt="2020-03-09T04:13:43.308" v="154" actId="20577"/>
        <pc:sldMkLst>
          <pc:docMk/>
          <pc:sldMk cId="3408564166" sldId="1979422029"/>
        </pc:sldMkLst>
        <pc:spChg chg="mod">
          <ac:chgData name="Frank Tan (qutan)" userId="1cc8c1fc-bfb1-4b23-ae96-de603ddcbe90" providerId="ADAL" clId="{9FA03400-4DD3-D246-8FCF-0F7531916716}" dt="2020-03-09T04:13:43.308" v="154" actId="20577"/>
          <ac:spMkLst>
            <pc:docMk/>
            <pc:sldMk cId="3408564166" sldId="1979422029"/>
            <ac:spMk id="2" creationId="{71320CEF-A626-B14A-B5B7-331A0B41B1DD}"/>
          </ac:spMkLst>
        </pc:spChg>
      </pc:sldChg>
      <pc:sldChg chg="del">
        <pc:chgData name="Frank Tan (qutan)" userId="1cc8c1fc-bfb1-4b23-ae96-de603ddcbe90" providerId="ADAL" clId="{9FA03400-4DD3-D246-8FCF-0F7531916716}" dt="2020-03-09T04:15:01.440" v="156" actId="2696"/>
        <pc:sldMkLst>
          <pc:docMk/>
          <pc:sldMk cId="1899572075" sldId="1979422030"/>
        </pc:sldMkLst>
      </pc:sldChg>
    </pc:docChg>
  </pc:docChgLst>
  <pc:docChgLst>
    <pc:chgData name="Frank Tan (qutan)" userId="1cc8c1fc-bfb1-4b23-ae96-de603ddcbe90" providerId="ADAL" clId="{B2E6EBD4-40ED-BB49-A022-DFC9FCE63038}"/>
    <pc:docChg chg="undo custSel addSld delSld modSld">
      <pc:chgData name="Frank Tan (qutan)" userId="1cc8c1fc-bfb1-4b23-ae96-de603ddcbe90" providerId="ADAL" clId="{B2E6EBD4-40ED-BB49-A022-DFC9FCE63038}" dt="2020-03-10T07:56:02.012" v="337" actId="14"/>
      <pc:docMkLst>
        <pc:docMk/>
      </pc:docMkLst>
      <pc:sldChg chg="modTransition">
        <pc:chgData name="Frank Tan (qutan)" userId="1cc8c1fc-bfb1-4b23-ae96-de603ddcbe90" providerId="ADAL" clId="{B2E6EBD4-40ED-BB49-A022-DFC9FCE63038}" dt="2020-03-09T08:40:21.700" v="151"/>
        <pc:sldMkLst>
          <pc:docMk/>
          <pc:sldMk cId="2193831592" sldId="257"/>
        </pc:sldMkLst>
      </pc:sldChg>
      <pc:sldChg chg="modTransition">
        <pc:chgData name="Frank Tan (qutan)" userId="1cc8c1fc-bfb1-4b23-ae96-de603ddcbe90" providerId="ADAL" clId="{B2E6EBD4-40ED-BB49-A022-DFC9FCE63038}" dt="2020-03-09T08:40:21.700" v="151"/>
        <pc:sldMkLst>
          <pc:docMk/>
          <pc:sldMk cId="666991905" sldId="258"/>
        </pc:sldMkLst>
      </pc:sldChg>
      <pc:sldChg chg="del">
        <pc:chgData name="Frank Tan (qutan)" userId="1cc8c1fc-bfb1-4b23-ae96-de603ddcbe90" providerId="ADAL" clId="{B2E6EBD4-40ED-BB49-A022-DFC9FCE63038}" dt="2020-03-09T07:26:27.783" v="150" actId="2696"/>
        <pc:sldMkLst>
          <pc:docMk/>
          <pc:sldMk cId="1678497070" sldId="259"/>
        </pc:sldMkLst>
      </pc:sldChg>
      <pc:sldChg chg="add modTransition">
        <pc:chgData name="Frank Tan (qutan)" userId="1cc8c1fc-bfb1-4b23-ae96-de603ddcbe90" providerId="ADAL" clId="{B2E6EBD4-40ED-BB49-A022-DFC9FCE63038}" dt="2020-03-09T08:40:21.700" v="151"/>
        <pc:sldMkLst>
          <pc:docMk/>
          <pc:sldMk cId="511096340" sldId="260"/>
        </pc:sldMkLst>
      </pc:sldChg>
      <pc:sldChg chg="add del">
        <pc:chgData name="Frank Tan (qutan)" userId="1cc8c1fc-bfb1-4b23-ae96-de603ddcbe90" providerId="ADAL" clId="{B2E6EBD4-40ED-BB49-A022-DFC9FCE63038}" dt="2020-03-09T06:08:09.410" v="6"/>
        <pc:sldMkLst>
          <pc:docMk/>
          <pc:sldMk cId="2313134630" sldId="261"/>
        </pc:sldMkLst>
      </pc:sldChg>
      <pc:sldChg chg="add modTransition">
        <pc:chgData name="Frank Tan (qutan)" userId="1cc8c1fc-bfb1-4b23-ae96-de603ddcbe90" providerId="ADAL" clId="{B2E6EBD4-40ED-BB49-A022-DFC9FCE63038}" dt="2020-03-09T08:40:21.700" v="151"/>
        <pc:sldMkLst>
          <pc:docMk/>
          <pc:sldMk cId="2490845354" sldId="261"/>
        </pc:sldMkLst>
      </pc:sldChg>
      <pc:sldChg chg="add del modTransition">
        <pc:chgData name="Frank Tan (qutan)" userId="1cc8c1fc-bfb1-4b23-ae96-de603ddcbe90" providerId="ADAL" clId="{B2E6EBD4-40ED-BB49-A022-DFC9FCE63038}" dt="2020-03-09T06:08:07.463" v="4"/>
        <pc:sldMkLst>
          <pc:docMk/>
          <pc:sldMk cId="2702878681" sldId="261"/>
        </pc:sldMkLst>
      </pc:sldChg>
      <pc:sldChg chg="addSp modSp add modTransition">
        <pc:chgData name="Frank Tan (qutan)" userId="1cc8c1fc-bfb1-4b23-ae96-de603ddcbe90" providerId="ADAL" clId="{B2E6EBD4-40ED-BB49-A022-DFC9FCE63038}" dt="2020-03-09T08:40:21.700" v="151"/>
        <pc:sldMkLst>
          <pc:docMk/>
          <pc:sldMk cId="281513687" sldId="262"/>
        </pc:sldMkLst>
        <pc:spChg chg="add mod">
          <ac:chgData name="Frank Tan (qutan)" userId="1cc8c1fc-bfb1-4b23-ae96-de603ddcbe90" providerId="ADAL" clId="{B2E6EBD4-40ED-BB49-A022-DFC9FCE63038}" dt="2020-03-09T07:23:44.338" v="115" actId="1076"/>
          <ac:spMkLst>
            <pc:docMk/>
            <pc:sldMk cId="281513687" sldId="262"/>
            <ac:spMk id="2" creationId="{CFF24F55-0B1B-4F46-A9BD-4A2827CD5D10}"/>
          </ac:spMkLst>
        </pc:spChg>
        <pc:spChg chg="add mod">
          <ac:chgData name="Frank Tan (qutan)" userId="1cc8c1fc-bfb1-4b23-ae96-de603ddcbe90" providerId="ADAL" clId="{B2E6EBD4-40ED-BB49-A022-DFC9FCE63038}" dt="2020-03-09T07:23:59.769" v="129" actId="20577"/>
          <ac:spMkLst>
            <pc:docMk/>
            <pc:sldMk cId="281513687" sldId="262"/>
            <ac:spMk id="7" creationId="{2AEDFFBA-6945-0B44-90A4-A428E6D52851}"/>
          </ac:spMkLst>
        </pc:spChg>
        <pc:picChg chg="mod">
          <ac:chgData name="Frank Tan (qutan)" userId="1cc8c1fc-bfb1-4b23-ae96-de603ddcbe90" providerId="ADAL" clId="{B2E6EBD4-40ED-BB49-A022-DFC9FCE63038}" dt="2020-03-09T07:23:37.802" v="108" actId="1076"/>
          <ac:picMkLst>
            <pc:docMk/>
            <pc:sldMk cId="281513687" sldId="262"/>
            <ac:picMk id="4" creationId="{014C4CFF-5124-A549-974E-CA1B21FCC162}"/>
          </ac:picMkLst>
        </pc:picChg>
        <pc:picChg chg="add mod">
          <ac:chgData name="Frank Tan (qutan)" userId="1cc8c1fc-bfb1-4b23-ae96-de603ddcbe90" providerId="ADAL" clId="{B2E6EBD4-40ED-BB49-A022-DFC9FCE63038}" dt="2020-03-09T07:23:36.162" v="107" actId="1076"/>
          <ac:picMkLst>
            <pc:docMk/>
            <pc:sldMk cId="281513687" sldId="262"/>
            <ac:picMk id="5" creationId="{BC53BEFE-2BFB-804E-9CFB-1C2EDFFC21D4}"/>
          </ac:picMkLst>
        </pc:picChg>
        <pc:picChg chg="add mod">
          <ac:chgData name="Frank Tan (qutan)" userId="1cc8c1fc-bfb1-4b23-ae96-de603ddcbe90" providerId="ADAL" clId="{B2E6EBD4-40ED-BB49-A022-DFC9FCE63038}" dt="2020-03-09T07:23:36.162" v="107" actId="1076"/>
          <ac:picMkLst>
            <pc:docMk/>
            <pc:sldMk cId="281513687" sldId="262"/>
            <ac:picMk id="6" creationId="{D654B9CC-E5E8-7148-B7F5-A1C8E8747B16}"/>
          </ac:picMkLst>
        </pc:picChg>
      </pc:sldChg>
      <pc:sldChg chg="addSp modSp add modTransition">
        <pc:chgData name="Frank Tan (qutan)" userId="1cc8c1fc-bfb1-4b23-ae96-de603ddcbe90" providerId="ADAL" clId="{B2E6EBD4-40ED-BB49-A022-DFC9FCE63038}" dt="2020-03-09T08:40:21.700" v="151"/>
        <pc:sldMkLst>
          <pc:docMk/>
          <pc:sldMk cId="3981653229" sldId="263"/>
        </pc:sldMkLst>
        <pc:spChg chg="add mod">
          <ac:chgData name="Frank Tan (qutan)" userId="1cc8c1fc-bfb1-4b23-ae96-de603ddcbe90" providerId="ADAL" clId="{B2E6EBD4-40ED-BB49-A022-DFC9FCE63038}" dt="2020-03-09T07:24:34.059" v="142" actId="1076"/>
          <ac:spMkLst>
            <pc:docMk/>
            <pc:sldMk cId="3981653229" sldId="263"/>
            <ac:spMk id="2" creationId="{DFF41ECA-3083-DD45-89C7-6FA56CD79145}"/>
          </ac:spMkLst>
        </pc:spChg>
        <pc:picChg chg="mod">
          <ac:chgData name="Frank Tan (qutan)" userId="1cc8c1fc-bfb1-4b23-ae96-de603ddcbe90" providerId="ADAL" clId="{B2E6EBD4-40ED-BB49-A022-DFC9FCE63038}" dt="2020-03-09T07:24:20.967" v="130" actId="1076"/>
          <ac:picMkLst>
            <pc:docMk/>
            <pc:sldMk cId="3981653229" sldId="263"/>
            <ac:picMk id="4" creationId="{E3DDB39F-7445-954D-8B2F-80C735CCB32F}"/>
          </ac:picMkLst>
        </pc:picChg>
        <pc:picChg chg="add mod">
          <ac:chgData name="Frank Tan (qutan)" userId="1cc8c1fc-bfb1-4b23-ae96-de603ddcbe90" providerId="ADAL" clId="{B2E6EBD4-40ED-BB49-A022-DFC9FCE63038}" dt="2020-03-09T07:24:26.279" v="132" actId="1076"/>
          <ac:picMkLst>
            <pc:docMk/>
            <pc:sldMk cId="3981653229" sldId="263"/>
            <ac:picMk id="5" creationId="{5A059D80-DD98-BB47-89FE-C33916FAC35D}"/>
          </ac:picMkLst>
        </pc:picChg>
        <pc:picChg chg="add mod">
          <ac:chgData name="Frank Tan (qutan)" userId="1cc8c1fc-bfb1-4b23-ae96-de603ddcbe90" providerId="ADAL" clId="{B2E6EBD4-40ED-BB49-A022-DFC9FCE63038}" dt="2020-03-09T07:24:26.279" v="132" actId="1076"/>
          <ac:picMkLst>
            <pc:docMk/>
            <pc:sldMk cId="3981653229" sldId="263"/>
            <ac:picMk id="6" creationId="{EEDAF881-A498-4349-85EE-5831ED1D5561}"/>
          </ac:picMkLst>
        </pc:picChg>
        <pc:picChg chg="add mod">
          <ac:chgData name="Frank Tan (qutan)" userId="1cc8c1fc-bfb1-4b23-ae96-de603ddcbe90" providerId="ADAL" clId="{B2E6EBD4-40ED-BB49-A022-DFC9FCE63038}" dt="2020-03-09T07:24:26.279" v="132" actId="1076"/>
          <ac:picMkLst>
            <pc:docMk/>
            <pc:sldMk cId="3981653229" sldId="263"/>
            <ac:picMk id="7" creationId="{15FCD9C6-B387-2B4B-A939-10E450472FC4}"/>
          </ac:picMkLst>
        </pc:picChg>
      </pc:sldChg>
      <pc:sldChg chg="addSp delSp modSp add modTransition">
        <pc:chgData name="Frank Tan (qutan)" userId="1cc8c1fc-bfb1-4b23-ae96-de603ddcbe90" providerId="ADAL" clId="{B2E6EBD4-40ED-BB49-A022-DFC9FCE63038}" dt="2020-03-10T07:46:28.954" v="329" actId="1076"/>
        <pc:sldMkLst>
          <pc:docMk/>
          <pc:sldMk cId="4171164121" sldId="264"/>
        </pc:sldMkLst>
        <pc:picChg chg="add mod">
          <ac:chgData name="Frank Tan (qutan)" userId="1cc8c1fc-bfb1-4b23-ae96-de603ddcbe90" providerId="ADAL" clId="{B2E6EBD4-40ED-BB49-A022-DFC9FCE63038}" dt="2020-03-10T07:46:28.954" v="329" actId="1076"/>
          <ac:picMkLst>
            <pc:docMk/>
            <pc:sldMk cId="4171164121" sldId="264"/>
            <ac:picMk id="3" creationId="{150044E6-66A2-6E49-9F20-D404FA684774}"/>
          </ac:picMkLst>
        </pc:picChg>
        <pc:picChg chg="del">
          <ac:chgData name="Frank Tan (qutan)" userId="1cc8c1fc-bfb1-4b23-ae96-de603ddcbe90" providerId="ADAL" clId="{B2E6EBD4-40ED-BB49-A022-DFC9FCE63038}" dt="2020-03-10T07:46:22.630" v="325" actId="478"/>
          <ac:picMkLst>
            <pc:docMk/>
            <pc:sldMk cId="4171164121" sldId="264"/>
            <ac:picMk id="5" creationId="{A531967B-465C-EB45-A6CD-CDECAD2D9861}"/>
          </ac:picMkLst>
        </pc:picChg>
        <pc:picChg chg="add del mod">
          <ac:chgData name="Frank Tan (qutan)" userId="1cc8c1fc-bfb1-4b23-ae96-de603ddcbe90" providerId="ADAL" clId="{B2E6EBD4-40ED-BB49-A022-DFC9FCE63038}" dt="2020-03-09T07:24:46.868" v="145" actId="478"/>
          <ac:picMkLst>
            <pc:docMk/>
            <pc:sldMk cId="4171164121" sldId="264"/>
            <ac:picMk id="6" creationId="{22BAFE94-1FDA-804E-BD31-5CDD7D66903F}"/>
          </ac:picMkLst>
        </pc:picChg>
        <pc:picChg chg="add">
          <ac:chgData name="Frank Tan (qutan)" userId="1cc8c1fc-bfb1-4b23-ae96-de603ddcbe90" providerId="ADAL" clId="{B2E6EBD4-40ED-BB49-A022-DFC9FCE63038}" dt="2020-03-09T07:26:08.431" v="146"/>
          <ac:picMkLst>
            <pc:docMk/>
            <pc:sldMk cId="4171164121" sldId="264"/>
            <ac:picMk id="7" creationId="{2D5D4A2F-2969-6741-BE7A-E453661DCB70}"/>
          </ac:picMkLst>
        </pc:picChg>
      </pc:sldChg>
      <pc:sldChg chg="addSp delSp modSp add modTransition modNotesTx">
        <pc:chgData name="Frank Tan (qutan)" userId="1cc8c1fc-bfb1-4b23-ae96-de603ddcbe90" providerId="ADAL" clId="{B2E6EBD4-40ED-BB49-A022-DFC9FCE63038}" dt="2020-03-09T08:41:29.861" v="152" actId="478"/>
        <pc:sldMkLst>
          <pc:docMk/>
          <pc:sldMk cId="472871709" sldId="265"/>
        </pc:sldMkLst>
        <pc:spChg chg="mod">
          <ac:chgData name="Frank Tan (qutan)" userId="1cc8c1fc-bfb1-4b23-ae96-de603ddcbe90" providerId="ADAL" clId="{B2E6EBD4-40ED-BB49-A022-DFC9FCE63038}" dt="2020-03-09T07:18:59.419" v="93" actId="14100"/>
          <ac:spMkLst>
            <pc:docMk/>
            <pc:sldMk cId="472871709" sldId="265"/>
            <ac:spMk id="8" creationId="{3BFCB521-053B-574C-B402-875B972AE5E7}"/>
          </ac:spMkLst>
        </pc:spChg>
        <pc:spChg chg="add del">
          <ac:chgData name="Frank Tan (qutan)" userId="1cc8c1fc-bfb1-4b23-ae96-de603ddcbe90" providerId="ADAL" clId="{B2E6EBD4-40ED-BB49-A022-DFC9FCE63038}" dt="2020-03-09T07:21:47.775" v="98"/>
          <ac:spMkLst>
            <pc:docMk/>
            <pc:sldMk cId="472871709" sldId="265"/>
            <ac:spMk id="9" creationId="{0B0EA6ED-9C34-7249-8CBA-FCC3039FA945}"/>
          </ac:spMkLst>
        </pc:spChg>
        <pc:picChg chg="add del">
          <ac:chgData name="Frank Tan (qutan)" userId="1cc8c1fc-bfb1-4b23-ae96-de603ddcbe90" providerId="ADAL" clId="{B2E6EBD4-40ED-BB49-A022-DFC9FCE63038}" dt="2020-03-09T07:20:26.541" v="96" actId="478"/>
          <ac:picMkLst>
            <pc:docMk/>
            <pc:sldMk cId="472871709" sldId="265"/>
            <ac:picMk id="6" creationId="{4FF95A74-2A6C-764C-A42F-010B71DE5CCA}"/>
          </ac:picMkLst>
        </pc:picChg>
        <pc:picChg chg="mod">
          <ac:chgData name="Frank Tan (qutan)" userId="1cc8c1fc-bfb1-4b23-ae96-de603ddcbe90" providerId="ADAL" clId="{B2E6EBD4-40ED-BB49-A022-DFC9FCE63038}" dt="2020-03-09T07:22:37.613" v="103" actId="1076"/>
          <ac:picMkLst>
            <pc:docMk/>
            <pc:sldMk cId="472871709" sldId="265"/>
            <ac:picMk id="12" creationId="{6BD558AF-C88A-0241-A9EF-BB336077808E}"/>
          </ac:picMkLst>
        </pc:picChg>
        <pc:picChg chg="del">
          <ac:chgData name="Frank Tan (qutan)" userId="1cc8c1fc-bfb1-4b23-ae96-de603ddcbe90" providerId="ADAL" clId="{B2E6EBD4-40ED-BB49-A022-DFC9FCE63038}" dt="2020-03-09T08:41:29.861" v="152" actId="478"/>
          <ac:picMkLst>
            <pc:docMk/>
            <pc:sldMk cId="472871709" sldId="265"/>
            <ac:picMk id="16" creationId="{11F88AEE-F582-7040-AB3A-7BF2E313C708}"/>
          </ac:picMkLst>
        </pc:picChg>
        <pc:picChg chg="add mod">
          <ac:chgData name="Frank Tan (qutan)" userId="1cc8c1fc-bfb1-4b23-ae96-de603ddcbe90" providerId="ADAL" clId="{B2E6EBD4-40ED-BB49-A022-DFC9FCE63038}" dt="2020-03-09T07:22:34.350" v="102" actId="1076"/>
          <ac:picMkLst>
            <pc:docMk/>
            <pc:sldMk cId="472871709" sldId="265"/>
            <ac:picMk id="20" creationId="{AB92949C-FB15-1B44-A042-14280A6F8C68}"/>
          </ac:picMkLst>
        </pc:picChg>
      </pc:sldChg>
      <pc:sldChg chg="add del">
        <pc:chgData name="Frank Tan (qutan)" userId="1cc8c1fc-bfb1-4b23-ae96-de603ddcbe90" providerId="ADAL" clId="{B2E6EBD4-40ED-BB49-A022-DFC9FCE63038}" dt="2020-03-09T06:08:09.410" v="6"/>
        <pc:sldMkLst>
          <pc:docMk/>
          <pc:sldMk cId="677387538" sldId="266"/>
        </pc:sldMkLst>
      </pc:sldChg>
      <pc:sldChg chg="add modTransition">
        <pc:chgData name="Frank Tan (qutan)" userId="1cc8c1fc-bfb1-4b23-ae96-de603ddcbe90" providerId="ADAL" clId="{B2E6EBD4-40ED-BB49-A022-DFC9FCE63038}" dt="2020-03-09T08:40:21.700" v="151"/>
        <pc:sldMkLst>
          <pc:docMk/>
          <pc:sldMk cId="2815777606" sldId="266"/>
        </pc:sldMkLst>
      </pc:sldChg>
      <pc:sldChg chg="add del modTransition">
        <pc:chgData name="Frank Tan (qutan)" userId="1cc8c1fc-bfb1-4b23-ae96-de603ddcbe90" providerId="ADAL" clId="{B2E6EBD4-40ED-BB49-A022-DFC9FCE63038}" dt="2020-03-09T06:08:07.463" v="4"/>
        <pc:sldMkLst>
          <pc:docMk/>
          <pc:sldMk cId="4205357794" sldId="266"/>
        </pc:sldMkLst>
      </pc:sldChg>
      <pc:sldChg chg="add modTransition">
        <pc:chgData name="Frank Tan (qutan)" userId="1cc8c1fc-bfb1-4b23-ae96-de603ddcbe90" providerId="ADAL" clId="{B2E6EBD4-40ED-BB49-A022-DFC9FCE63038}" dt="2020-03-09T08:40:21.700" v="151"/>
        <pc:sldMkLst>
          <pc:docMk/>
          <pc:sldMk cId="699221517" sldId="268"/>
        </pc:sldMkLst>
      </pc:sldChg>
      <pc:sldChg chg="del">
        <pc:chgData name="Frank Tan (qutan)" userId="1cc8c1fc-bfb1-4b23-ae96-de603ddcbe90" providerId="ADAL" clId="{B2E6EBD4-40ED-BB49-A022-DFC9FCE63038}" dt="2020-03-09T06:08:02.483" v="2" actId="2696"/>
        <pc:sldMkLst>
          <pc:docMk/>
          <pc:sldMk cId="2568989341" sldId="270"/>
        </pc:sldMkLst>
      </pc:sldChg>
      <pc:sldChg chg="add del modTransition">
        <pc:chgData name="Frank Tan (qutan)" userId="1cc8c1fc-bfb1-4b23-ae96-de603ddcbe90" providerId="ADAL" clId="{B2E6EBD4-40ED-BB49-A022-DFC9FCE63038}" dt="2020-03-09T06:08:07.463" v="4"/>
        <pc:sldMkLst>
          <pc:docMk/>
          <pc:sldMk cId="1994731409" sldId="272"/>
        </pc:sldMkLst>
      </pc:sldChg>
      <pc:sldChg chg="add modTransition">
        <pc:chgData name="Frank Tan (qutan)" userId="1cc8c1fc-bfb1-4b23-ae96-de603ddcbe90" providerId="ADAL" clId="{B2E6EBD4-40ED-BB49-A022-DFC9FCE63038}" dt="2020-03-09T08:40:21.700" v="151"/>
        <pc:sldMkLst>
          <pc:docMk/>
          <pc:sldMk cId="3264524865" sldId="272"/>
        </pc:sldMkLst>
      </pc:sldChg>
      <pc:sldChg chg="add del">
        <pc:chgData name="Frank Tan (qutan)" userId="1cc8c1fc-bfb1-4b23-ae96-de603ddcbe90" providerId="ADAL" clId="{B2E6EBD4-40ED-BB49-A022-DFC9FCE63038}" dt="2020-03-09T06:08:09.410" v="6"/>
        <pc:sldMkLst>
          <pc:docMk/>
          <pc:sldMk cId="4005388746" sldId="272"/>
        </pc:sldMkLst>
      </pc:sldChg>
      <pc:sldChg chg="add modTransition">
        <pc:chgData name="Frank Tan (qutan)" userId="1cc8c1fc-bfb1-4b23-ae96-de603ddcbe90" providerId="ADAL" clId="{B2E6EBD4-40ED-BB49-A022-DFC9FCE63038}" dt="2020-03-09T08:40:21.700" v="151"/>
        <pc:sldMkLst>
          <pc:docMk/>
          <pc:sldMk cId="1418419734" sldId="359"/>
        </pc:sldMkLst>
      </pc:sldChg>
      <pc:sldChg chg="add del modTransition">
        <pc:chgData name="Frank Tan (qutan)" userId="1cc8c1fc-bfb1-4b23-ae96-de603ddcbe90" providerId="ADAL" clId="{B2E6EBD4-40ED-BB49-A022-DFC9FCE63038}" dt="2020-03-09T06:08:07.463" v="4"/>
        <pc:sldMkLst>
          <pc:docMk/>
          <pc:sldMk cId="2129316994" sldId="359"/>
        </pc:sldMkLst>
      </pc:sldChg>
      <pc:sldChg chg="add del">
        <pc:chgData name="Frank Tan (qutan)" userId="1cc8c1fc-bfb1-4b23-ae96-de603ddcbe90" providerId="ADAL" clId="{B2E6EBD4-40ED-BB49-A022-DFC9FCE63038}" dt="2020-03-09T06:08:09.410" v="6"/>
        <pc:sldMkLst>
          <pc:docMk/>
          <pc:sldMk cId="2179726234" sldId="359"/>
        </pc:sldMkLst>
      </pc:sldChg>
      <pc:sldChg chg="add modTransition">
        <pc:chgData name="Frank Tan (qutan)" userId="1cc8c1fc-bfb1-4b23-ae96-de603ddcbe90" providerId="ADAL" clId="{B2E6EBD4-40ED-BB49-A022-DFC9FCE63038}" dt="2020-03-09T08:40:21.700" v="151"/>
        <pc:sldMkLst>
          <pc:docMk/>
          <pc:sldMk cId="628391115" sldId="371"/>
        </pc:sldMkLst>
      </pc:sldChg>
      <pc:sldChg chg="add del">
        <pc:chgData name="Frank Tan (qutan)" userId="1cc8c1fc-bfb1-4b23-ae96-de603ddcbe90" providerId="ADAL" clId="{B2E6EBD4-40ED-BB49-A022-DFC9FCE63038}" dt="2020-03-09T06:08:09.410" v="6"/>
        <pc:sldMkLst>
          <pc:docMk/>
          <pc:sldMk cId="1906655746" sldId="371"/>
        </pc:sldMkLst>
      </pc:sldChg>
      <pc:sldChg chg="add del">
        <pc:chgData name="Frank Tan (qutan)" userId="1cc8c1fc-bfb1-4b23-ae96-de603ddcbe90" providerId="ADAL" clId="{B2E6EBD4-40ED-BB49-A022-DFC9FCE63038}" dt="2020-03-09T06:08:07.463" v="4"/>
        <pc:sldMkLst>
          <pc:docMk/>
          <pc:sldMk cId="2563772112" sldId="371"/>
        </pc:sldMkLst>
      </pc:sldChg>
      <pc:sldChg chg="del">
        <pc:chgData name="Frank Tan (qutan)" userId="1cc8c1fc-bfb1-4b23-ae96-de603ddcbe90" providerId="ADAL" clId="{B2E6EBD4-40ED-BB49-A022-DFC9FCE63038}" dt="2020-03-09T06:08:02.379" v="0" actId="2696"/>
        <pc:sldMkLst>
          <pc:docMk/>
          <pc:sldMk cId="3235864492" sldId="372"/>
        </pc:sldMkLst>
      </pc:sldChg>
      <pc:sldChg chg="add del">
        <pc:chgData name="Frank Tan (qutan)" userId="1cc8c1fc-bfb1-4b23-ae96-de603ddcbe90" providerId="ADAL" clId="{B2E6EBD4-40ED-BB49-A022-DFC9FCE63038}" dt="2020-03-09T06:08:09.410" v="6"/>
        <pc:sldMkLst>
          <pc:docMk/>
          <pc:sldMk cId="153292420" sldId="373"/>
        </pc:sldMkLst>
      </pc:sldChg>
      <pc:sldChg chg="addSp delSp add modTransition">
        <pc:chgData name="Frank Tan (qutan)" userId="1cc8c1fc-bfb1-4b23-ae96-de603ddcbe90" providerId="ADAL" clId="{B2E6EBD4-40ED-BB49-A022-DFC9FCE63038}" dt="2020-03-09T08:40:21.700" v="151"/>
        <pc:sldMkLst>
          <pc:docMk/>
          <pc:sldMk cId="1876775129" sldId="373"/>
        </pc:sldMkLst>
        <pc:picChg chg="add del">
          <ac:chgData name="Frank Tan (qutan)" userId="1cc8c1fc-bfb1-4b23-ae96-de603ddcbe90" providerId="ADAL" clId="{B2E6EBD4-40ED-BB49-A022-DFC9FCE63038}" dt="2020-03-09T06:35:49.583" v="10"/>
          <ac:picMkLst>
            <pc:docMk/>
            <pc:sldMk cId="1876775129" sldId="373"/>
            <ac:picMk id="2" creationId="{AC89C978-B8AF-294F-B852-2F3661C8300C}"/>
          </ac:picMkLst>
        </pc:picChg>
      </pc:sldChg>
      <pc:sldChg chg="add del">
        <pc:chgData name="Frank Tan (qutan)" userId="1cc8c1fc-bfb1-4b23-ae96-de603ddcbe90" providerId="ADAL" clId="{B2E6EBD4-40ED-BB49-A022-DFC9FCE63038}" dt="2020-03-09T06:08:07.463" v="4"/>
        <pc:sldMkLst>
          <pc:docMk/>
          <pc:sldMk cId="3779608070" sldId="373"/>
        </pc:sldMkLst>
      </pc:sldChg>
      <pc:sldChg chg="del">
        <pc:chgData name="Frank Tan (qutan)" userId="1cc8c1fc-bfb1-4b23-ae96-de603ddcbe90" providerId="ADAL" clId="{B2E6EBD4-40ED-BB49-A022-DFC9FCE63038}" dt="2020-03-09T06:08:02.449" v="1" actId="2696"/>
        <pc:sldMkLst>
          <pc:docMk/>
          <pc:sldMk cId="1725059048" sldId="1979422026"/>
        </pc:sldMkLst>
      </pc:sldChg>
      <pc:sldChg chg="modTransition">
        <pc:chgData name="Frank Tan (qutan)" userId="1cc8c1fc-bfb1-4b23-ae96-de603ddcbe90" providerId="ADAL" clId="{B2E6EBD4-40ED-BB49-A022-DFC9FCE63038}" dt="2020-03-10T06:28:51.198" v="289"/>
        <pc:sldMkLst>
          <pc:docMk/>
          <pc:sldMk cId="3225929323" sldId="1979422027"/>
        </pc:sldMkLst>
      </pc:sldChg>
      <pc:sldChg chg="modTransition">
        <pc:chgData name="Frank Tan (qutan)" userId="1cc8c1fc-bfb1-4b23-ae96-de603ddcbe90" providerId="ADAL" clId="{B2E6EBD4-40ED-BB49-A022-DFC9FCE63038}" dt="2020-03-10T06:28:51.198" v="289"/>
        <pc:sldMkLst>
          <pc:docMk/>
          <pc:sldMk cId="3408564166" sldId="1979422029"/>
        </pc:sldMkLst>
      </pc:sldChg>
      <pc:sldChg chg="add modTransition">
        <pc:chgData name="Frank Tan (qutan)" userId="1cc8c1fc-bfb1-4b23-ae96-de603ddcbe90" providerId="ADAL" clId="{B2E6EBD4-40ED-BB49-A022-DFC9FCE63038}" dt="2020-03-09T08:40:21.700" v="151"/>
        <pc:sldMkLst>
          <pc:docMk/>
          <pc:sldMk cId="1089277056" sldId="1979422030"/>
        </pc:sldMkLst>
      </pc:sldChg>
      <pc:sldChg chg="del">
        <pc:chgData name="Frank Tan (qutan)" userId="1cc8c1fc-bfb1-4b23-ae96-de603ddcbe90" providerId="ADAL" clId="{B2E6EBD4-40ED-BB49-A022-DFC9FCE63038}" dt="2020-03-09T07:26:27.742" v="147" actId="2696"/>
        <pc:sldMkLst>
          <pc:docMk/>
          <pc:sldMk cId="4260884072" sldId="1979422031"/>
        </pc:sldMkLst>
      </pc:sldChg>
      <pc:sldChg chg="del">
        <pc:chgData name="Frank Tan (qutan)" userId="1cc8c1fc-bfb1-4b23-ae96-de603ddcbe90" providerId="ADAL" clId="{B2E6EBD4-40ED-BB49-A022-DFC9FCE63038}" dt="2020-03-09T07:26:27.745" v="148" actId="2696"/>
        <pc:sldMkLst>
          <pc:docMk/>
          <pc:sldMk cId="2621188994" sldId="1979422032"/>
        </pc:sldMkLst>
      </pc:sldChg>
      <pc:sldChg chg="del">
        <pc:chgData name="Frank Tan (qutan)" userId="1cc8c1fc-bfb1-4b23-ae96-de603ddcbe90" providerId="ADAL" clId="{B2E6EBD4-40ED-BB49-A022-DFC9FCE63038}" dt="2020-03-09T07:26:27.748" v="149" actId="2696"/>
        <pc:sldMkLst>
          <pc:docMk/>
          <pc:sldMk cId="3331060003" sldId="1979422033"/>
        </pc:sldMkLst>
      </pc:sldChg>
      <pc:sldChg chg="addSp modSp modTransition">
        <pc:chgData name="Frank Tan (qutan)" userId="1cc8c1fc-bfb1-4b23-ae96-de603ddcbe90" providerId="ADAL" clId="{B2E6EBD4-40ED-BB49-A022-DFC9FCE63038}" dt="2020-03-10T07:56:02.012" v="337" actId="14"/>
        <pc:sldMkLst>
          <pc:docMk/>
          <pc:sldMk cId="1555614157" sldId="1979422034"/>
        </pc:sldMkLst>
        <pc:spChg chg="mod">
          <ac:chgData name="Frank Tan (qutan)" userId="1cc8c1fc-bfb1-4b23-ae96-de603ddcbe90" providerId="ADAL" clId="{B2E6EBD4-40ED-BB49-A022-DFC9FCE63038}" dt="2020-03-09T13:33:29.295" v="171" actId="20577"/>
          <ac:spMkLst>
            <pc:docMk/>
            <pc:sldMk cId="1555614157" sldId="1979422034"/>
            <ac:spMk id="5" creationId="{BD562BA6-DB85-184B-B7E3-702982A7F7F0}"/>
          </ac:spMkLst>
        </pc:spChg>
        <pc:spChg chg="mod">
          <ac:chgData name="Frank Tan (qutan)" userId="1cc8c1fc-bfb1-4b23-ae96-de603ddcbe90" providerId="ADAL" clId="{B2E6EBD4-40ED-BB49-A022-DFC9FCE63038}" dt="2020-03-10T07:56:02.012" v="337" actId="14"/>
          <ac:spMkLst>
            <pc:docMk/>
            <pc:sldMk cId="1555614157" sldId="1979422034"/>
            <ac:spMk id="6" creationId="{6D1CB1D4-DD93-9A4C-BC5C-065923FD71B9}"/>
          </ac:spMkLst>
        </pc:spChg>
        <pc:picChg chg="add mod">
          <ac:chgData name="Frank Tan (qutan)" userId="1cc8c1fc-bfb1-4b23-ae96-de603ddcbe90" providerId="ADAL" clId="{B2E6EBD4-40ED-BB49-A022-DFC9FCE63038}" dt="2020-03-09T13:37:28.005" v="182" actId="1076"/>
          <ac:picMkLst>
            <pc:docMk/>
            <pc:sldMk cId="1555614157" sldId="1979422034"/>
            <ac:picMk id="2" creationId="{1F159140-71DD-E744-9304-9151AAE461BC}"/>
          </ac:picMkLst>
        </pc:picChg>
      </pc:sldChg>
      <pc:sldChg chg="del modTransition">
        <pc:chgData name="Frank Tan (qutan)" userId="1cc8c1fc-bfb1-4b23-ae96-de603ddcbe90" providerId="ADAL" clId="{B2E6EBD4-40ED-BB49-A022-DFC9FCE63038}" dt="2020-03-09T13:37:50.580" v="183" actId="2696"/>
        <pc:sldMkLst>
          <pc:docMk/>
          <pc:sldMk cId="2941785499" sldId="1979422035"/>
        </pc:sldMkLst>
      </pc:sldChg>
      <pc:sldChg chg="modTransition">
        <pc:chgData name="Frank Tan (qutan)" userId="1cc8c1fc-bfb1-4b23-ae96-de603ddcbe90" providerId="ADAL" clId="{B2E6EBD4-40ED-BB49-A022-DFC9FCE63038}" dt="2020-03-09T08:40:21.700" v="151"/>
        <pc:sldMkLst>
          <pc:docMk/>
          <pc:sldMk cId="798468249" sldId="1979422036"/>
        </pc:sldMkLst>
      </pc:sldChg>
      <pc:sldChg chg="add modTransition">
        <pc:chgData name="Frank Tan (qutan)" userId="1cc8c1fc-bfb1-4b23-ae96-de603ddcbe90" providerId="ADAL" clId="{B2E6EBD4-40ED-BB49-A022-DFC9FCE63038}" dt="2020-03-09T08:40:21.700" v="151"/>
        <pc:sldMkLst>
          <pc:docMk/>
          <pc:sldMk cId="4205707967" sldId="1979422037"/>
        </pc:sldMkLst>
      </pc:sldChg>
      <pc:sldChg chg="addSp add modTransition">
        <pc:chgData name="Frank Tan (qutan)" userId="1cc8c1fc-bfb1-4b23-ae96-de603ddcbe90" providerId="ADAL" clId="{B2E6EBD4-40ED-BB49-A022-DFC9FCE63038}" dt="2020-03-09T08:40:21.700" v="151"/>
        <pc:sldMkLst>
          <pc:docMk/>
          <pc:sldMk cId="2941230178" sldId="1979422038"/>
        </pc:sldMkLst>
        <pc:picChg chg="add">
          <ac:chgData name="Frank Tan (qutan)" userId="1cc8c1fc-bfb1-4b23-ae96-de603ddcbe90" providerId="ADAL" clId="{B2E6EBD4-40ED-BB49-A022-DFC9FCE63038}" dt="2020-03-09T06:35:54.051" v="12"/>
          <ac:picMkLst>
            <pc:docMk/>
            <pc:sldMk cId="2941230178" sldId="1979422038"/>
            <ac:picMk id="4" creationId="{A0D876C3-B10F-2D42-A1FD-79AD9139BECF}"/>
          </ac:picMkLst>
        </pc:picChg>
      </pc:sldChg>
      <pc:sldChg chg="addSp modSp add modTransition">
        <pc:chgData name="Frank Tan (qutan)" userId="1cc8c1fc-bfb1-4b23-ae96-de603ddcbe90" providerId="ADAL" clId="{B2E6EBD4-40ED-BB49-A022-DFC9FCE63038}" dt="2020-03-09T08:40:21.700" v="151"/>
        <pc:sldMkLst>
          <pc:docMk/>
          <pc:sldMk cId="3892474346" sldId="1979422039"/>
        </pc:sldMkLst>
        <pc:spChg chg="mod">
          <ac:chgData name="Frank Tan (qutan)" userId="1cc8c1fc-bfb1-4b23-ae96-de603ddcbe90" providerId="ADAL" clId="{B2E6EBD4-40ED-BB49-A022-DFC9FCE63038}" dt="2020-03-09T06:42:14.182" v="38"/>
          <ac:spMkLst>
            <pc:docMk/>
            <pc:sldMk cId="3892474346" sldId="1979422039"/>
            <ac:spMk id="2" creationId="{3A711F76-135F-7943-96A1-644D9D75A936}"/>
          </ac:spMkLst>
        </pc:spChg>
        <pc:spChg chg="mod">
          <ac:chgData name="Frank Tan (qutan)" userId="1cc8c1fc-bfb1-4b23-ae96-de603ddcbe90" providerId="ADAL" clId="{B2E6EBD4-40ED-BB49-A022-DFC9FCE63038}" dt="2020-03-09T06:40:27.042" v="24" actId="20577"/>
          <ac:spMkLst>
            <pc:docMk/>
            <pc:sldMk cId="3892474346" sldId="1979422039"/>
            <ac:spMk id="3" creationId="{4DFD696C-45EA-E840-8637-B1848E98D488}"/>
          </ac:spMkLst>
        </pc:spChg>
        <pc:picChg chg="add mod">
          <ac:chgData name="Frank Tan (qutan)" userId="1cc8c1fc-bfb1-4b23-ae96-de603ddcbe90" providerId="ADAL" clId="{B2E6EBD4-40ED-BB49-A022-DFC9FCE63038}" dt="2020-03-09T06:42:19.067" v="39" actId="1076"/>
          <ac:picMkLst>
            <pc:docMk/>
            <pc:sldMk cId="3892474346" sldId="1979422039"/>
            <ac:picMk id="4" creationId="{E6A930A7-D351-9F47-B0ED-498AF64B28BD}"/>
          </ac:picMkLst>
        </pc:picChg>
      </pc:sldChg>
      <pc:sldChg chg="delSp modSp add modTransition">
        <pc:chgData name="Frank Tan (qutan)" userId="1cc8c1fc-bfb1-4b23-ae96-de603ddcbe90" providerId="ADAL" clId="{B2E6EBD4-40ED-BB49-A022-DFC9FCE63038}" dt="2020-03-09T08:40:21.700" v="151"/>
        <pc:sldMkLst>
          <pc:docMk/>
          <pc:sldMk cId="4160431623" sldId="1979422040"/>
        </pc:sldMkLst>
        <pc:spChg chg="mod">
          <ac:chgData name="Frank Tan (qutan)" userId="1cc8c1fc-bfb1-4b23-ae96-de603ddcbe90" providerId="ADAL" clId="{B2E6EBD4-40ED-BB49-A022-DFC9FCE63038}" dt="2020-03-09T06:53:36.633" v="84" actId="20577"/>
          <ac:spMkLst>
            <pc:docMk/>
            <pc:sldMk cId="4160431623" sldId="1979422040"/>
            <ac:spMk id="2" creationId="{3A711F76-135F-7943-96A1-644D9D75A936}"/>
          </ac:spMkLst>
        </pc:spChg>
        <pc:spChg chg="mod">
          <ac:chgData name="Frank Tan (qutan)" userId="1cc8c1fc-bfb1-4b23-ae96-de603ddcbe90" providerId="ADAL" clId="{B2E6EBD4-40ED-BB49-A022-DFC9FCE63038}" dt="2020-03-09T06:48:10.277" v="62" actId="20577"/>
          <ac:spMkLst>
            <pc:docMk/>
            <pc:sldMk cId="4160431623" sldId="1979422040"/>
            <ac:spMk id="3" creationId="{4DFD696C-45EA-E840-8637-B1848E98D488}"/>
          </ac:spMkLst>
        </pc:spChg>
        <pc:picChg chg="del">
          <ac:chgData name="Frank Tan (qutan)" userId="1cc8c1fc-bfb1-4b23-ae96-de603ddcbe90" providerId="ADAL" clId="{B2E6EBD4-40ED-BB49-A022-DFC9FCE63038}" dt="2020-03-09T06:42:48.134" v="41" actId="478"/>
          <ac:picMkLst>
            <pc:docMk/>
            <pc:sldMk cId="4160431623" sldId="1979422040"/>
            <ac:picMk id="4" creationId="{E6A930A7-D351-9F47-B0ED-498AF64B28BD}"/>
          </ac:picMkLst>
        </pc:picChg>
      </pc:sldChg>
      <pc:sldChg chg="addSp modSp add modTransition">
        <pc:chgData name="Frank Tan (qutan)" userId="1cc8c1fc-bfb1-4b23-ae96-de603ddcbe90" providerId="ADAL" clId="{B2E6EBD4-40ED-BB49-A022-DFC9FCE63038}" dt="2020-03-09T08:40:21.700" v="151"/>
        <pc:sldMkLst>
          <pc:docMk/>
          <pc:sldMk cId="2742378154" sldId="1979422041"/>
        </pc:sldMkLst>
        <pc:spChg chg="mod">
          <ac:chgData name="Frank Tan (qutan)" userId="1cc8c1fc-bfb1-4b23-ae96-de603ddcbe90" providerId="ADAL" clId="{B2E6EBD4-40ED-BB49-A022-DFC9FCE63038}" dt="2020-03-09T07:04:41.540" v="90" actId="1076"/>
          <ac:spMkLst>
            <pc:docMk/>
            <pc:sldMk cId="2742378154" sldId="1979422041"/>
            <ac:spMk id="3" creationId="{DA4BE0CD-2757-9643-9BEB-6C76796F70DC}"/>
          </ac:spMkLst>
        </pc:spChg>
        <pc:picChg chg="add mod">
          <ac:chgData name="Frank Tan (qutan)" userId="1cc8c1fc-bfb1-4b23-ae96-de603ddcbe90" providerId="ADAL" clId="{B2E6EBD4-40ED-BB49-A022-DFC9FCE63038}" dt="2020-03-09T07:04:44.378" v="91" actId="1076"/>
          <ac:picMkLst>
            <pc:docMk/>
            <pc:sldMk cId="2742378154" sldId="1979422041"/>
            <ac:picMk id="4" creationId="{4737AFE1-FF77-A04B-8774-E7C16F2098A9}"/>
          </ac:picMkLst>
        </pc:picChg>
      </pc:sldChg>
      <pc:sldChg chg="add del">
        <pc:chgData name="Frank Tan (qutan)" userId="1cc8c1fc-bfb1-4b23-ae96-de603ddcbe90" providerId="ADAL" clId="{B2E6EBD4-40ED-BB49-A022-DFC9FCE63038}" dt="2020-03-09T06:44:08.172" v="44"/>
        <pc:sldMkLst>
          <pc:docMk/>
          <pc:sldMk cId="1159989363" sldId="1979422042"/>
        </pc:sldMkLst>
      </pc:sldChg>
      <pc:sldChg chg="addSp delSp modSp add del">
        <pc:chgData name="Frank Tan (qutan)" userId="1cc8c1fc-bfb1-4b23-ae96-de603ddcbe90" providerId="ADAL" clId="{B2E6EBD4-40ED-BB49-A022-DFC9FCE63038}" dt="2020-03-09T07:02:51.630" v="85" actId="2696"/>
        <pc:sldMkLst>
          <pc:docMk/>
          <pc:sldMk cId="1697015267" sldId="1979422042"/>
        </pc:sldMkLst>
        <pc:picChg chg="add del mod">
          <ac:chgData name="Frank Tan (qutan)" userId="1cc8c1fc-bfb1-4b23-ae96-de603ddcbe90" providerId="ADAL" clId="{B2E6EBD4-40ED-BB49-A022-DFC9FCE63038}" dt="2020-03-09T06:45:36.846" v="53" actId="14826"/>
          <ac:picMkLst>
            <pc:docMk/>
            <pc:sldMk cId="1697015267" sldId="1979422042"/>
            <ac:picMk id="4" creationId="{E6A930A7-D351-9F47-B0ED-498AF64B28BD}"/>
          </ac:picMkLst>
        </pc:picChg>
        <pc:picChg chg="add del">
          <ac:chgData name="Frank Tan (qutan)" userId="1cc8c1fc-bfb1-4b23-ae96-de603ddcbe90" providerId="ADAL" clId="{B2E6EBD4-40ED-BB49-A022-DFC9FCE63038}" dt="2020-03-09T06:44:50.404" v="49"/>
          <ac:picMkLst>
            <pc:docMk/>
            <pc:sldMk cId="1697015267" sldId="1979422042"/>
            <ac:picMk id="5" creationId="{0C2162D2-5532-D740-9E77-49B50732C552}"/>
          </ac:picMkLst>
        </pc:picChg>
      </pc:sldChg>
      <pc:sldChg chg="addSp add modTransition">
        <pc:chgData name="Frank Tan (qutan)" userId="1cc8c1fc-bfb1-4b23-ae96-de603ddcbe90" providerId="ADAL" clId="{B2E6EBD4-40ED-BB49-A022-DFC9FCE63038}" dt="2020-03-09T08:40:21.700" v="151"/>
        <pc:sldMkLst>
          <pc:docMk/>
          <pc:sldMk cId="1145715636" sldId="1979422043"/>
        </pc:sldMkLst>
        <pc:picChg chg="add">
          <ac:chgData name="Frank Tan (qutan)" userId="1cc8c1fc-bfb1-4b23-ae96-de603ddcbe90" providerId="ADAL" clId="{B2E6EBD4-40ED-BB49-A022-DFC9FCE63038}" dt="2020-03-09T06:52:36.421" v="64"/>
          <ac:picMkLst>
            <pc:docMk/>
            <pc:sldMk cId="1145715636" sldId="1979422043"/>
            <ac:picMk id="4" creationId="{81276EF5-E808-9543-BA63-F8D7160BD13A}"/>
          </ac:picMkLst>
        </pc:picChg>
      </pc:sldChg>
      <pc:sldChg chg="add modTransition">
        <pc:chgData name="Frank Tan (qutan)" userId="1cc8c1fc-bfb1-4b23-ae96-de603ddcbe90" providerId="ADAL" clId="{B2E6EBD4-40ED-BB49-A022-DFC9FCE63038}" dt="2020-03-09T08:40:21.700" v="151"/>
        <pc:sldMkLst>
          <pc:docMk/>
          <pc:sldMk cId="956775554" sldId="1979422044"/>
        </pc:sldMkLst>
      </pc:sldChg>
      <pc:sldChg chg="add modTransition">
        <pc:chgData name="Frank Tan (qutan)" userId="1cc8c1fc-bfb1-4b23-ae96-de603ddcbe90" providerId="ADAL" clId="{B2E6EBD4-40ED-BB49-A022-DFC9FCE63038}" dt="2020-03-09T08:40:21.700" v="151"/>
        <pc:sldMkLst>
          <pc:docMk/>
          <pc:sldMk cId="147948150" sldId="1979422045"/>
        </pc:sldMkLst>
      </pc:sldChg>
      <pc:sldChg chg="addSp modSp add modTransition">
        <pc:chgData name="Frank Tan (qutan)" userId="1cc8c1fc-bfb1-4b23-ae96-de603ddcbe90" providerId="ADAL" clId="{B2E6EBD4-40ED-BB49-A022-DFC9FCE63038}" dt="2020-03-09T08:40:21.700" v="151"/>
        <pc:sldMkLst>
          <pc:docMk/>
          <pc:sldMk cId="3172027343" sldId="1979422046"/>
        </pc:sldMkLst>
        <pc:picChg chg="add mod">
          <ac:chgData name="Frank Tan (qutan)" userId="1cc8c1fc-bfb1-4b23-ae96-de603ddcbe90" providerId="ADAL" clId="{B2E6EBD4-40ED-BB49-A022-DFC9FCE63038}" dt="2020-03-09T07:22:59.927" v="105" actId="1076"/>
          <ac:picMkLst>
            <pc:docMk/>
            <pc:sldMk cId="3172027343" sldId="1979422046"/>
            <ac:picMk id="4" creationId="{D7F45ADC-8F0B-6D40-9ABB-BBD035ED0B49}"/>
          </ac:picMkLst>
        </pc:picChg>
      </pc:sldChg>
      <pc:sldChg chg="add modTransition">
        <pc:chgData name="Frank Tan (qutan)" userId="1cc8c1fc-bfb1-4b23-ae96-de603ddcbe90" providerId="ADAL" clId="{B2E6EBD4-40ED-BB49-A022-DFC9FCE63038}" dt="2020-03-09T08:40:21.700" v="151"/>
        <pc:sldMkLst>
          <pc:docMk/>
          <pc:sldMk cId="1824193528" sldId="1979422047"/>
        </pc:sldMkLst>
      </pc:sldChg>
      <pc:sldChg chg="addSp delSp modSp add modTransition">
        <pc:chgData name="Frank Tan (qutan)" userId="1cc8c1fc-bfb1-4b23-ae96-de603ddcbe90" providerId="ADAL" clId="{B2E6EBD4-40ED-BB49-A022-DFC9FCE63038}" dt="2020-03-10T07:52:44.248" v="336" actId="20577"/>
        <pc:sldMkLst>
          <pc:docMk/>
          <pc:sldMk cId="127713431" sldId="1979422048"/>
        </pc:sldMkLst>
        <pc:spChg chg="del">
          <ac:chgData name="Frank Tan (qutan)" userId="1cc8c1fc-bfb1-4b23-ae96-de603ddcbe90" providerId="ADAL" clId="{B2E6EBD4-40ED-BB49-A022-DFC9FCE63038}" dt="2020-03-10T06:27:34.156" v="186"/>
          <ac:spMkLst>
            <pc:docMk/>
            <pc:sldMk cId="127713431" sldId="1979422048"/>
            <ac:spMk id="2" creationId="{8EF81E9E-AEC9-6D49-891B-D5269FDC03E7}"/>
          </ac:spMkLst>
        </pc:spChg>
        <pc:spChg chg="add del mod">
          <ac:chgData name="Frank Tan (qutan)" userId="1cc8c1fc-bfb1-4b23-ae96-de603ddcbe90" providerId="ADAL" clId="{B2E6EBD4-40ED-BB49-A022-DFC9FCE63038}" dt="2020-03-10T06:27:40.751" v="187"/>
          <ac:spMkLst>
            <pc:docMk/>
            <pc:sldMk cId="127713431" sldId="1979422048"/>
            <ac:spMk id="4" creationId="{15C58627-C398-8B4A-9D58-4CC6A7EEFE6F}"/>
          </ac:spMkLst>
        </pc:spChg>
        <pc:spChg chg="add del mod">
          <ac:chgData name="Frank Tan (qutan)" userId="1cc8c1fc-bfb1-4b23-ae96-de603ddcbe90" providerId="ADAL" clId="{B2E6EBD4-40ED-BB49-A022-DFC9FCE63038}" dt="2020-03-10T06:27:40.751" v="187"/>
          <ac:spMkLst>
            <pc:docMk/>
            <pc:sldMk cId="127713431" sldId="1979422048"/>
            <ac:spMk id="5" creationId="{C653B84D-6772-8B4F-B2F2-745509D18000}"/>
          </ac:spMkLst>
        </pc:spChg>
        <pc:spChg chg="add mod">
          <ac:chgData name="Frank Tan (qutan)" userId="1cc8c1fc-bfb1-4b23-ae96-de603ddcbe90" providerId="ADAL" clId="{B2E6EBD4-40ED-BB49-A022-DFC9FCE63038}" dt="2020-03-10T07:52:44.248" v="336" actId="20577"/>
          <ac:spMkLst>
            <pc:docMk/>
            <pc:sldMk cId="127713431" sldId="1979422048"/>
            <ac:spMk id="6" creationId="{5B374583-D853-354E-86CA-A557720FC639}"/>
          </ac:spMkLst>
        </pc:spChg>
        <pc:spChg chg="add mod">
          <ac:chgData name="Frank Tan (qutan)" userId="1cc8c1fc-bfb1-4b23-ae96-de603ddcbe90" providerId="ADAL" clId="{B2E6EBD4-40ED-BB49-A022-DFC9FCE63038}" dt="2020-03-10T06:27:40.751" v="187"/>
          <ac:spMkLst>
            <pc:docMk/>
            <pc:sldMk cId="127713431" sldId="1979422048"/>
            <ac:spMk id="7" creationId="{6256310C-37B0-D54A-ADDA-FD05DE60966D}"/>
          </ac:spMkLst>
        </pc:spChg>
        <pc:picChg chg="add mod">
          <ac:chgData name="Frank Tan (qutan)" userId="1cc8c1fc-bfb1-4b23-ae96-de603ddcbe90" providerId="ADAL" clId="{B2E6EBD4-40ED-BB49-A022-DFC9FCE63038}" dt="2020-03-10T06:27:48.390" v="189" actId="1076"/>
          <ac:picMkLst>
            <pc:docMk/>
            <pc:sldMk cId="127713431" sldId="1979422048"/>
            <ac:picMk id="3" creationId="{4F0CE947-0F59-2549-9951-0E4EF055DC95}"/>
          </ac:picMkLst>
        </pc:picChg>
      </pc:sldChg>
      <pc:sldChg chg="modSp add">
        <pc:chgData name="Frank Tan (qutan)" userId="1cc8c1fc-bfb1-4b23-ae96-de603ddcbe90" providerId="ADAL" clId="{B2E6EBD4-40ED-BB49-A022-DFC9FCE63038}" dt="2020-03-10T06:43:49.945" v="324"/>
        <pc:sldMkLst>
          <pc:docMk/>
          <pc:sldMk cId="388186213" sldId="1979422049"/>
        </pc:sldMkLst>
        <pc:spChg chg="mod">
          <ac:chgData name="Frank Tan (qutan)" userId="1cc8c1fc-bfb1-4b23-ae96-de603ddcbe90" providerId="ADAL" clId="{B2E6EBD4-40ED-BB49-A022-DFC9FCE63038}" dt="2020-03-10T06:43:49.945" v="324"/>
          <ac:spMkLst>
            <pc:docMk/>
            <pc:sldMk cId="388186213" sldId="1979422049"/>
            <ac:spMk id="2" creationId="{443538F1-FFEC-C649-AC80-B7AC82F975DF}"/>
          </ac:spMkLst>
        </pc:spChg>
        <pc:spChg chg="mod">
          <ac:chgData name="Frank Tan (qutan)" userId="1cc8c1fc-bfb1-4b23-ae96-de603ddcbe90" providerId="ADAL" clId="{B2E6EBD4-40ED-BB49-A022-DFC9FCE63038}" dt="2020-03-10T06:41:35.520" v="321" actId="20577"/>
          <ac:spMkLst>
            <pc:docMk/>
            <pc:sldMk cId="388186213" sldId="1979422049"/>
            <ac:spMk id="3" creationId="{5EFBDCAE-AA5F-104D-9DDF-BF5C89BDDA6B}"/>
          </ac:spMkLst>
        </pc:spChg>
      </pc:sldChg>
    </pc:docChg>
  </pc:docChgLst>
  <pc:docChgLst>
    <pc:chgData name="Frank Tan (qutan)" userId="1cc8c1fc-bfb1-4b23-ae96-de603ddcbe90" providerId="ADAL" clId="{D34F9223-B6D4-D14A-B279-9D7038014DEB}"/>
    <pc:docChg chg="undo custSel addSld delSld modSld sldOrd">
      <pc:chgData name="Frank Tan (qutan)" userId="1cc8c1fc-bfb1-4b23-ae96-de603ddcbe90" providerId="ADAL" clId="{D34F9223-B6D4-D14A-B279-9D7038014DEB}" dt="2020-04-16T07:58:21.819" v="1284"/>
      <pc:docMkLst>
        <pc:docMk/>
      </pc:docMkLst>
      <pc:sldChg chg="modSp modTransition">
        <pc:chgData name="Frank Tan (qutan)" userId="1cc8c1fc-bfb1-4b23-ae96-de603ddcbe90" providerId="ADAL" clId="{D34F9223-B6D4-D14A-B279-9D7038014DEB}" dt="2020-04-16T06:26:20.390" v="1219"/>
        <pc:sldMkLst>
          <pc:docMk/>
          <pc:sldMk cId="2193831592" sldId="257"/>
        </pc:sldMkLst>
        <pc:spChg chg="mod">
          <ac:chgData name="Frank Tan (qutan)" userId="1cc8c1fc-bfb1-4b23-ae96-de603ddcbe90" providerId="ADAL" clId="{D34F9223-B6D4-D14A-B279-9D7038014DEB}" dt="2020-04-15T13:08:58.495" v="16" actId="20577"/>
          <ac:spMkLst>
            <pc:docMk/>
            <pc:sldMk cId="2193831592" sldId="257"/>
            <ac:spMk id="5" creationId="{690C8D39-1DA4-1A4F-96EE-E5E97F0772CC}"/>
          </ac:spMkLst>
        </pc:spChg>
        <pc:spChg chg="mod">
          <ac:chgData name="Frank Tan (qutan)" userId="1cc8c1fc-bfb1-4b23-ae96-de603ddcbe90" providerId="ADAL" clId="{D34F9223-B6D4-D14A-B279-9D7038014DEB}" dt="2020-04-15T13:08:50.665" v="7" actId="20577"/>
          <ac:spMkLst>
            <pc:docMk/>
            <pc:sldMk cId="2193831592" sldId="257"/>
            <ac:spMk id="6" creationId="{BB6D2400-87FB-3B4D-861A-B277F028C9D3}"/>
          </ac:spMkLst>
        </pc:spChg>
      </pc:sldChg>
      <pc:sldChg chg="modSp modTransition">
        <pc:chgData name="Frank Tan (qutan)" userId="1cc8c1fc-bfb1-4b23-ae96-de603ddcbe90" providerId="ADAL" clId="{D34F9223-B6D4-D14A-B279-9D7038014DEB}" dt="2020-04-16T06:26:20.390" v="1219"/>
        <pc:sldMkLst>
          <pc:docMk/>
          <pc:sldMk cId="666991905" sldId="258"/>
        </pc:sldMkLst>
        <pc:spChg chg="mod">
          <ac:chgData name="Frank Tan (qutan)" userId="1cc8c1fc-bfb1-4b23-ae96-de603ddcbe90" providerId="ADAL" clId="{D34F9223-B6D4-D14A-B279-9D7038014DEB}" dt="2020-04-15T13:09:39.915" v="52" actId="20577"/>
          <ac:spMkLst>
            <pc:docMk/>
            <pc:sldMk cId="666991905" sldId="258"/>
            <ac:spMk id="6" creationId="{2ECACC77-877A-934F-88DA-C325D964C959}"/>
          </ac:spMkLst>
        </pc:spChg>
      </pc:sldChg>
      <pc:sldChg chg="add del">
        <pc:chgData name="Frank Tan (qutan)" userId="1cc8c1fc-bfb1-4b23-ae96-de603ddcbe90" providerId="ADAL" clId="{D34F9223-B6D4-D14A-B279-9D7038014DEB}" dt="2020-04-15T13:52:07.122" v="163" actId="2696"/>
        <pc:sldMkLst>
          <pc:docMk/>
          <pc:sldMk cId="3151345632" sldId="261"/>
        </pc:sldMkLst>
      </pc:sldChg>
      <pc:sldChg chg="add del">
        <pc:chgData name="Frank Tan (qutan)" userId="1cc8c1fc-bfb1-4b23-ae96-de603ddcbe90" providerId="ADAL" clId="{D34F9223-B6D4-D14A-B279-9D7038014DEB}" dt="2020-04-15T13:51:22.399" v="152"/>
        <pc:sldMkLst>
          <pc:docMk/>
          <pc:sldMk cId="3193300467" sldId="261"/>
        </pc:sldMkLst>
      </pc:sldChg>
      <pc:sldChg chg="add modTransition">
        <pc:chgData name="Frank Tan (qutan)" userId="1cc8c1fc-bfb1-4b23-ae96-de603ddcbe90" providerId="ADAL" clId="{D34F9223-B6D4-D14A-B279-9D7038014DEB}" dt="2020-04-16T06:26:20.390" v="1219"/>
        <pc:sldMkLst>
          <pc:docMk/>
          <pc:sldMk cId="1406200171" sldId="262"/>
        </pc:sldMkLst>
      </pc:sldChg>
      <pc:sldChg chg="add del">
        <pc:chgData name="Frank Tan (qutan)" userId="1cc8c1fc-bfb1-4b23-ae96-de603ddcbe90" providerId="ADAL" clId="{D34F9223-B6D4-D14A-B279-9D7038014DEB}" dt="2020-04-15T13:51:22.399" v="152"/>
        <pc:sldMkLst>
          <pc:docMk/>
          <pc:sldMk cId="2467027846" sldId="262"/>
        </pc:sldMkLst>
      </pc:sldChg>
      <pc:sldChg chg="del">
        <pc:chgData name="Frank Tan (qutan)" userId="1cc8c1fc-bfb1-4b23-ae96-de603ddcbe90" providerId="ADAL" clId="{D34F9223-B6D4-D14A-B279-9D7038014DEB}" dt="2020-04-15T13:10:24.897" v="75" actId="2696"/>
        <pc:sldMkLst>
          <pc:docMk/>
          <pc:sldMk cId="3000221620" sldId="262"/>
        </pc:sldMkLst>
      </pc:sldChg>
      <pc:sldChg chg="add modTransition">
        <pc:chgData name="Frank Tan (qutan)" userId="1cc8c1fc-bfb1-4b23-ae96-de603ddcbe90" providerId="ADAL" clId="{D34F9223-B6D4-D14A-B279-9D7038014DEB}" dt="2020-04-16T06:26:20.390" v="1219"/>
        <pc:sldMkLst>
          <pc:docMk/>
          <pc:sldMk cId="436247619" sldId="263"/>
        </pc:sldMkLst>
      </pc:sldChg>
      <pc:sldChg chg="del">
        <pc:chgData name="Frank Tan (qutan)" userId="1cc8c1fc-bfb1-4b23-ae96-de603ddcbe90" providerId="ADAL" clId="{D34F9223-B6D4-D14A-B279-9D7038014DEB}" dt="2020-04-15T13:10:24.959" v="76" actId="2696"/>
        <pc:sldMkLst>
          <pc:docMk/>
          <pc:sldMk cId="1978611209" sldId="263"/>
        </pc:sldMkLst>
      </pc:sldChg>
      <pc:sldChg chg="add del">
        <pc:chgData name="Frank Tan (qutan)" userId="1cc8c1fc-bfb1-4b23-ae96-de603ddcbe90" providerId="ADAL" clId="{D34F9223-B6D4-D14A-B279-9D7038014DEB}" dt="2020-04-15T13:51:22.399" v="152"/>
        <pc:sldMkLst>
          <pc:docMk/>
          <pc:sldMk cId="3105522982" sldId="263"/>
        </pc:sldMkLst>
      </pc:sldChg>
      <pc:sldChg chg="add modTransition">
        <pc:chgData name="Frank Tan (qutan)" userId="1cc8c1fc-bfb1-4b23-ae96-de603ddcbe90" providerId="ADAL" clId="{D34F9223-B6D4-D14A-B279-9D7038014DEB}" dt="2020-04-16T06:26:20.390" v="1219"/>
        <pc:sldMkLst>
          <pc:docMk/>
          <pc:sldMk cId="1505317192" sldId="264"/>
        </pc:sldMkLst>
      </pc:sldChg>
      <pc:sldChg chg="add del">
        <pc:chgData name="Frank Tan (qutan)" userId="1cc8c1fc-bfb1-4b23-ae96-de603ddcbe90" providerId="ADAL" clId="{D34F9223-B6D4-D14A-B279-9D7038014DEB}" dt="2020-04-15T13:51:22.399" v="152"/>
        <pc:sldMkLst>
          <pc:docMk/>
          <pc:sldMk cId="4143803237" sldId="264"/>
        </pc:sldMkLst>
      </pc:sldChg>
      <pc:sldChg chg="add del">
        <pc:chgData name="Frank Tan (qutan)" userId="1cc8c1fc-bfb1-4b23-ae96-de603ddcbe90" providerId="ADAL" clId="{D34F9223-B6D4-D14A-B279-9D7038014DEB}" dt="2020-04-15T13:52:11.721" v="164" actId="2696"/>
        <pc:sldMkLst>
          <pc:docMk/>
          <pc:sldMk cId="219371194" sldId="265"/>
        </pc:sldMkLst>
      </pc:sldChg>
      <pc:sldChg chg="add del">
        <pc:chgData name="Frank Tan (qutan)" userId="1cc8c1fc-bfb1-4b23-ae96-de603ddcbe90" providerId="ADAL" clId="{D34F9223-B6D4-D14A-B279-9D7038014DEB}" dt="2020-04-15T13:51:22.399" v="152"/>
        <pc:sldMkLst>
          <pc:docMk/>
          <pc:sldMk cId="760111757" sldId="265"/>
        </pc:sldMkLst>
      </pc:sldChg>
      <pc:sldChg chg="add modTransition">
        <pc:chgData name="Frank Tan (qutan)" userId="1cc8c1fc-bfb1-4b23-ae96-de603ddcbe90" providerId="ADAL" clId="{D34F9223-B6D4-D14A-B279-9D7038014DEB}" dt="2020-04-16T07:58:21.819" v="1284"/>
        <pc:sldMkLst>
          <pc:docMk/>
          <pc:sldMk cId="1128101964" sldId="265"/>
        </pc:sldMkLst>
      </pc:sldChg>
      <pc:sldChg chg="add del">
        <pc:chgData name="Frank Tan (qutan)" userId="1cc8c1fc-bfb1-4b23-ae96-de603ddcbe90" providerId="ADAL" clId="{D34F9223-B6D4-D14A-B279-9D7038014DEB}" dt="2020-04-15T13:51:22.399" v="152"/>
        <pc:sldMkLst>
          <pc:docMk/>
          <pc:sldMk cId="757007622" sldId="266"/>
        </pc:sldMkLst>
      </pc:sldChg>
      <pc:sldChg chg="add modTransition">
        <pc:chgData name="Frank Tan (qutan)" userId="1cc8c1fc-bfb1-4b23-ae96-de603ddcbe90" providerId="ADAL" clId="{D34F9223-B6D4-D14A-B279-9D7038014DEB}" dt="2020-04-16T06:26:20.390" v="1219"/>
        <pc:sldMkLst>
          <pc:docMk/>
          <pc:sldMk cId="3896077997" sldId="266"/>
        </pc:sldMkLst>
      </pc:sldChg>
      <pc:sldChg chg="add modTransition">
        <pc:chgData name="Frank Tan (qutan)" userId="1cc8c1fc-bfb1-4b23-ae96-de603ddcbe90" providerId="ADAL" clId="{D34F9223-B6D4-D14A-B279-9D7038014DEB}" dt="2020-04-16T06:26:20.390" v="1219"/>
        <pc:sldMkLst>
          <pc:docMk/>
          <pc:sldMk cId="1164268687" sldId="267"/>
        </pc:sldMkLst>
      </pc:sldChg>
      <pc:sldChg chg="add del">
        <pc:chgData name="Frank Tan (qutan)" userId="1cc8c1fc-bfb1-4b23-ae96-de603ddcbe90" providerId="ADAL" clId="{D34F9223-B6D4-D14A-B279-9D7038014DEB}" dt="2020-04-15T13:51:22.399" v="152"/>
        <pc:sldMkLst>
          <pc:docMk/>
          <pc:sldMk cId="4234569596" sldId="267"/>
        </pc:sldMkLst>
      </pc:sldChg>
      <pc:sldChg chg="add modTransition">
        <pc:chgData name="Frank Tan (qutan)" userId="1cc8c1fc-bfb1-4b23-ae96-de603ddcbe90" providerId="ADAL" clId="{D34F9223-B6D4-D14A-B279-9D7038014DEB}" dt="2020-04-16T06:26:20.390" v="1219"/>
        <pc:sldMkLst>
          <pc:docMk/>
          <pc:sldMk cId="3573574929" sldId="268"/>
        </pc:sldMkLst>
      </pc:sldChg>
      <pc:sldChg chg="add del">
        <pc:chgData name="Frank Tan (qutan)" userId="1cc8c1fc-bfb1-4b23-ae96-de603ddcbe90" providerId="ADAL" clId="{D34F9223-B6D4-D14A-B279-9D7038014DEB}" dt="2020-04-15T13:51:22.399" v="152"/>
        <pc:sldMkLst>
          <pc:docMk/>
          <pc:sldMk cId="3825996925" sldId="268"/>
        </pc:sldMkLst>
      </pc:sldChg>
      <pc:sldChg chg="add del">
        <pc:chgData name="Frank Tan (qutan)" userId="1cc8c1fc-bfb1-4b23-ae96-de603ddcbe90" providerId="ADAL" clId="{D34F9223-B6D4-D14A-B279-9D7038014DEB}" dt="2020-04-15T13:51:22.399" v="152"/>
        <pc:sldMkLst>
          <pc:docMk/>
          <pc:sldMk cId="1736197577" sldId="269"/>
        </pc:sldMkLst>
      </pc:sldChg>
      <pc:sldChg chg="add modTransition">
        <pc:chgData name="Frank Tan (qutan)" userId="1cc8c1fc-bfb1-4b23-ae96-de603ddcbe90" providerId="ADAL" clId="{D34F9223-B6D4-D14A-B279-9D7038014DEB}" dt="2020-04-16T06:26:20.390" v="1219"/>
        <pc:sldMkLst>
          <pc:docMk/>
          <pc:sldMk cId="2756048608" sldId="269"/>
        </pc:sldMkLst>
      </pc:sldChg>
      <pc:sldChg chg="add del">
        <pc:chgData name="Frank Tan (qutan)" userId="1cc8c1fc-bfb1-4b23-ae96-de603ddcbe90" providerId="ADAL" clId="{D34F9223-B6D4-D14A-B279-9D7038014DEB}" dt="2020-04-15T13:51:22.399" v="152"/>
        <pc:sldMkLst>
          <pc:docMk/>
          <pc:sldMk cId="3204534159" sldId="270"/>
        </pc:sldMkLst>
      </pc:sldChg>
      <pc:sldChg chg="add modTransition">
        <pc:chgData name="Frank Tan (qutan)" userId="1cc8c1fc-bfb1-4b23-ae96-de603ddcbe90" providerId="ADAL" clId="{D34F9223-B6D4-D14A-B279-9D7038014DEB}" dt="2020-04-16T06:26:20.390" v="1219"/>
        <pc:sldMkLst>
          <pc:docMk/>
          <pc:sldMk cId="3759151954" sldId="270"/>
        </pc:sldMkLst>
      </pc:sldChg>
      <pc:sldChg chg="add del">
        <pc:chgData name="Frank Tan (qutan)" userId="1cc8c1fc-bfb1-4b23-ae96-de603ddcbe90" providerId="ADAL" clId="{D34F9223-B6D4-D14A-B279-9D7038014DEB}" dt="2020-04-15T13:51:22.399" v="152"/>
        <pc:sldMkLst>
          <pc:docMk/>
          <pc:sldMk cId="2257453858" sldId="271"/>
        </pc:sldMkLst>
      </pc:sldChg>
      <pc:sldChg chg="add modTransition">
        <pc:chgData name="Frank Tan (qutan)" userId="1cc8c1fc-bfb1-4b23-ae96-de603ddcbe90" providerId="ADAL" clId="{D34F9223-B6D4-D14A-B279-9D7038014DEB}" dt="2020-04-16T06:26:20.390" v="1219"/>
        <pc:sldMkLst>
          <pc:docMk/>
          <pc:sldMk cId="4032752559" sldId="271"/>
        </pc:sldMkLst>
      </pc:sldChg>
      <pc:sldChg chg="add modTransition">
        <pc:chgData name="Frank Tan (qutan)" userId="1cc8c1fc-bfb1-4b23-ae96-de603ddcbe90" providerId="ADAL" clId="{D34F9223-B6D4-D14A-B279-9D7038014DEB}" dt="2020-04-16T06:26:20.390" v="1219"/>
        <pc:sldMkLst>
          <pc:docMk/>
          <pc:sldMk cId="716031221" sldId="272"/>
        </pc:sldMkLst>
      </pc:sldChg>
      <pc:sldChg chg="add del">
        <pc:chgData name="Frank Tan (qutan)" userId="1cc8c1fc-bfb1-4b23-ae96-de603ddcbe90" providerId="ADAL" clId="{D34F9223-B6D4-D14A-B279-9D7038014DEB}" dt="2020-04-15T13:51:22.399" v="152"/>
        <pc:sldMkLst>
          <pc:docMk/>
          <pc:sldMk cId="2587924366" sldId="272"/>
        </pc:sldMkLst>
      </pc:sldChg>
      <pc:sldChg chg="add del">
        <pc:chgData name="Frank Tan (qutan)" userId="1cc8c1fc-bfb1-4b23-ae96-de603ddcbe90" providerId="ADAL" clId="{D34F9223-B6D4-D14A-B279-9D7038014DEB}" dt="2020-04-15T13:51:22.399" v="152"/>
        <pc:sldMkLst>
          <pc:docMk/>
          <pc:sldMk cId="394796595" sldId="273"/>
        </pc:sldMkLst>
      </pc:sldChg>
      <pc:sldChg chg="add del">
        <pc:chgData name="Frank Tan (qutan)" userId="1cc8c1fc-bfb1-4b23-ae96-de603ddcbe90" providerId="ADAL" clId="{D34F9223-B6D4-D14A-B279-9D7038014DEB}" dt="2020-04-15T13:52:15.361" v="165" actId="2696"/>
        <pc:sldMkLst>
          <pc:docMk/>
          <pc:sldMk cId="557483764" sldId="273"/>
        </pc:sldMkLst>
      </pc:sldChg>
      <pc:sldChg chg="delSp modSp add modTransition">
        <pc:chgData name="Frank Tan (qutan)" userId="1cc8c1fc-bfb1-4b23-ae96-de603ddcbe90" providerId="ADAL" clId="{D34F9223-B6D4-D14A-B279-9D7038014DEB}" dt="2020-04-16T06:26:20.390" v="1219"/>
        <pc:sldMkLst>
          <pc:docMk/>
          <pc:sldMk cId="645220393" sldId="273"/>
        </pc:sldMkLst>
        <pc:spChg chg="mod">
          <ac:chgData name="Frank Tan (qutan)" userId="1cc8c1fc-bfb1-4b23-ae96-de603ddcbe90" providerId="ADAL" clId="{D34F9223-B6D4-D14A-B279-9D7038014DEB}" dt="2020-04-15T15:35:42.305" v="306" actId="15"/>
          <ac:spMkLst>
            <pc:docMk/>
            <pc:sldMk cId="645220393" sldId="273"/>
            <ac:spMk id="4" creationId="{00000000-0000-0000-0000-000000000000}"/>
          </ac:spMkLst>
        </pc:spChg>
        <pc:spChg chg="del">
          <ac:chgData name="Frank Tan (qutan)" userId="1cc8c1fc-bfb1-4b23-ae96-de603ddcbe90" providerId="ADAL" clId="{D34F9223-B6D4-D14A-B279-9D7038014DEB}" dt="2020-04-15T15:33:06.869" v="256" actId="478"/>
          <ac:spMkLst>
            <pc:docMk/>
            <pc:sldMk cId="645220393" sldId="273"/>
            <ac:spMk id="7" creationId="{00000000-0000-0000-0000-000000000000}"/>
          </ac:spMkLst>
        </pc:spChg>
        <pc:spChg chg="del">
          <ac:chgData name="Frank Tan (qutan)" userId="1cc8c1fc-bfb1-4b23-ae96-de603ddcbe90" providerId="ADAL" clId="{D34F9223-B6D4-D14A-B279-9D7038014DEB}" dt="2020-04-15T15:33:06.869" v="256" actId="478"/>
          <ac:spMkLst>
            <pc:docMk/>
            <pc:sldMk cId="645220393" sldId="273"/>
            <ac:spMk id="8" creationId="{00000000-0000-0000-0000-000000000000}"/>
          </ac:spMkLst>
        </pc:spChg>
        <pc:graphicFrameChg chg="del mod modGraphic">
          <ac:chgData name="Frank Tan (qutan)" userId="1cc8c1fc-bfb1-4b23-ae96-de603ddcbe90" providerId="ADAL" clId="{D34F9223-B6D4-D14A-B279-9D7038014DEB}" dt="2020-04-15T15:32:36.527" v="242" actId="478"/>
          <ac:graphicFrameMkLst>
            <pc:docMk/>
            <pc:sldMk cId="645220393" sldId="273"/>
            <ac:graphicFrameMk id="5" creationId="{00000000-0000-0000-0000-000000000000}"/>
          </ac:graphicFrameMkLst>
        </pc:graphicFrameChg>
      </pc:sldChg>
      <pc:sldChg chg="add del">
        <pc:chgData name="Frank Tan (qutan)" userId="1cc8c1fc-bfb1-4b23-ae96-de603ddcbe90" providerId="ADAL" clId="{D34F9223-B6D4-D14A-B279-9D7038014DEB}" dt="2020-04-15T15:20:29.812" v="176"/>
        <pc:sldMkLst>
          <pc:docMk/>
          <pc:sldMk cId="3887857522" sldId="273"/>
        </pc:sldMkLst>
      </pc:sldChg>
      <pc:sldChg chg="del">
        <pc:chgData name="Frank Tan (qutan)" userId="1cc8c1fc-bfb1-4b23-ae96-de603ddcbe90" providerId="ADAL" clId="{D34F9223-B6D4-D14A-B279-9D7038014DEB}" dt="2020-04-15T16:11:40.061" v="641" actId="2696"/>
        <pc:sldMkLst>
          <pc:docMk/>
          <pc:sldMk cId="2703209274" sldId="274"/>
        </pc:sldMkLst>
      </pc:sldChg>
      <pc:sldChg chg="del">
        <pc:chgData name="Frank Tan (qutan)" userId="1cc8c1fc-bfb1-4b23-ae96-de603ddcbe90" providerId="ADAL" clId="{D34F9223-B6D4-D14A-B279-9D7038014DEB}" dt="2020-04-15T13:10:25.476" v="96" actId="2696"/>
        <pc:sldMkLst>
          <pc:docMk/>
          <pc:sldMk cId="1589766982" sldId="275"/>
        </pc:sldMkLst>
      </pc:sldChg>
      <pc:sldChg chg="add del">
        <pc:chgData name="Frank Tan (qutan)" userId="1cc8c1fc-bfb1-4b23-ae96-de603ddcbe90" providerId="ADAL" clId="{D34F9223-B6D4-D14A-B279-9D7038014DEB}" dt="2020-04-15T13:51:22.399" v="152"/>
        <pc:sldMkLst>
          <pc:docMk/>
          <pc:sldMk cId="2431091952" sldId="275"/>
        </pc:sldMkLst>
      </pc:sldChg>
      <pc:sldChg chg="add modTransition">
        <pc:chgData name="Frank Tan (qutan)" userId="1cc8c1fc-bfb1-4b23-ae96-de603ddcbe90" providerId="ADAL" clId="{D34F9223-B6D4-D14A-B279-9D7038014DEB}" dt="2020-04-16T06:26:20.390" v="1219"/>
        <pc:sldMkLst>
          <pc:docMk/>
          <pc:sldMk cId="3836911011" sldId="275"/>
        </pc:sldMkLst>
      </pc:sldChg>
      <pc:sldChg chg="add del">
        <pc:chgData name="Frank Tan (qutan)" userId="1cc8c1fc-bfb1-4b23-ae96-de603ddcbe90" providerId="ADAL" clId="{D34F9223-B6D4-D14A-B279-9D7038014DEB}" dt="2020-04-15T13:51:22.399" v="152"/>
        <pc:sldMkLst>
          <pc:docMk/>
          <pc:sldMk cId="703890600" sldId="276"/>
        </pc:sldMkLst>
      </pc:sldChg>
      <pc:sldChg chg="add modTransition">
        <pc:chgData name="Frank Tan (qutan)" userId="1cc8c1fc-bfb1-4b23-ae96-de603ddcbe90" providerId="ADAL" clId="{D34F9223-B6D4-D14A-B279-9D7038014DEB}" dt="2020-04-16T06:26:20.390" v="1219"/>
        <pc:sldMkLst>
          <pc:docMk/>
          <pc:sldMk cId="1184949614" sldId="276"/>
        </pc:sldMkLst>
      </pc:sldChg>
      <pc:sldChg chg="add del">
        <pc:chgData name="Frank Tan (qutan)" userId="1cc8c1fc-bfb1-4b23-ae96-de603ddcbe90" providerId="ADAL" clId="{D34F9223-B6D4-D14A-B279-9D7038014DEB}" dt="2020-04-15T13:52:19.436" v="166" actId="2696"/>
        <pc:sldMkLst>
          <pc:docMk/>
          <pc:sldMk cId="407366948" sldId="277"/>
        </pc:sldMkLst>
      </pc:sldChg>
      <pc:sldChg chg="add del">
        <pc:chgData name="Frank Tan (qutan)" userId="1cc8c1fc-bfb1-4b23-ae96-de603ddcbe90" providerId="ADAL" clId="{D34F9223-B6D4-D14A-B279-9D7038014DEB}" dt="2020-04-15T13:51:22.399" v="152"/>
        <pc:sldMkLst>
          <pc:docMk/>
          <pc:sldMk cId="1605050601" sldId="277"/>
        </pc:sldMkLst>
      </pc:sldChg>
      <pc:sldChg chg="add modTransition">
        <pc:chgData name="Frank Tan (qutan)" userId="1cc8c1fc-bfb1-4b23-ae96-de603ddcbe90" providerId="ADAL" clId="{D34F9223-B6D4-D14A-B279-9D7038014DEB}" dt="2020-04-16T06:26:20.390" v="1219"/>
        <pc:sldMkLst>
          <pc:docMk/>
          <pc:sldMk cId="2064719390" sldId="278"/>
        </pc:sldMkLst>
      </pc:sldChg>
      <pc:sldChg chg="add del">
        <pc:chgData name="Frank Tan (qutan)" userId="1cc8c1fc-bfb1-4b23-ae96-de603ddcbe90" providerId="ADAL" clId="{D34F9223-B6D4-D14A-B279-9D7038014DEB}" dt="2020-04-15T13:51:22.399" v="152"/>
        <pc:sldMkLst>
          <pc:docMk/>
          <pc:sldMk cId="3142669842" sldId="278"/>
        </pc:sldMkLst>
      </pc:sldChg>
      <pc:sldChg chg="add modTransition">
        <pc:chgData name="Frank Tan (qutan)" userId="1cc8c1fc-bfb1-4b23-ae96-de603ddcbe90" providerId="ADAL" clId="{D34F9223-B6D4-D14A-B279-9D7038014DEB}" dt="2020-04-16T06:26:20.390" v="1219"/>
        <pc:sldMkLst>
          <pc:docMk/>
          <pc:sldMk cId="1567410163" sldId="279"/>
        </pc:sldMkLst>
      </pc:sldChg>
      <pc:sldChg chg="add del">
        <pc:chgData name="Frank Tan (qutan)" userId="1cc8c1fc-bfb1-4b23-ae96-de603ddcbe90" providerId="ADAL" clId="{D34F9223-B6D4-D14A-B279-9D7038014DEB}" dt="2020-04-15T13:51:22.399" v="152"/>
        <pc:sldMkLst>
          <pc:docMk/>
          <pc:sldMk cId="2098613017" sldId="279"/>
        </pc:sldMkLst>
      </pc:sldChg>
      <pc:sldChg chg="delSp add modTransition">
        <pc:chgData name="Frank Tan (qutan)" userId="1cc8c1fc-bfb1-4b23-ae96-de603ddcbe90" providerId="ADAL" clId="{D34F9223-B6D4-D14A-B279-9D7038014DEB}" dt="2020-04-16T06:26:20.390" v="1219"/>
        <pc:sldMkLst>
          <pc:docMk/>
          <pc:sldMk cId="2864508177" sldId="280"/>
        </pc:sldMkLst>
        <pc:spChg chg="del">
          <ac:chgData name="Frank Tan (qutan)" userId="1cc8c1fc-bfb1-4b23-ae96-de603ddcbe90" providerId="ADAL" clId="{D34F9223-B6D4-D14A-B279-9D7038014DEB}" dt="2020-04-15T16:10:48.198" v="625" actId="478"/>
          <ac:spMkLst>
            <pc:docMk/>
            <pc:sldMk cId="2864508177" sldId="280"/>
            <ac:spMk id="9" creationId="{00000000-0000-0000-0000-000000000000}"/>
          </ac:spMkLst>
        </pc:spChg>
      </pc:sldChg>
      <pc:sldChg chg="add del">
        <pc:chgData name="Frank Tan (qutan)" userId="1cc8c1fc-bfb1-4b23-ae96-de603ddcbe90" providerId="ADAL" clId="{D34F9223-B6D4-D14A-B279-9D7038014DEB}" dt="2020-04-15T13:51:22.399" v="152"/>
        <pc:sldMkLst>
          <pc:docMk/>
          <pc:sldMk cId="3827867221" sldId="280"/>
        </pc:sldMkLst>
      </pc:sldChg>
      <pc:sldChg chg="add del">
        <pc:chgData name="Frank Tan (qutan)" userId="1cc8c1fc-bfb1-4b23-ae96-de603ddcbe90" providerId="ADAL" clId="{D34F9223-B6D4-D14A-B279-9D7038014DEB}" dt="2020-04-15T13:51:22.399" v="152"/>
        <pc:sldMkLst>
          <pc:docMk/>
          <pc:sldMk cId="25104262" sldId="281"/>
        </pc:sldMkLst>
      </pc:sldChg>
      <pc:sldChg chg="add modTransition">
        <pc:chgData name="Frank Tan (qutan)" userId="1cc8c1fc-bfb1-4b23-ae96-de603ddcbe90" providerId="ADAL" clId="{D34F9223-B6D4-D14A-B279-9D7038014DEB}" dt="2020-04-16T06:26:20.390" v="1219"/>
        <pc:sldMkLst>
          <pc:docMk/>
          <pc:sldMk cId="1167984277" sldId="281"/>
        </pc:sldMkLst>
      </pc:sldChg>
      <pc:sldChg chg="add del">
        <pc:chgData name="Frank Tan (qutan)" userId="1cc8c1fc-bfb1-4b23-ae96-de603ddcbe90" providerId="ADAL" clId="{D34F9223-B6D4-D14A-B279-9D7038014DEB}" dt="2020-04-15T13:51:22.399" v="152"/>
        <pc:sldMkLst>
          <pc:docMk/>
          <pc:sldMk cId="3318737384" sldId="282"/>
        </pc:sldMkLst>
      </pc:sldChg>
      <pc:sldChg chg="add ord modTransition">
        <pc:chgData name="Frank Tan (qutan)" userId="1cc8c1fc-bfb1-4b23-ae96-de603ddcbe90" providerId="ADAL" clId="{D34F9223-B6D4-D14A-B279-9D7038014DEB}" dt="2020-04-16T06:26:20.390" v="1219"/>
        <pc:sldMkLst>
          <pc:docMk/>
          <pc:sldMk cId="3621305774" sldId="282"/>
        </pc:sldMkLst>
      </pc:sldChg>
      <pc:sldChg chg="del">
        <pc:chgData name="Frank Tan (qutan)" userId="1cc8c1fc-bfb1-4b23-ae96-de603ddcbe90" providerId="ADAL" clId="{D34F9223-B6D4-D14A-B279-9D7038014DEB}" dt="2020-04-15T13:10:25.551" v="98" actId="2696"/>
        <pc:sldMkLst>
          <pc:docMk/>
          <pc:sldMk cId="3257333578" sldId="283"/>
        </pc:sldMkLst>
      </pc:sldChg>
      <pc:sldChg chg="del">
        <pc:chgData name="Frank Tan (qutan)" userId="1cc8c1fc-bfb1-4b23-ae96-de603ddcbe90" providerId="ADAL" clId="{D34F9223-B6D4-D14A-B279-9D7038014DEB}" dt="2020-04-15T13:10:25.597" v="99" actId="2696"/>
        <pc:sldMkLst>
          <pc:docMk/>
          <pc:sldMk cId="1505890259" sldId="284"/>
        </pc:sldMkLst>
      </pc:sldChg>
      <pc:sldChg chg="del">
        <pc:chgData name="Frank Tan (qutan)" userId="1cc8c1fc-bfb1-4b23-ae96-de603ddcbe90" providerId="ADAL" clId="{D34F9223-B6D4-D14A-B279-9D7038014DEB}" dt="2020-04-15T13:10:25.639" v="100" actId="2696"/>
        <pc:sldMkLst>
          <pc:docMk/>
          <pc:sldMk cId="1309117720" sldId="285"/>
        </pc:sldMkLst>
      </pc:sldChg>
      <pc:sldChg chg="del">
        <pc:chgData name="Frank Tan (qutan)" userId="1cc8c1fc-bfb1-4b23-ae96-de603ddcbe90" providerId="ADAL" clId="{D34F9223-B6D4-D14A-B279-9D7038014DEB}" dt="2020-04-15T13:10:25.769" v="103" actId="2696"/>
        <pc:sldMkLst>
          <pc:docMk/>
          <pc:sldMk cId="1596752482" sldId="286"/>
        </pc:sldMkLst>
      </pc:sldChg>
      <pc:sldChg chg="del">
        <pc:chgData name="Frank Tan (qutan)" userId="1cc8c1fc-bfb1-4b23-ae96-de603ddcbe90" providerId="ADAL" clId="{D34F9223-B6D4-D14A-B279-9D7038014DEB}" dt="2020-04-15T13:10:25.682" v="101" actId="2696"/>
        <pc:sldMkLst>
          <pc:docMk/>
          <pc:sldMk cId="3731962347" sldId="287"/>
        </pc:sldMkLst>
      </pc:sldChg>
      <pc:sldChg chg="del">
        <pc:chgData name="Frank Tan (qutan)" userId="1cc8c1fc-bfb1-4b23-ae96-de603ddcbe90" providerId="ADAL" clId="{D34F9223-B6D4-D14A-B279-9D7038014DEB}" dt="2020-04-15T13:10:25.853" v="105" actId="2696"/>
        <pc:sldMkLst>
          <pc:docMk/>
          <pc:sldMk cId="218007157" sldId="289"/>
        </pc:sldMkLst>
      </pc:sldChg>
      <pc:sldChg chg="del">
        <pc:chgData name="Frank Tan (qutan)" userId="1cc8c1fc-bfb1-4b23-ae96-de603ddcbe90" providerId="ADAL" clId="{D34F9223-B6D4-D14A-B279-9D7038014DEB}" dt="2020-04-15T13:10:25.912" v="106" actId="2696"/>
        <pc:sldMkLst>
          <pc:docMk/>
          <pc:sldMk cId="1000457186" sldId="290"/>
        </pc:sldMkLst>
      </pc:sldChg>
      <pc:sldChg chg="del">
        <pc:chgData name="Frank Tan (qutan)" userId="1cc8c1fc-bfb1-4b23-ae96-de603ddcbe90" providerId="ADAL" clId="{D34F9223-B6D4-D14A-B279-9D7038014DEB}" dt="2020-04-15T13:10:26.045" v="109" actId="2696"/>
        <pc:sldMkLst>
          <pc:docMk/>
          <pc:sldMk cId="761011037" sldId="295"/>
        </pc:sldMkLst>
      </pc:sldChg>
      <pc:sldChg chg="del">
        <pc:chgData name="Frank Tan (qutan)" userId="1cc8c1fc-bfb1-4b23-ae96-de603ddcbe90" providerId="ADAL" clId="{D34F9223-B6D4-D14A-B279-9D7038014DEB}" dt="2020-04-15T13:10:26.081" v="110" actId="2696"/>
        <pc:sldMkLst>
          <pc:docMk/>
          <pc:sldMk cId="4243752141" sldId="296"/>
        </pc:sldMkLst>
      </pc:sldChg>
      <pc:sldChg chg="del">
        <pc:chgData name="Frank Tan (qutan)" userId="1cc8c1fc-bfb1-4b23-ae96-de603ddcbe90" providerId="ADAL" clId="{D34F9223-B6D4-D14A-B279-9D7038014DEB}" dt="2020-04-15T13:10:26.275" v="116" actId="2696"/>
        <pc:sldMkLst>
          <pc:docMk/>
          <pc:sldMk cId="2058331894" sldId="297"/>
        </pc:sldMkLst>
      </pc:sldChg>
      <pc:sldChg chg="del">
        <pc:chgData name="Frank Tan (qutan)" userId="1cc8c1fc-bfb1-4b23-ae96-de603ddcbe90" providerId="ADAL" clId="{D34F9223-B6D4-D14A-B279-9D7038014DEB}" dt="2020-04-15T13:10:26.286" v="117" actId="2696"/>
        <pc:sldMkLst>
          <pc:docMk/>
          <pc:sldMk cId="3688182427" sldId="299"/>
        </pc:sldMkLst>
      </pc:sldChg>
      <pc:sldChg chg="del">
        <pc:chgData name="Frank Tan (qutan)" userId="1cc8c1fc-bfb1-4b23-ae96-de603ddcbe90" providerId="ADAL" clId="{D34F9223-B6D4-D14A-B279-9D7038014DEB}" dt="2020-04-15T13:10:25.925" v="107" actId="2696"/>
        <pc:sldMkLst>
          <pc:docMk/>
          <pc:sldMk cId="105327768" sldId="300"/>
        </pc:sldMkLst>
      </pc:sldChg>
      <pc:sldChg chg="del">
        <pc:chgData name="Frank Tan (qutan)" userId="1cc8c1fc-bfb1-4b23-ae96-de603ddcbe90" providerId="ADAL" clId="{D34F9223-B6D4-D14A-B279-9D7038014DEB}" dt="2020-04-15T13:10:25.739" v="102" actId="2696"/>
        <pc:sldMkLst>
          <pc:docMk/>
          <pc:sldMk cId="905663445" sldId="302"/>
        </pc:sldMkLst>
      </pc:sldChg>
      <pc:sldChg chg="del">
        <pc:chgData name="Frank Tan (qutan)" userId="1cc8c1fc-bfb1-4b23-ae96-de603ddcbe90" providerId="ADAL" clId="{D34F9223-B6D4-D14A-B279-9D7038014DEB}" dt="2020-04-15T13:10:26.768" v="136" actId="2696"/>
        <pc:sldMkLst>
          <pc:docMk/>
          <pc:sldMk cId="1230716199" sldId="304"/>
        </pc:sldMkLst>
      </pc:sldChg>
      <pc:sldChg chg="del">
        <pc:chgData name="Frank Tan (qutan)" userId="1cc8c1fc-bfb1-4b23-ae96-de603ddcbe90" providerId="ADAL" clId="{D34F9223-B6D4-D14A-B279-9D7038014DEB}" dt="2020-04-15T13:10:26.911" v="140" actId="2696"/>
        <pc:sldMkLst>
          <pc:docMk/>
          <pc:sldMk cId="4050104515" sldId="305"/>
        </pc:sldMkLst>
      </pc:sldChg>
      <pc:sldChg chg="del">
        <pc:chgData name="Frank Tan (qutan)" userId="1cc8c1fc-bfb1-4b23-ae96-de603ddcbe90" providerId="ADAL" clId="{D34F9223-B6D4-D14A-B279-9D7038014DEB}" dt="2020-04-15T13:10:26.978" v="142" actId="2696"/>
        <pc:sldMkLst>
          <pc:docMk/>
          <pc:sldMk cId="2812010654" sldId="306"/>
        </pc:sldMkLst>
      </pc:sldChg>
      <pc:sldChg chg="del">
        <pc:chgData name="Frank Tan (qutan)" userId="1cc8c1fc-bfb1-4b23-ae96-de603ddcbe90" providerId="ADAL" clId="{D34F9223-B6D4-D14A-B279-9D7038014DEB}" dt="2020-04-15T13:10:26.962" v="141" actId="2696"/>
        <pc:sldMkLst>
          <pc:docMk/>
          <pc:sldMk cId="782504548" sldId="310"/>
        </pc:sldMkLst>
      </pc:sldChg>
      <pc:sldChg chg="del">
        <pc:chgData name="Frank Tan (qutan)" userId="1cc8c1fc-bfb1-4b23-ae96-de603ddcbe90" providerId="ADAL" clId="{D34F9223-B6D4-D14A-B279-9D7038014DEB}" dt="2020-04-15T13:10:25.817" v="104" actId="2696"/>
        <pc:sldMkLst>
          <pc:docMk/>
          <pc:sldMk cId="2196624081" sldId="317"/>
        </pc:sldMkLst>
      </pc:sldChg>
      <pc:sldChg chg="del">
        <pc:chgData name="Frank Tan (qutan)" userId="1cc8c1fc-bfb1-4b23-ae96-de603ddcbe90" providerId="ADAL" clId="{D34F9223-B6D4-D14A-B279-9D7038014DEB}" dt="2020-04-15T13:10:26.167" v="112" actId="2696"/>
        <pc:sldMkLst>
          <pc:docMk/>
          <pc:sldMk cId="1956338794" sldId="319"/>
        </pc:sldMkLst>
      </pc:sldChg>
      <pc:sldChg chg="del">
        <pc:chgData name="Frank Tan (qutan)" userId="1cc8c1fc-bfb1-4b23-ae96-de603ddcbe90" providerId="ADAL" clId="{D34F9223-B6D4-D14A-B279-9D7038014DEB}" dt="2020-04-15T13:10:26.223" v="114" actId="2696"/>
        <pc:sldMkLst>
          <pc:docMk/>
          <pc:sldMk cId="308613119" sldId="320"/>
        </pc:sldMkLst>
      </pc:sldChg>
      <pc:sldChg chg="del">
        <pc:chgData name="Frank Tan (qutan)" userId="1cc8c1fc-bfb1-4b23-ae96-de603ddcbe90" providerId="ADAL" clId="{D34F9223-B6D4-D14A-B279-9D7038014DEB}" dt="2020-04-15T13:10:26.247" v="115" actId="2696"/>
        <pc:sldMkLst>
          <pc:docMk/>
          <pc:sldMk cId="3133168735" sldId="322"/>
        </pc:sldMkLst>
      </pc:sldChg>
      <pc:sldChg chg="del">
        <pc:chgData name="Frank Tan (qutan)" userId="1cc8c1fc-bfb1-4b23-ae96-de603ddcbe90" providerId="ADAL" clId="{D34F9223-B6D4-D14A-B279-9D7038014DEB}" dt="2020-04-15T13:10:26.814" v="137" actId="2696"/>
        <pc:sldMkLst>
          <pc:docMk/>
          <pc:sldMk cId="3790179044" sldId="328"/>
        </pc:sldMkLst>
      </pc:sldChg>
      <pc:sldChg chg="del">
        <pc:chgData name="Frank Tan (qutan)" userId="1cc8c1fc-bfb1-4b23-ae96-de603ddcbe90" providerId="ADAL" clId="{D34F9223-B6D4-D14A-B279-9D7038014DEB}" dt="2020-04-15T13:10:26.994" v="144" actId="2696"/>
        <pc:sldMkLst>
          <pc:docMk/>
          <pc:sldMk cId="2043890007" sldId="329"/>
        </pc:sldMkLst>
      </pc:sldChg>
      <pc:sldChg chg="del">
        <pc:chgData name="Frank Tan (qutan)" userId="1cc8c1fc-bfb1-4b23-ae96-de603ddcbe90" providerId="ADAL" clId="{D34F9223-B6D4-D14A-B279-9D7038014DEB}" dt="2020-04-15T13:10:25.493" v="97" actId="2696"/>
        <pc:sldMkLst>
          <pc:docMk/>
          <pc:sldMk cId="2991801366" sldId="332"/>
        </pc:sldMkLst>
      </pc:sldChg>
      <pc:sldChg chg="del">
        <pc:chgData name="Frank Tan (qutan)" userId="1cc8c1fc-bfb1-4b23-ae96-de603ddcbe90" providerId="ADAL" clId="{D34F9223-B6D4-D14A-B279-9D7038014DEB}" dt="2020-04-15T13:10:26.129" v="111" actId="2696"/>
        <pc:sldMkLst>
          <pc:docMk/>
          <pc:sldMk cId="1844222286" sldId="333"/>
        </pc:sldMkLst>
      </pc:sldChg>
      <pc:sldChg chg="del">
        <pc:chgData name="Frank Tan (qutan)" userId="1cc8c1fc-bfb1-4b23-ae96-de603ddcbe90" providerId="ADAL" clId="{D34F9223-B6D4-D14A-B279-9D7038014DEB}" dt="2020-04-15T13:10:25.979" v="108" actId="2696"/>
        <pc:sldMkLst>
          <pc:docMk/>
          <pc:sldMk cId="70033577" sldId="334"/>
        </pc:sldMkLst>
      </pc:sldChg>
      <pc:sldChg chg="del">
        <pc:chgData name="Frank Tan (qutan)" userId="1cc8c1fc-bfb1-4b23-ae96-de603ddcbe90" providerId="ADAL" clId="{D34F9223-B6D4-D14A-B279-9D7038014DEB}" dt="2020-04-15T13:10:26.889" v="139" actId="2696"/>
        <pc:sldMkLst>
          <pc:docMk/>
          <pc:sldMk cId="1297275759" sldId="337"/>
        </pc:sldMkLst>
      </pc:sldChg>
      <pc:sldChg chg="add modTransition">
        <pc:chgData name="Frank Tan (qutan)" userId="1cc8c1fc-bfb1-4b23-ae96-de603ddcbe90" providerId="ADAL" clId="{D34F9223-B6D4-D14A-B279-9D7038014DEB}" dt="2020-04-16T06:26:20.390" v="1219"/>
        <pc:sldMkLst>
          <pc:docMk/>
          <pc:sldMk cId="2849959239" sldId="693"/>
        </pc:sldMkLst>
      </pc:sldChg>
      <pc:sldChg chg="add del">
        <pc:chgData name="Frank Tan (qutan)" userId="1cc8c1fc-bfb1-4b23-ae96-de603ddcbe90" providerId="ADAL" clId="{D34F9223-B6D4-D14A-B279-9D7038014DEB}" dt="2020-04-15T13:54:35.555" v="170"/>
        <pc:sldMkLst>
          <pc:docMk/>
          <pc:sldMk cId="3029600132" sldId="693"/>
        </pc:sldMkLst>
      </pc:sldChg>
      <pc:sldChg chg="add del">
        <pc:chgData name="Frank Tan (qutan)" userId="1cc8c1fc-bfb1-4b23-ae96-de603ddcbe90" providerId="ADAL" clId="{D34F9223-B6D4-D14A-B279-9D7038014DEB}" dt="2020-04-15T13:54:35.555" v="170"/>
        <pc:sldMkLst>
          <pc:docMk/>
          <pc:sldMk cId="2461202376" sldId="694"/>
        </pc:sldMkLst>
      </pc:sldChg>
      <pc:sldChg chg="add modTransition">
        <pc:chgData name="Frank Tan (qutan)" userId="1cc8c1fc-bfb1-4b23-ae96-de603ddcbe90" providerId="ADAL" clId="{D34F9223-B6D4-D14A-B279-9D7038014DEB}" dt="2020-04-16T06:26:20.390" v="1219"/>
        <pc:sldMkLst>
          <pc:docMk/>
          <pc:sldMk cId="2488455972" sldId="694"/>
        </pc:sldMkLst>
      </pc:sldChg>
      <pc:sldChg chg="add modTransition">
        <pc:chgData name="Frank Tan (qutan)" userId="1cc8c1fc-bfb1-4b23-ae96-de603ddcbe90" providerId="ADAL" clId="{D34F9223-B6D4-D14A-B279-9D7038014DEB}" dt="2020-04-16T06:26:20.390" v="1219"/>
        <pc:sldMkLst>
          <pc:docMk/>
          <pc:sldMk cId="1626798794" sldId="695"/>
        </pc:sldMkLst>
      </pc:sldChg>
      <pc:sldChg chg="add del">
        <pc:chgData name="Frank Tan (qutan)" userId="1cc8c1fc-bfb1-4b23-ae96-de603ddcbe90" providerId="ADAL" clId="{D34F9223-B6D4-D14A-B279-9D7038014DEB}" dt="2020-04-15T13:54:35.555" v="170"/>
        <pc:sldMkLst>
          <pc:docMk/>
          <pc:sldMk cId="2358655571" sldId="695"/>
        </pc:sldMkLst>
      </pc:sldChg>
      <pc:sldChg chg="add del">
        <pc:chgData name="Frank Tan (qutan)" userId="1cc8c1fc-bfb1-4b23-ae96-de603ddcbe90" providerId="ADAL" clId="{D34F9223-B6D4-D14A-B279-9D7038014DEB}" dt="2020-04-15T13:54:35.555" v="170"/>
        <pc:sldMkLst>
          <pc:docMk/>
          <pc:sldMk cId="658188955" sldId="697"/>
        </pc:sldMkLst>
      </pc:sldChg>
      <pc:sldChg chg="add modTransition">
        <pc:chgData name="Frank Tan (qutan)" userId="1cc8c1fc-bfb1-4b23-ae96-de603ddcbe90" providerId="ADAL" clId="{D34F9223-B6D4-D14A-B279-9D7038014DEB}" dt="2020-04-16T06:26:20.390" v="1219"/>
        <pc:sldMkLst>
          <pc:docMk/>
          <pc:sldMk cId="1467090125" sldId="697"/>
        </pc:sldMkLst>
      </pc:sldChg>
      <pc:sldChg chg="add del">
        <pc:chgData name="Frank Tan (qutan)" userId="1cc8c1fc-bfb1-4b23-ae96-de603ddcbe90" providerId="ADAL" clId="{D34F9223-B6D4-D14A-B279-9D7038014DEB}" dt="2020-04-15T13:54:35.555" v="170"/>
        <pc:sldMkLst>
          <pc:docMk/>
          <pc:sldMk cId="1706558026" sldId="698"/>
        </pc:sldMkLst>
      </pc:sldChg>
      <pc:sldChg chg="add modTransition">
        <pc:chgData name="Frank Tan (qutan)" userId="1cc8c1fc-bfb1-4b23-ae96-de603ddcbe90" providerId="ADAL" clId="{D34F9223-B6D4-D14A-B279-9D7038014DEB}" dt="2020-04-16T06:26:20.390" v="1219"/>
        <pc:sldMkLst>
          <pc:docMk/>
          <pc:sldMk cId="1931972327" sldId="698"/>
        </pc:sldMkLst>
      </pc:sldChg>
      <pc:sldChg chg="add modTransition">
        <pc:chgData name="Frank Tan (qutan)" userId="1cc8c1fc-bfb1-4b23-ae96-de603ddcbe90" providerId="ADAL" clId="{D34F9223-B6D4-D14A-B279-9D7038014DEB}" dt="2020-04-16T06:26:20.390" v="1219"/>
        <pc:sldMkLst>
          <pc:docMk/>
          <pc:sldMk cId="2051257379" sldId="719"/>
        </pc:sldMkLst>
      </pc:sldChg>
      <pc:sldChg chg="add del">
        <pc:chgData name="Frank Tan (qutan)" userId="1cc8c1fc-bfb1-4b23-ae96-de603ddcbe90" providerId="ADAL" clId="{D34F9223-B6D4-D14A-B279-9D7038014DEB}" dt="2020-04-15T13:54:35.555" v="170"/>
        <pc:sldMkLst>
          <pc:docMk/>
          <pc:sldMk cId="2351667440" sldId="719"/>
        </pc:sldMkLst>
      </pc:sldChg>
      <pc:sldChg chg="modSp modTransition">
        <pc:chgData name="Frank Tan (qutan)" userId="1cc8c1fc-bfb1-4b23-ae96-de603ddcbe90" providerId="ADAL" clId="{D34F9223-B6D4-D14A-B279-9D7038014DEB}" dt="2020-04-16T06:26:20.390" v="1219"/>
        <pc:sldMkLst>
          <pc:docMk/>
          <pc:sldMk cId="3225929323" sldId="1979422027"/>
        </pc:sldMkLst>
        <pc:spChg chg="mod">
          <ac:chgData name="Frank Tan (qutan)" userId="1cc8c1fc-bfb1-4b23-ae96-de603ddcbe90" providerId="ADAL" clId="{D34F9223-B6D4-D14A-B279-9D7038014DEB}" dt="2020-04-15T13:10:08.969" v="74" actId="20577"/>
          <ac:spMkLst>
            <pc:docMk/>
            <pc:sldMk cId="3225929323" sldId="1979422027"/>
            <ac:spMk id="4" creationId="{D891410B-5DD0-BE4F-B12F-737A13614620}"/>
          </ac:spMkLst>
        </pc:spChg>
      </pc:sldChg>
      <pc:sldChg chg="modTransition">
        <pc:chgData name="Frank Tan (qutan)" userId="1cc8c1fc-bfb1-4b23-ae96-de603ddcbe90" providerId="ADAL" clId="{D34F9223-B6D4-D14A-B279-9D7038014DEB}" dt="2020-04-16T06:26:20.390" v="1219"/>
        <pc:sldMkLst>
          <pc:docMk/>
          <pc:sldMk cId="3408564166" sldId="1979422029"/>
        </pc:sldMkLst>
      </pc:sldChg>
      <pc:sldChg chg="delSp modSp modTransition">
        <pc:chgData name="Frank Tan (qutan)" userId="1cc8c1fc-bfb1-4b23-ae96-de603ddcbe90" providerId="ADAL" clId="{D34F9223-B6D4-D14A-B279-9D7038014DEB}" dt="2020-04-16T06:26:20.390" v="1219"/>
        <pc:sldMkLst>
          <pc:docMk/>
          <pc:sldMk cId="1555614157" sldId="1979422034"/>
        </pc:sldMkLst>
        <pc:spChg chg="mod">
          <ac:chgData name="Frank Tan (qutan)" userId="1cc8c1fc-bfb1-4b23-ae96-de603ddcbe90" providerId="ADAL" clId="{D34F9223-B6D4-D14A-B279-9D7038014DEB}" dt="2020-04-15T16:24:05.526" v="1194" actId="20577"/>
          <ac:spMkLst>
            <pc:docMk/>
            <pc:sldMk cId="1555614157" sldId="1979422034"/>
            <ac:spMk id="6" creationId="{6D1CB1D4-DD93-9A4C-BC5C-065923FD71B9}"/>
          </ac:spMkLst>
        </pc:spChg>
        <pc:picChg chg="del">
          <ac:chgData name="Frank Tan (qutan)" userId="1cc8c1fc-bfb1-4b23-ae96-de603ddcbe90" providerId="ADAL" clId="{D34F9223-B6D4-D14A-B279-9D7038014DEB}" dt="2020-04-15T16:13:41.980" v="788" actId="478"/>
          <ac:picMkLst>
            <pc:docMk/>
            <pc:sldMk cId="1555614157" sldId="1979422034"/>
            <ac:picMk id="3" creationId="{B02CA38E-3F75-4941-B4A3-DFD092BA74FF}"/>
          </ac:picMkLst>
        </pc:picChg>
      </pc:sldChg>
      <pc:sldChg chg="modTransition">
        <pc:chgData name="Frank Tan (qutan)" userId="1cc8c1fc-bfb1-4b23-ae96-de603ddcbe90" providerId="ADAL" clId="{D34F9223-B6D4-D14A-B279-9D7038014DEB}" dt="2020-04-16T06:26:20.390" v="1219"/>
        <pc:sldMkLst>
          <pc:docMk/>
          <pc:sldMk cId="798468249" sldId="1979422036"/>
        </pc:sldMkLst>
      </pc:sldChg>
      <pc:sldChg chg="del">
        <pc:chgData name="Frank Tan (qutan)" userId="1cc8c1fc-bfb1-4b23-ae96-de603ddcbe90" providerId="ADAL" clId="{D34F9223-B6D4-D14A-B279-9D7038014DEB}" dt="2020-04-15T13:09:51.062" v="53" actId="2696"/>
        <pc:sldMkLst>
          <pc:docMk/>
          <pc:sldMk cId="127713431" sldId="1979422048"/>
        </pc:sldMkLst>
      </pc:sldChg>
      <pc:sldChg chg="modTransition">
        <pc:chgData name="Frank Tan (qutan)" userId="1cc8c1fc-bfb1-4b23-ae96-de603ddcbe90" providerId="ADAL" clId="{D34F9223-B6D4-D14A-B279-9D7038014DEB}" dt="2020-04-16T06:26:20.390" v="1219"/>
        <pc:sldMkLst>
          <pc:docMk/>
          <pc:sldMk cId="388186213" sldId="1979422049"/>
        </pc:sldMkLst>
      </pc:sldChg>
      <pc:sldChg chg="del">
        <pc:chgData name="Frank Tan (qutan)" userId="1cc8c1fc-bfb1-4b23-ae96-de603ddcbe90" providerId="ADAL" clId="{D34F9223-B6D4-D14A-B279-9D7038014DEB}" dt="2020-04-15T13:10:24.988" v="77" actId="2696"/>
        <pc:sldMkLst>
          <pc:docMk/>
          <pc:sldMk cId="2676854002" sldId="1979422050"/>
        </pc:sldMkLst>
      </pc:sldChg>
      <pc:sldChg chg="del">
        <pc:chgData name="Frank Tan (qutan)" userId="1cc8c1fc-bfb1-4b23-ae96-de603ddcbe90" providerId="ADAL" clId="{D34F9223-B6D4-D14A-B279-9D7038014DEB}" dt="2020-04-15T13:10:25.028" v="79" actId="2696"/>
        <pc:sldMkLst>
          <pc:docMk/>
          <pc:sldMk cId="1205773207" sldId="1979422051"/>
        </pc:sldMkLst>
      </pc:sldChg>
      <pc:sldChg chg="del">
        <pc:chgData name="Frank Tan (qutan)" userId="1cc8c1fc-bfb1-4b23-ae96-de603ddcbe90" providerId="ADAL" clId="{D34F9223-B6D4-D14A-B279-9D7038014DEB}" dt="2020-04-15T13:10:25.057" v="80" actId="2696"/>
        <pc:sldMkLst>
          <pc:docMk/>
          <pc:sldMk cId="44168149" sldId="1979422052"/>
        </pc:sldMkLst>
      </pc:sldChg>
      <pc:sldChg chg="del">
        <pc:chgData name="Frank Tan (qutan)" userId="1cc8c1fc-bfb1-4b23-ae96-de603ddcbe90" providerId="ADAL" clId="{D34F9223-B6D4-D14A-B279-9D7038014DEB}" dt="2020-04-15T13:10:25.090" v="81" actId="2696"/>
        <pc:sldMkLst>
          <pc:docMk/>
          <pc:sldMk cId="3125562928" sldId="1979422053"/>
        </pc:sldMkLst>
      </pc:sldChg>
      <pc:sldChg chg="del">
        <pc:chgData name="Frank Tan (qutan)" userId="1cc8c1fc-bfb1-4b23-ae96-de603ddcbe90" providerId="ADAL" clId="{D34F9223-B6D4-D14A-B279-9D7038014DEB}" dt="2020-04-15T13:10:25.120" v="82" actId="2696"/>
        <pc:sldMkLst>
          <pc:docMk/>
          <pc:sldMk cId="3413448764" sldId="1979422054"/>
        </pc:sldMkLst>
      </pc:sldChg>
      <pc:sldChg chg="del">
        <pc:chgData name="Frank Tan (qutan)" userId="1cc8c1fc-bfb1-4b23-ae96-de603ddcbe90" providerId="ADAL" clId="{D34F9223-B6D4-D14A-B279-9D7038014DEB}" dt="2020-04-15T13:10:25.148" v="83" actId="2696"/>
        <pc:sldMkLst>
          <pc:docMk/>
          <pc:sldMk cId="593721372" sldId="1979422055"/>
        </pc:sldMkLst>
      </pc:sldChg>
      <pc:sldChg chg="del">
        <pc:chgData name="Frank Tan (qutan)" userId="1cc8c1fc-bfb1-4b23-ae96-de603ddcbe90" providerId="ADAL" clId="{D34F9223-B6D4-D14A-B279-9D7038014DEB}" dt="2020-04-15T13:10:25.159" v="84" actId="2696"/>
        <pc:sldMkLst>
          <pc:docMk/>
          <pc:sldMk cId="2793642621" sldId="1979422056"/>
        </pc:sldMkLst>
      </pc:sldChg>
      <pc:sldChg chg="del">
        <pc:chgData name="Frank Tan (qutan)" userId="1cc8c1fc-bfb1-4b23-ae96-de603ddcbe90" providerId="ADAL" clId="{D34F9223-B6D4-D14A-B279-9D7038014DEB}" dt="2020-04-15T13:10:25.188" v="85" actId="2696"/>
        <pc:sldMkLst>
          <pc:docMk/>
          <pc:sldMk cId="792227052" sldId="1979422057"/>
        </pc:sldMkLst>
      </pc:sldChg>
      <pc:sldChg chg="del">
        <pc:chgData name="Frank Tan (qutan)" userId="1cc8c1fc-bfb1-4b23-ae96-de603ddcbe90" providerId="ADAL" clId="{D34F9223-B6D4-D14A-B279-9D7038014DEB}" dt="2020-04-15T13:10:25.220" v="86" actId="2696"/>
        <pc:sldMkLst>
          <pc:docMk/>
          <pc:sldMk cId="4098340809" sldId="1979422058"/>
        </pc:sldMkLst>
      </pc:sldChg>
      <pc:sldChg chg="del">
        <pc:chgData name="Frank Tan (qutan)" userId="1cc8c1fc-bfb1-4b23-ae96-de603ddcbe90" providerId="ADAL" clId="{D34F9223-B6D4-D14A-B279-9D7038014DEB}" dt="2020-04-15T13:10:25.252" v="87" actId="2696"/>
        <pc:sldMkLst>
          <pc:docMk/>
          <pc:sldMk cId="2242927268" sldId="1979422059"/>
        </pc:sldMkLst>
      </pc:sldChg>
      <pc:sldChg chg="del">
        <pc:chgData name="Frank Tan (qutan)" userId="1cc8c1fc-bfb1-4b23-ae96-de603ddcbe90" providerId="ADAL" clId="{D34F9223-B6D4-D14A-B279-9D7038014DEB}" dt="2020-04-15T13:10:25.283" v="88" actId="2696"/>
        <pc:sldMkLst>
          <pc:docMk/>
          <pc:sldMk cId="117613766" sldId="1979422060"/>
        </pc:sldMkLst>
      </pc:sldChg>
      <pc:sldChg chg="del">
        <pc:chgData name="Frank Tan (qutan)" userId="1cc8c1fc-bfb1-4b23-ae96-de603ddcbe90" providerId="ADAL" clId="{D34F9223-B6D4-D14A-B279-9D7038014DEB}" dt="2020-04-15T13:10:25.295" v="89" actId="2696"/>
        <pc:sldMkLst>
          <pc:docMk/>
          <pc:sldMk cId="1447892563" sldId="1979422061"/>
        </pc:sldMkLst>
      </pc:sldChg>
      <pc:sldChg chg="del">
        <pc:chgData name="Frank Tan (qutan)" userId="1cc8c1fc-bfb1-4b23-ae96-de603ddcbe90" providerId="ADAL" clId="{D34F9223-B6D4-D14A-B279-9D7038014DEB}" dt="2020-04-15T13:10:25.320" v="90" actId="2696"/>
        <pc:sldMkLst>
          <pc:docMk/>
          <pc:sldMk cId="2120198440" sldId="1979422062"/>
        </pc:sldMkLst>
      </pc:sldChg>
      <pc:sldChg chg="del">
        <pc:chgData name="Frank Tan (qutan)" userId="1cc8c1fc-bfb1-4b23-ae96-de603ddcbe90" providerId="ADAL" clId="{D34F9223-B6D4-D14A-B279-9D7038014DEB}" dt="2020-04-15T13:10:25.349" v="91" actId="2696"/>
        <pc:sldMkLst>
          <pc:docMk/>
          <pc:sldMk cId="1080608162" sldId="1979422063"/>
        </pc:sldMkLst>
      </pc:sldChg>
      <pc:sldChg chg="del">
        <pc:chgData name="Frank Tan (qutan)" userId="1cc8c1fc-bfb1-4b23-ae96-de603ddcbe90" providerId="ADAL" clId="{D34F9223-B6D4-D14A-B279-9D7038014DEB}" dt="2020-04-15T13:10:25.377" v="92" actId="2696"/>
        <pc:sldMkLst>
          <pc:docMk/>
          <pc:sldMk cId="1524774617" sldId="1979422064"/>
        </pc:sldMkLst>
      </pc:sldChg>
      <pc:sldChg chg="del">
        <pc:chgData name="Frank Tan (qutan)" userId="1cc8c1fc-bfb1-4b23-ae96-de603ddcbe90" providerId="ADAL" clId="{D34F9223-B6D4-D14A-B279-9D7038014DEB}" dt="2020-04-15T13:10:25.402" v="93" actId="2696"/>
        <pc:sldMkLst>
          <pc:docMk/>
          <pc:sldMk cId="2209103021" sldId="1979422065"/>
        </pc:sldMkLst>
      </pc:sldChg>
      <pc:sldChg chg="del">
        <pc:chgData name="Frank Tan (qutan)" userId="1cc8c1fc-bfb1-4b23-ae96-de603ddcbe90" providerId="ADAL" clId="{D34F9223-B6D4-D14A-B279-9D7038014DEB}" dt="2020-04-15T13:10:25.415" v="94" actId="2696"/>
        <pc:sldMkLst>
          <pc:docMk/>
          <pc:sldMk cId="384747079" sldId="1979422066"/>
        </pc:sldMkLst>
      </pc:sldChg>
      <pc:sldChg chg="del">
        <pc:chgData name="Frank Tan (qutan)" userId="1cc8c1fc-bfb1-4b23-ae96-de603ddcbe90" providerId="ADAL" clId="{D34F9223-B6D4-D14A-B279-9D7038014DEB}" dt="2020-04-15T13:10:25.448" v="95" actId="2696"/>
        <pc:sldMkLst>
          <pc:docMk/>
          <pc:sldMk cId="4286904183" sldId="1979422067"/>
        </pc:sldMkLst>
      </pc:sldChg>
      <pc:sldChg chg="del">
        <pc:chgData name="Frank Tan (qutan)" userId="1cc8c1fc-bfb1-4b23-ae96-de603ddcbe90" providerId="ADAL" clId="{D34F9223-B6D4-D14A-B279-9D7038014DEB}" dt="2020-04-15T13:10:26.443" v="124" actId="2696"/>
        <pc:sldMkLst>
          <pc:docMk/>
          <pc:sldMk cId="643696468" sldId="1979422068"/>
        </pc:sldMkLst>
      </pc:sldChg>
      <pc:sldChg chg="del">
        <pc:chgData name="Frank Tan (qutan)" userId="1cc8c1fc-bfb1-4b23-ae96-de603ddcbe90" providerId="ADAL" clId="{D34F9223-B6D4-D14A-B279-9D7038014DEB}" dt="2020-04-15T13:10:26.312" v="119" actId="2696"/>
        <pc:sldMkLst>
          <pc:docMk/>
          <pc:sldMk cId="497592510" sldId="1979422069"/>
        </pc:sldMkLst>
      </pc:sldChg>
      <pc:sldChg chg="del">
        <pc:chgData name="Frank Tan (qutan)" userId="1cc8c1fc-bfb1-4b23-ae96-de603ddcbe90" providerId="ADAL" clId="{D34F9223-B6D4-D14A-B279-9D7038014DEB}" dt="2020-04-15T13:10:26.340" v="120" actId="2696"/>
        <pc:sldMkLst>
          <pc:docMk/>
          <pc:sldMk cId="2875427863" sldId="1979422070"/>
        </pc:sldMkLst>
      </pc:sldChg>
      <pc:sldChg chg="del">
        <pc:chgData name="Frank Tan (qutan)" userId="1cc8c1fc-bfb1-4b23-ae96-de603ddcbe90" providerId="ADAL" clId="{D34F9223-B6D4-D14A-B279-9D7038014DEB}" dt="2020-04-15T13:10:26.350" v="121" actId="2696"/>
        <pc:sldMkLst>
          <pc:docMk/>
          <pc:sldMk cId="1643834166" sldId="1979422071"/>
        </pc:sldMkLst>
      </pc:sldChg>
      <pc:sldChg chg="del">
        <pc:chgData name="Frank Tan (qutan)" userId="1cc8c1fc-bfb1-4b23-ae96-de603ddcbe90" providerId="ADAL" clId="{D34F9223-B6D4-D14A-B279-9D7038014DEB}" dt="2020-04-15T13:10:26.391" v="122" actId="2696"/>
        <pc:sldMkLst>
          <pc:docMk/>
          <pc:sldMk cId="1279232681" sldId="1979422072"/>
        </pc:sldMkLst>
      </pc:sldChg>
      <pc:sldChg chg="del">
        <pc:chgData name="Frank Tan (qutan)" userId="1cc8c1fc-bfb1-4b23-ae96-de603ddcbe90" providerId="ADAL" clId="{D34F9223-B6D4-D14A-B279-9D7038014DEB}" dt="2020-04-15T13:10:26.433" v="123" actId="2696"/>
        <pc:sldMkLst>
          <pc:docMk/>
          <pc:sldMk cId="1692646442" sldId="1979422073"/>
        </pc:sldMkLst>
      </pc:sldChg>
      <pc:sldChg chg="del">
        <pc:chgData name="Frank Tan (qutan)" userId="1cc8c1fc-bfb1-4b23-ae96-de603ddcbe90" providerId="ADAL" clId="{D34F9223-B6D4-D14A-B279-9D7038014DEB}" dt="2020-04-15T13:10:26.467" v="125" actId="2696"/>
        <pc:sldMkLst>
          <pc:docMk/>
          <pc:sldMk cId="3764922151" sldId="1979422074"/>
        </pc:sldMkLst>
      </pc:sldChg>
      <pc:sldChg chg="del">
        <pc:chgData name="Frank Tan (qutan)" userId="1cc8c1fc-bfb1-4b23-ae96-de603ddcbe90" providerId="ADAL" clId="{D34F9223-B6D4-D14A-B279-9D7038014DEB}" dt="2020-04-15T13:10:26.521" v="126" actId="2696"/>
        <pc:sldMkLst>
          <pc:docMk/>
          <pc:sldMk cId="2843516520" sldId="1979422075"/>
        </pc:sldMkLst>
      </pc:sldChg>
      <pc:sldChg chg="del">
        <pc:chgData name="Frank Tan (qutan)" userId="1cc8c1fc-bfb1-4b23-ae96-de603ddcbe90" providerId="ADAL" clId="{D34F9223-B6D4-D14A-B279-9D7038014DEB}" dt="2020-04-15T13:10:26.552" v="127" actId="2696"/>
        <pc:sldMkLst>
          <pc:docMk/>
          <pc:sldMk cId="4262144059" sldId="1979422076"/>
        </pc:sldMkLst>
      </pc:sldChg>
      <pc:sldChg chg="del">
        <pc:chgData name="Frank Tan (qutan)" userId="1cc8c1fc-bfb1-4b23-ae96-de603ddcbe90" providerId="ADAL" clId="{D34F9223-B6D4-D14A-B279-9D7038014DEB}" dt="2020-04-15T13:10:26.564" v="128" actId="2696"/>
        <pc:sldMkLst>
          <pc:docMk/>
          <pc:sldMk cId="1369103171" sldId="1979422077"/>
        </pc:sldMkLst>
      </pc:sldChg>
      <pc:sldChg chg="del">
        <pc:chgData name="Frank Tan (qutan)" userId="1cc8c1fc-bfb1-4b23-ae96-de603ddcbe90" providerId="ADAL" clId="{D34F9223-B6D4-D14A-B279-9D7038014DEB}" dt="2020-04-15T13:10:26.580" v="129" actId="2696"/>
        <pc:sldMkLst>
          <pc:docMk/>
          <pc:sldMk cId="3246534070" sldId="1979422078"/>
        </pc:sldMkLst>
      </pc:sldChg>
      <pc:sldChg chg="del">
        <pc:chgData name="Frank Tan (qutan)" userId="1cc8c1fc-bfb1-4b23-ae96-de603ddcbe90" providerId="ADAL" clId="{D34F9223-B6D4-D14A-B279-9D7038014DEB}" dt="2020-04-15T13:10:26.609" v="130" actId="2696"/>
        <pc:sldMkLst>
          <pc:docMk/>
          <pc:sldMk cId="2274135863" sldId="1979422079"/>
        </pc:sldMkLst>
      </pc:sldChg>
      <pc:sldChg chg="del">
        <pc:chgData name="Frank Tan (qutan)" userId="1cc8c1fc-bfb1-4b23-ae96-de603ddcbe90" providerId="ADAL" clId="{D34F9223-B6D4-D14A-B279-9D7038014DEB}" dt="2020-04-15T13:10:26.626" v="131" actId="2696"/>
        <pc:sldMkLst>
          <pc:docMk/>
          <pc:sldMk cId="1765688242" sldId="1979422080"/>
        </pc:sldMkLst>
      </pc:sldChg>
      <pc:sldChg chg="del">
        <pc:chgData name="Frank Tan (qutan)" userId="1cc8c1fc-bfb1-4b23-ae96-de603ddcbe90" providerId="ADAL" clId="{D34F9223-B6D4-D14A-B279-9D7038014DEB}" dt="2020-04-15T13:10:26.667" v="133" actId="2696"/>
        <pc:sldMkLst>
          <pc:docMk/>
          <pc:sldMk cId="1310601295" sldId="1979422081"/>
        </pc:sldMkLst>
      </pc:sldChg>
      <pc:sldChg chg="del">
        <pc:chgData name="Frank Tan (qutan)" userId="1cc8c1fc-bfb1-4b23-ae96-de603ddcbe90" providerId="ADAL" clId="{D34F9223-B6D4-D14A-B279-9D7038014DEB}" dt="2020-04-15T13:10:26.676" v="134" actId="2696"/>
        <pc:sldMkLst>
          <pc:docMk/>
          <pc:sldMk cId="2130463344" sldId="1979422082"/>
        </pc:sldMkLst>
      </pc:sldChg>
      <pc:sldChg chg="del">
        <pc:chgData name="Frank Tan (qutan)" userId="1cc8c1fc-bfb1-4b23-ae96-de603ddcbe90" providerId="ADAL" clId="{D34F9223-B6D4-D14A-B279-9D7038014DEB}" dt="2020-04-15T13:10:26.709" v="135" actId="2696"/>
        <pc:sldMkLst>
          <pc:docMk/>
          <pc:sldMk cId="3048045440" sldId="1979422083"/>
        </pc:sldMkLst>
      </pc:sldChg>
      <pc:sldChg chg="del">
        <pc:chgData name="Frank Tan (qutan)" userId="1cc8c1fc-bfb1-4b23-ae96-de603ddcbe90" providerId="ADAL" clId="{D34F9223-B6D4-D14A-B279-9D7038014DEB}" dt="2020-04-15T13:10:27.041" v="147" actId="2696"/>
        <pc:sldMkLst>
          <pc:docMk/>
          <pc:sldMk cId="1786794299" sldId="1979422085"/>
        </pc:sldMkLst>
      </pc:sldChg>
      <pc:sldChg chg="del">
        <pc:chgData name="Frank Tan (qutan)" userId="1cc8c1fc-bfb1-4b23-ae96-de603ddcbe90" providerId="ADAL" clId="{D34F9223-B6D4-D14A-B279-9D7038014DEB}" dt="2020-04-15T13:10:27.063" v="148" actId="2696"/>
        <pc:sldMkLst>
          <pc:docMk/>
          <pc:sldMk cId="823605868" sldId="1979422086"/>
        </pc:sldMkLst>
      </pc:sldChg>
      <pc:sldChg chg="del">
        <pc:chgData name="Frank Tan (qutan)" userId="1cc8c1fc-bfb1-4b23-ae96-de603ddcbe90" providerId="ADAL" clId="{D34F9223-B6D4-D14A-B279-9D7038014DEB}" dt="2020-04-15T13:10:27.087" v="149" actId="2696"/>
        <pc:sldMkLst>
          <pc:docMk/>
          <pc:sldMk cId="4157689948" sldId="1979422087"/>
        </pc:sldMkLst>
      </pc:sldChg>
      <pc:sldChg chg="del">
        <pc:chgData name="Frank Tan (qutan)" userId="1cc8c1fc-bfb1-4b23-ae96-de603ddcbe90" providerId="ADAL" clId="{D34F9223-B6D4-D14A-B279-9D7038014DEB}" dt="2020-04-15T13:10:27.099" v="150" actId="2696"/>
        <pc:sldMkLst>
          <pc:docMk/>
          <pc:sldMk cId="4080419148" sldId="1979422088"/>
        </pc:sldMkLst>
      </pc:sldChg>
      <pc:sldChg chg="del">
        <pc:chgData name="Frank Tan (qutan)" userId="1cc8c1fc-bfb1-4b23-ae96-de603ddcbe90" providerId="ADAL" clId="{D34F9223-B6D4-D14A-B279-9D7038014DEB}" dt="2020-04-15T13:10:27.021" v="146" actId="2696"/>
        <pc:sldMkLst>
          <pc:docMk/>
          <pc:sldMk cId="1989111262" sldId="1979422089"/>
        </pc:sldMkLst>
      </pc:sldChg>
      <pc:sldChg chg="del">
        <pc:chgData name="Frank Tan (qutan)" userId="1cc8c1fc-bfb1-4b23-ae96-de603ddcbe90" providerId="ADAL" clId="{D34F9223-B6D4-D14A-B279-9D7038014DEB}" dt="2020-04-15T13:10:26.644" v="132" actId="2696"/>
        <pc:sldMkLst>
          <pc:docMk/>
          <pc:sldMk cId="2845390144" sldId="1979422090"/>
        </pc:sldMkLst>
      </pc:sldChg>
      <pc:sldChg chg="del">
        <pc:chgData name="Frank Tan (qutan)" userId="1cc8c1fc-bfb1-4b23-ae96-de603ddcbe90" providerId="ADAL" clId="{D34F9223-B6D4-D14A-B279-9D7038014DEB}" dt="2020-04-15T13:09:51.078" v="54" actId="2696"/>
        <pc:sldMkLst>
          <pc:docMk/>
          <pc:sldMk cId="2514453777" sldId="1979422091"/>
        </pc:sldMkLst>
      </pc:sldChg>
      <pc:sldChg chg="del">
        <pc:chgData name="Frank Tan (qutan)" userId="1cc8c1fc-bfb1-4b23-ae96-de603ddcbe90" providerId="ADAL" clId="{D34F9223-B6D4-D14A-B279-9D7038014DEB}" dt="2020-04-15T13:10:25.018" v="78" actId="2696"/>
        <pc:sldMkLst>
          <pc:docMk/>
          <pc:sldMk cId="4294362570" sldId="1979422092"/>
        </pc:sldMkLst>
      </pc:sldChg>
      <pc:sldChg chg="modSp modTransition">
        <pc:chgData name="Frank Tan (qutan)" userId="1cc8c1fc-bfb1-4b23-ae96-de603ddcbe90" providerId="ADAL" clId="{D34F9223-B6D4-D14A-B279-9D7038014DEB}" dt="2020-04-16T06:26:20.390" v="1219"/>
        <pc:sldMkLst>
          <pc:docMk/>
          <pc:sldMk cId="1117168735" sldId="1979422093"/>
        </pc:sldMkLst>
        <pc:spChg chg="mod">
          <ac:chgData name="Frank Tan (qutan)" userId="1cc8c1fc-bfb1-4b23-ae96-de603ddcbe90" providerId="ADAL" clId="{D34F9223-B6D4-D14A-B279-9D7038014DEB}" dt="2020-04-15T16:13:34.431" v="787" actId="1076"/>
          <ac:spMkLst>
            <pc:docMk/>
            <pc:sldMk cId="1117168735" sldId="1979422093"/>
            <ac:spMk id="3" creationId="{F01C4CF1-2A5A-4D4E-8566-D32001D3C0DA}"/>
          </ac:spMkLst>
        </pc:spChg>
      </pc:sldChg>
      <pc:sldChg chg="add del">
        <pc:chgData name="Frank Tan (qutan)" userId="1cc8c1fc-bfb1-4b23-ae96-de603ddcbe90" providerId="ADAL" clId="{D34F9223-B6D4-D14A-B279-9D7038014DEB}" dt="2020-04-15T13:51:22.399" v="152"/>
        <pc:sldMkLst>
          <pc:docMk/>
          <pc:sldMk cId="123098158" sldId="1979422094"/>
        </pc:sldMkLst>
      </pc:sldChg>
      <pc:sldChg chg="add modTransition">
        <pc:chgData name="Frank Tan (qutan)" userId="1cc8c1fc-bfb1-4b23-ae96-de603ddcbe90" providerId="ADAL" clId="{D34F9223-B6D4-D14A-B279-9D7038014DEB}" dt="2020-04-16T06:26:20.390" v="1219"/>
        <pc:sldMkLst>
          <pc:docMk/>
          <pc:sldMk cId="2949858130" sldId="1979422094"/>
        </pc:sldMkLst>
      </pc:sldChg>
      <pc:sldChg chg="modSp add modTransition">
        <pc:chgData name="Frank Tan (qutan)" userId="1cc8c1fc-bfb1-4b23-ae96-de603ddcbe90" providerId="ADAL" clId="{D34F9223-B6D4-D14A-B279-9D7038014DEB}" dt="2020-04-16T06:26:20.390" v="1219"/>
        <pc:sldMkLst>
          <pc:docMk/>
          <pc:sldMk cId="3012135222" sldId="1979422095"/>
        </pc:sldMkLst>
        <pc:spChg chg="mod">
          <ac:chgData name="Frank Tan (qutan)" userId="1cc8c1fc-bfb1-4b23-ae96-de603ddcbe90" providerId="ADAL" clId="{D34F9223-B6D4-D14A-B279-9D7038014DEB}" dt="2020-04-15T13:51:33.325" v="162" actId="20577"/>
          <ac:spMkLst>
            <pc:docMk/>
            <pc:sldMk cId="3012135222" sldId="1979422095"/>
            <ac:spMk id="4" creationId="{D891410B-5DD0-BE4F-B12F-737A13614620}"/>
          </ac:spMkLst>
        </pc:spChg>
      </pc:sldChg>
      <pc:sldChg chg="add del">
        <pc:chgData name="Frank Tan (qutan)" userId="1cc8c1fc-bfb1-4b23-ae96-de603ddcbe90" providerId="ADAL" clId="{D34F9223-B6D4-D14A-B279-9D7038014DEB}" dt="2020-04-15T13:53:56.394" v="168" actId="2696"/>
        <pc:sldMkLst>
          <pc:docMk/>
          <pc:sldMk cId="1394449719" sldId="1979422096"/>
        </pc:sldMkLst>
      </pc:sldChg>
      <pc:sldChg chg="add modTransition">
        <pc:chgData name="Frank Tan (qutan)" userId="1cc8c1fc-bfb1-4b23-ae96-de603ddcbe90" providerId="ADAL" clId="{D34F9223-B6D4-D14A-B279-9D7038014DEB}" dt="2020-04-16T06:26:20.390" v="1219"/>
        <pc:sldMkLst>
          <pc:docMk/>
          <pc:sldMk cId="2857712533" sldId="1979422097"/>
        </pc:sldMkLst>
      </pc:sldChg>
      <pc:sldChg chg="add modTransition">
        <pc:chgData name="Frank Tan (qutan)" userId="1cc8c1fc-bfb1-4b23-ae96-de603ddcbe90" providerId="ADAL" clId="{D34F9223-B6D4-D14A-B279-9D7038014DEB}" dt="2020-04-16T07:58:21.819" v="1284"/>
        <pc:sldMkLst>
          <pc:docMk/>
          <pc:sldMk cId="359722127" sldId="1979422098"/>
        </pc:sldMkLst>
      </pc:sldChg>
      <pc:sldChg chg="add modTransition">
        <pc:chgData name="Frank Tan (qutan)" userId="1cc8c1fc-bfb1-4b23-ae96-de603ddcbe90" providerId="ADAL" clId="{D34F9223-B6D4-D14A-B279-9D7038014DEB}" dt="2020-04-16T07:58:21.819" v="1284"/>
        <pc:sldMkLst>
          <pc:docMk/>
          <pc:sldMk cId="2171143893" sldId="1979422099"/>
        </pc:sldMkLst>
      </pc:sldChg>
      <pc:sldChg chg="add modTransition">
        <pc:chgData name="Frank Tan (qutan)" userId="1cc8c1fc-bfb1-4b23-ae96-de603ddcbe90" providerId="ADAL" clId="{D34F9223-B6D4-D14A-B279-9D7038014DEB}" dt="2020-04-16T06:26:20.390" v="1219"/>
        <pc:sldMkLst>
          <pc:docMk/>
          <pc:sldMk cId="61488553" sldId="1979422100"/>
        </pc:sldMkLst>
      </pc:sldChg>
      <pc:sldChg chg="add del">
        <pc:chgData name="Frank Tan (qutan)" userId="1cc8c1fc-bfb1-4b23-ae96-de603ddcbe90" providerId="ADAL" clId="{D34F9223-B6D4-D14A-B279-9D7038014DEB}" dt="2020-04-15T15:00:33.055" v="173"/>
        <pc:sldMkLst>
          <pc:docMk/>
          <pc:sldMk cId="2789472175" sldId="1979422101"/>
        </pc:sldMkLst>
      </pc:sldChg>
      <pc:sldChg chg="add modTransition">
        <pc:chgData name="Frank Tan (qutan)" userId="1cc8c1fc-bfb1-4b23-ae96-de603ddcbe90" providerId="ADAL" clId="{D34F9223-B6D4-D14A-B279-9D7038014DEB}" dt="2020-04-16T06:26:20.390" v="1219"/>
        <pc:sldMkLst>
          <pc:docMk/>
          <pc:sldMk cId="2799241363" sldId="1979422101"/>
        </pc:sldMkLst>
      </pc:sldChg>
      <pc:sldChg chg="add del">
        <pc:chgData name="Frank Tan (qutan)" userId="1cc8c1fc-bfb1-4b23-ae96-de603ddcbe90" providerId="ADAL" clId="{D34F9223-B6D4-D14A-B279-9D7038014DEB}" dt="2020-04-15T15:24:37.714" v="179"/>
        <pc:sldMkLst>
          <pc:docMk/>
          <pc:sldMk cId="1683999788" sldId="1979422102"/>
        </pc:sldMkLst>
      </pc:sldChg>
      <pc:sldChg chg="modSp add ord modTransition">
        <pc:chgData name="Frank Tan (qutan)" userId="1cc8c1fc-bfb1-4b23-ae96-de603ddcbe90" providerId="ADAL" clId="{D34F9223-B6D4-D14A-B279-9D7038014DEB}" dt="2020-04-16T06:26:20.390" v="1219"/>
        <pc:sldMkLst>
          <pc:docMk/>
          <pc:sldMk cId="3987468285" sldId="1979422102"/>
        </pc:sldMkLst>
        <pc:spChg chg="mod">
          <ac:chgData name="Frank Tan (qutan)" userId="1cc8c1fc-bfb1-4b23-ae96-de603ddcbe90" providerId="ADAL" clId="{D34F9223-B6D4-D14A-B279-9D7038014DEB}" dt="2020-04-15T15:24:56.539" v="217" actId="20577"/>
          <ac:spMkLst>
            <pc:docMk/>
            <pc:sldMk cId="3987468285" sldId="1979422102"/>
            <ac:spMk id="6" creationId="{6DFBF00C-4ECF-1248-84F2-0D8BC21D4FC5}"/>
          </ac:spMkLst>
        </pc:spChg>
      </pc:sldChg>
      <pc:sldChg chg="add del">
        <pc:chgData name="Frank Tan (qutan)" userId="1cc8c1fc-bfb1-4b23-ae96-de603ddcbe90" providerId="ADAL" clId="{D34F9223-B6D4-D14A-B279-9D7038014DEB}" dt="2020-04-15T15:25:07.429" v="219"/>
        <pc:sldMkLst>
          <pc:docMk/>
          <pc:sldMk cId="1152905617" sldId="1979422103"/>
        </pc:sldMkLst>
      </pc:sldChg>
      <pc:sldChg chg="delSp modSp add ord modTransition">
        <pc:chgData name="Frank Tan (qutan)" userId="1cc8c1fc-bfb1-4b23-ae96-de603ddcbe90" providerId="ADAL" clId="{D34F9223-B6D4-D14A-B279-9D7038014DEB}" dt="2020-04-16T06:26:20.390" v="1219"/>
        <pc:sldMkLst>
          <pc:docMk/>
          <pc:sldMk cId="2953714374" sldId="1979422103"/>
        </pc:sldMkLst>
        <pc:spChg chg="mod">
          <ac:chgData name="Frank Tan (qutan)" userId="1cc8c1fc-bfb1-4b23-ae96-de603ddcbe90" providerId="ADAL" clId="{D34F9223-B6D4-D14A-B279-9D7038014DEB}" dt="2020-04-15T15:38:24.300" v="504" actId="20577"/>
          <ac:spMkLst>
            <pc:docMk/>
            <pc:sldMk cId="2953714374" sldId="1979422103"/>
            <ac:spMk id="4" creationId="{00000000-0000-0000-0000-000000000000}"/>
          </ac:spMkLst>
        </pc:spChg>
        <pc:spChg chg="mod">
          <ac:chgData name="Frank Tan (qutan)" userId="1cc8c1fc-bfb1-4b23-ae96-de603ddcbe90" providerId="ADAL" clId="{D34F9223-B6D4-D14A-B279-9D7038014DEB}" dt="2020-04-15T15:25:15.208" v="237" actId="20577"/>
          <ac:spMkLst>
            <pc:docMk/>
            <pc:sldMk cId="2953714374" sldId="1979422103"/>
            <ac:spMk id="6" creationId="{00000000-0000-0000-0000-000000000000}"/>
          </ac:spMkLst>
        </pc:spChg>
        <pc:spChg chg="del">
          <ac:chgData name="Frank Tan (qutan)" userId="1cc8c1fc-bfb1-4b23-ae96-de603ddcbe90" providerId="ADAL" clId="{D34F9223-B6D4-D14A-B279-9D7038014DEB}" dt="2020-04-15T15:34:57.332" v="277" actId="478"/>
          <ac:spMkLst>
            <pc:docMk/>
            <pc:sldMk cId="2953714374" sldId="1979422103"/>
            <ac:spMk id="7" creationId="{00000000-0000-0000-0000-000000000000}"/>
          </ac:spMkLst>
        </pc:spChg>
        <pc:spChg chg="del">
          <ac:chgData name="Frank Tan (qutan)" userId="1cc8c1fc-bfb1-4b23-ae96-de603ddcbe90" providerId="ADAL" clId="{D34F9223-B6D4-D14A-B279-9D7038014DEB}" dt="2020-04-15T15:34:57.332" v="277" actId="478"/>
          <ac:spMkLst>
            <pc:docMk/>
            <pc:sldMk cId="2953714374" sldId="1979422103"/>
            <ac:spMk id="8" creationId="{00000000-0000-0000-0000-000000000000}"/>
          </ac:spMkLst>
        </pc:spChg>
        <pc:graphicFrameChg chg="del">
          <ac:chgData name="Frank Tan (qutan)" userId="1cc8c1fc-bfb1-4b23-ae96-de603ddcbe90" providerId="ADAL" clId="{D34F9223-B6D4-D14A-B279-9D7038014DEB}" dt="2020-04-15T15:34:15.050" v="265" actId="478"/>
          <ac:graphicFrameMkLst>
            <pc:docMk/>
            <pc:sldMk cId="2953714374" sldId="1979422103"/>
            <ac:graphicFrameMk id="5" creationId="{00000000-0000-0000-0000-000000000000}"/>
          </ac:graphicFrameMkLst>
        </pc:graphicFrameChg>
      </pc:sldChg>
      <pc:sldChg chg="add del">
        <pc:chgData name="Frank Tan (qutan)" userId="1cc8c1fc-bfb1-4b23-ae96-de603ddcbe90" providerId="ADAL" clId="{D34F9223-B6D4-D14A-B279-9D7038014DEB}" dt="2020-04-15T15:48:59.674" v="506"/>
        <pc:sldMkLst>
          <pc:docMk/>
          <pc:sldMk cId="815426657" sldId="1979422104"/>
        </pc:sldMkLst>
      </pc:sldChg>
      <pc:sldChg chg="add del">
        <pc:chgData name="Frank Tan (qutan)" userId="1cc8c1fc-bfb1-4b23-ae96-de603ddcbe90" providerId="ADAL" clId="{D34F9223-B6D4-D14A-B279-9D7038014DEB}" dt="2020-04-15T15:49:00.434" v="508"/>
        <pc:sldMkLst>
          <pc:docMk/>
          <pc:sldMk cId="3365762850" sldId="1979422104"/>
        </pc:sldMkLst>
      </pc:sldChg>
      <pc:sldChg chg="add modTransition">
        <pc:chgData name="Frank Tan (qutan)" userId="1cc8c1fc-bfb1-4b23-ae96-de603ddcbe90" providerId="ADAL" clId="{D34F9223-B6D4-D14A-B279-9D7038014DEB}" dt="2020-04-16T06:26:20.390" v="1219"/>
        <pc:sldMkLst>
          <pc:docMk/>
          <pc:sldMk cId="3418911447" sldId="1979422104"/>
        </pc:sldMkLst>
      </pc:sldChg>
      <pc:sldChg chg="add del">
        <pc:chgData name="Frank Tan (qutan)" userId="1cc8c1fc-bfb1-4b23-ae96-de603ddcbe90" providerId="ADAL" clId="{D34F9223-B6D4-D14A-B279-9D7038014DEB}" dt="2020-04-15T15:49:08.357" v="510"/>
        <pc:sldMkLst>
          <pc:docMk/>
          <pc:sldMk cId="4116211159" sldId="1979422104"/>
        </pc:sldMkLst>
      </pc:sldChg>
      <pc:sldChg chg="modSp add modTransition">
        <pc:chgData name="Frank Tan (qutan)" userId="1cc8c1fc-bfb1-4b23-ae96-de603ddcbe90" providerId="ADAL" clId="{D34F9223-B6D4-D14A-B279-9D7038014DEB}" dt="2020-04-16T06:26:20.390" v="1219"/>
        <pc:sldMkLst>
          <pc:docMk/>
          <pc:sldMk cId="1429805450" sldId="1979422105"/>
        </pc:sldMkLst>
        <pc:spChg chg="mod">
          <ac:chgData name="Frank Tan (qutan)" userId="1cc8c1fc-bfb1-4b23-ae96-de603ddcbe90" providerId="ADAL" clId="{D34F9223-B6D4-D14A-B279-9D7038014DEB}" dt="2020-04-15T16:07:03.543" v="567" actId="20577"/>
          <ac:spMkLst>
            <pc:docMk/>
            <pc:sldMk cId="1429805450" sldId="1979422105"/>
            <ac:spMk id="3" creationId="{00000000-0000-0000-0000-000000000000}"/>
          </ac:spMkLst>
        </pc:spChg>
      </pc:sldChg>
      <pc:sldChg chg="add del">
        <pc:chgData name="Frank Tan (qutan)" userId="1cc8c1fc-bfb1-4b23-ae96-de603ddcbe90" providerId="ADAL" clId="{D34F9223-B6D4-D14A-B279-9D7038014DEB}" dt="2020-04-15T15:49:18.230" v="513"/>
        <pc:sldMkLst>
          <pc:docMk/>
          <pc:sldMk cId="1952828406" sldId="1979422105"/>
        </pc:sldMkLst>
      </pc:sldChg>
      <pc:sldChg chg="add modTransition">
        <pc:chgData name="Frank Tan (qutan)" userId="1cc8c1fc-bfb1-4b23-ae96-de603ddcbe90" providerId="ADAL" clId="{D34F9223-B6D4-D14A-B279-9D7038014DEB}" dt="2020-04-16T06:26:20.390" v="1219"/>
        <pc:sldMkLst>
          <pc:docMk/>
          <pc:sldMk cId="3293178748" sldId="1979422106"/>
        </pc:sldMkLst>
      </pc:sldChg>
      <pc:sldChg chg="add del">
        <pc:chgData name="Frank Tan (qutan)" userId="1cc8c1fc-bfb1-4b23-ae96-de603ddcbe90" providerId="ADAL" clId="{D34F9223-B6D4-D14A-B279-9D7038014DEB}" dt="2020-04-15T15:49:18.230" v="513"/>
        <pc:sldMkLst>
          <pc:docMk/>
          <pc:sldMk cId="3836636690" sldId="1979422106"/>
        </pc:sldMkLst>
      </pc:sldChg>
      <pc:sldChg chg="add del">
        <pc:chgData name="Frank Tan (qutan)" userId="1cc8c1fc-bfb1-4b23-ae96-de603ddcbe90" providerId="ADAL" clId="{D34F9223-B6D4-D14A-B279-9D7038014DEB}" dt="2020-04-15T15:49:18.230" v="513"/>
        <pc:sldMkLst>
          <pc:docMk/>
          <pc:sldMk cId="3529018928" sldId="1979422107"/>
        </pc:sldMkLst>
      </pc:sldChg>
      <pc:sldChg chg="add modTransition">
        <pc:chgData name="Frank Tan (qutan)" userId="1cc8c1fc-bfb1-4b23-ae96-de603ddcbe90" providerId="ADAL" clId="{D34F9223-B6D4-D14A-B279-9D7038014DEB}" dt="2020-04-16T06:26:20.390" v="1219"/>
        <pc:sldMkLst>
          <pc:docMk/>
          <pc:sldMk cId="3654410192" sldId="1979422107"/>
        </pc:sldMkLst>
      </pc:sldChg>
      <pc:sldChg chg="addSp delSp modSp add modTransition">
        <pc:chgData name="Frank Tan (qutan)" userId="1cc8c1fc-bfb1-4b23-ae96-de603ddcbe90" providerId="ADAL" clId="{D34F9223-B6D4-D14A-B279-9D7038014DEB}" dt="2020-04-16T06:26:20.390" v="1219"/>
        <pc:sldMkLst>
          <pc:docMk/>
          <pc:sldMk cId="3077677128" sldId="1979422108"/>
        </pc:sldMkLst>
        <pc:spChg chg="del">
          <ac:chgData name="Frank Tan (qutan)" userId="1cc8c1fc-bfb1-4b23-ae96-de603ddcbe90" providerId="ADAL" clId="{D34F9223-B6D4-D14A-B279-9D7038014DEB}" dt="2020-04-15T15:51:38.394" v="516"/>
          <ac:spMkLst>
            <pc:docMk/>
            <pc:sldMk cId="3077677128" sldId="1979422108"/>
            <ac:spMk id="2" creationId="{69221D6F-48E4-6149-BBC2-236B5D786454}"/>
          </ac:spMkLst>
        </pc:spChg>
        <pc:spChg chg="add mod">
          <ac:chgData name="Frank Tan (qutan)" userId="1cc8c1fc-bfb1-4b23-ae96-de603ddcbe90" providerId="ADAL" clId="{D34F9223-B6D4-D14A-B279-9D7038014DEB}" dt="2020-04-15T15:59:31.268" v="528" actId="20577"/>
          <ac:spMkLst>
            <pc:docMk/>
            <pc:sldMk cId="3077677128" sldId="1979422108"/>
            <ac:spMk id="3" creationId="{EA9E2CFC-402B-994D-8C50-D5F52F0DDDAF}"/>
          </ac:spMkLst>
        </pc:spChg>
        <pc:spChg chg="add mod">
          <ac:chgData name="Frank Tan (qutan)" userId="1cc8c1fc-bfb1-4b23-ae96-de603ddcbe90" providerId="ADAL" clId="{D34F9223-B6D4-D14A-B279-9D7038014DEB}" dt="2020-04-15T15:51:38.394" v="516"/>
          <ac:spMkLst>
            <pc:docMk/>
            <pc:sldMk cId="3077677128" sldId="1979422108"/>
            <ac:spMk id="4" creationId="{DB40EBBF-1B3C-3546-BA23-6D95501AF57C}"/>
          </ac:spMkLst>
        </pc:spChg>
        <pc:picChg chg="add mod">
          <ac:chgData name="Frank Tan (qutan)" userId="1cc8c1fc-bfb1-4b23-ae96-de603ddcbe90" providerId="ADAL" clId="{D34F9223-B6D4-D14A-B279-9D7038014DEB}" dt="2020-04-15T15:59:27.626" v="519" actId="14100"/>
          <ac:picMkLst>
            <pc:docMk/>
            <pc:sldMk cId="3077677128" sldId="1979422108"/>
            <ac:picMk id="5" creationId="{7655FAD2-36C1-0F44-950D-FFA181A97662}"/>
          </ac:picMkLst>
        </pc:picChg>
      </pc:sldChg>
      <pc:sldChg chg="addSp delSp modSp add ord modTransition">
        <pc:chgData name="Frank Tan (qutan)" userId="1cc8c1fc-bfb1-4b23-ae96-de603ddcbe90" providerId="ADAL" clId="{D34F9223-B6D4-D14A-B279-9D7038014DEB}" dt="2020-04-16T07:05:21.344" v="1239" actId="1076"/>
        <pc:sldMkLst>
          <pc:docMk/>
          <pc:sldMk cId="1506921670" sldId="1979422109"/>
        </pc:sldMkLst>
        <pc:spChg chg="del">
          <ac:chgData name="Frank Tan (qutan)" userId="1cc8c1fc-bfb1-4b23-ae96-de603ddcbe90" providerId="ADAL" clId="{D34F9223-B6D4-D14A-B279-9D7038014DEB}" dt="2020-04-15T16:05:14.193" v="539" actId="478"/>
          <ac:spMkLst>
            <pc:docMk/>
            <pc:sldMk cId="1506921670" sldId="1979422109"/>
            <ac:spMk id="2" creationId="{2C5D8DE1-5FAE-E34E-98FF-69728F3B24B9}"/>
          </ac:spMkLst>
        </pc:spChg>
        <pc:spChg chg="del">
          <ac:chgData name="Frank Tan (qutan)" userId="1cc8c1fc-bfb1-4b23-ae96-de603ddcbe90" providerId="ADAL" clId="{D34F9223-B6D4-D14A-B279-9D7038014DEB}" dt="2020-04-15T16:06:42.953" v="565" actId="478"/>
          <ac:spMkLst>
            <pc:docMk/>
            <pc:sldMk cId="1506921670" sldId="1979422109"/>
            <ac:spMk id="3" creationId="{8ED9EF70-8906-D94B-B8F6-AF83EA6E926E}"/>
          </ac:spMkLst>
        </pc:spChg>
        <pc:spChg chg="add del mod">
          <ac:chgData name="Frank Tan (qutan)" userId="1cc8c1fc-bfb1-4b23-ae96-de603ddcbe90" providerId="ADAL" clId="{D34F9223-B6D4-D14A-B279-9D7038014DEB}" dt="2020-04-16T07:05:15.439" v="1237" actId="478"/>
          <ac:spMkLst>
            <pc:docMk/>
            <pc:sldMk cId="1506921670" sldId="1979422109"/>
            <ac:spMk id="6" creationId="{6E654661-68A6-C340-B118-25093E65E0C9}"/>
          </ac:spMkLst>
        </pc:spChg>
        <pc:spChg chg="add del mod">
          <ac:chgData name="Frank Tan (qutan)" userId="1cc8c1fc-bfb1-4b23-ae96-de603ddcbe90" providerId="ADAL" clId="{D34F9223-B6D4-D14A-B279-9D7038014DEB}" dt="2020-04-16T07:05:15.439" v="1237" actId="478"/>
          <ac:spMkLst>
            <pc:docMk/>
            <pc:sldMk cId="1506921670" sldId="1979422109"/>
            <ac:spMk id="7" creationId="{FF2332E1-DB7A-E846-98A4-4A30A5092D8E}"/>
          </ac:spMkLst>
        </pc:spChg>
        <pc:spChg chg="add del mod">
          <ac:chgData name="Frank Tan (qutan)" userId="1cc8c1fc-bfb1-4b23-ae96-de603ddcbe90" providerId="ADAL" clId="{D34F9223-B6D4-D14A-B279-9D7038014DEB}" dt="2020-04-16T07:05:15.439" v="1237" actId="478"/>
          <ac:spMkLst>
            <pc:docMk/>
            <pc:sldMk cId="1506921670" sldId="1979422109"/>
            <ac:spMk id="8" creationId="{3AEE46A6-748C-E04C-92C3-12091CD0993B}"/>
          </ac:spMkLst>
        </pc:spChg>
        <pc:picChg chg="add del mod">
          <ac:chgData name="Frank Tan (qutan)" userId="1cc8c1fc-bfb1-4b23-ae96-de603ddcbe90" providerId="ADAL" clId="{D34F9223-B6D4-D14A-B279-9D7038014DEB}" dt="2020-04-15T16:03:52.229" v="535" actId="478"/>
          <ac:picMkLst>
            <pc:docMk/>
            <pc:sldMk cId="1506921670" sldId="1979422109"/>
            <ac:picMk id="4" creationId="{04309D81-7794-EE4E-8DA8-DF3A8052A7F2}"/>
          </ac:picMkLst>
        </pc:picChg>
        <pc:picChg chg="add del mod">
          <ac:chgData name="Frank Tan (qutan)" userId="1cc8c1fc-bfb1-4b23-ae96-de603ddcbe90" providerId="ADAL" clId="{D34F9223-B6D4-D14A-B279-9D7038014DEB}" dt="2020-04-16T07:05:15.439" v="1237" actId="478"/>
          <ac:picMkLst>
            <pc:docMk/>
            <pc:sldMk cId="1506921670" sldId="1979422109"/>
            <ac:picMk id="5" creationId="{CB1E5E00-4EEF-0A49-A4E7-7EAD13D7572F}"/>
          </ac:picMkLst>
        </pc:picChg>
        <pc:picChg chg="add mod">
          <ac:chgData name="Frank Tan (qutan)" userId="1cc8c1fc-bfb1-4b23-ae96-de603ddcbe90" providerId="ADAL" clId="{D34F9223-B6D4-D14A-B279-9D7038014DEB}" dt="2020-04-16T07:05:18.586" v="1238" actId="1076"/>
          <ac:picMkLst>
            <pc:docMk/>
            <pc:sldMk cId="1506921670" sldId="1979422109"/>
            <ac:picMk id="9" creationId="{1254981E-F3B5-7845-8504-47E1450B63F6}"/>
          </ac:picMkLst>
        </pc:picChg>
        <pc:picChg chg="add mod">
          <ac:chgData name="Frank Tan (qutan)" userId="1cc8c1fc-bfb1-4b23-ae96-de603ddcbe90" providerId="ADAL" clId="{D34F9223-B6D4-D14A-B279-9D7038014DEB}" dt="2020-04-16T07:05:21.344" v="1239" actId="1076"/>
          <ac:picMkLst>
            <pc:docMk/>
            <pc:sldMk cId="1506921670" sldId="1979422109"/>
            <ac:picMk id="10" creationId="{78CBFF09-3038-EA47-A2D4-31A7A255CC97}"/>
          </ac:picMkLst>
        </pc:picChg>
      </pc:sldChg>
      <pc:sldChg chg="modSp add modTransition">
        <pc:chgData name="Frank Tan (qutan)" userId="1cc8c1fc-bfb1-4b23-ae96-de603ddcbe90" providerId="ADAL" clId="{D34F9223-B6D4-D14A-B279-9D7038014DEB}" dt="2020-04-16T06:26:20.390" v="1219"/>
        <pc:sldMkLst>
          <pc:docMk/>
          <pc:sldMk cId="405955510" sldId="1979422110"/>
        </pc:sldMkLst>
        <pc:spChg chg="mod">
          <ac:chgData name="Frank Tan (qutan)" userId="1cc8c1fc-bfb1-4b23-ae96-de603ddcbe90" providerId="ADAL" clId="{D34F9223-B6D4-D14A-B279-9D7038014DEB}" dt="2020-04-15T16:07:58.826" v="586" actId="20577"/>
          <ac:spMkLst>
            <pc:docMk/>
            <pc:sldMk cId="405955510" sldId="1979422110"/>
            <ac:spMk id="6" creationId="{6DFBF00C-4ECF-1248-84F2-0D8BC21D4FC5}"/>
          </ac:spMkLst>
        </pc:spChg>
      </pc:sldChg>
      <pc:sldChg chg="add del">
        <pc:chgData name="Frank Tan (qutan)" userId="1cc8c1fc-bfb1-4b23-ae96-de603ddcbe90" providerId="ADAL" clId="{D34F9223-B6D4-D14A-B279-9D7038014DEB}" dt="2020-04-15T16:07:50.681" v="569"/>
        <pc:sldMkLst>
          <pc:docMk/>
          <pc:sldMk cId="2109917721" sldId="1979422110"/>
        </pc:sldMkLst>
      </pc:sldChg>
      <pc:sldChg chg="modSp add del">
        <pc:chgData name="Frank Tan (qutan)" userId="1cc8c1fc-bfb1-4b23-ae96-de603ddcbe90" providerId="ADAL" clId="{D34F9223-B6D4-D14A-B279-9D7038014DEB}" dt="2020-04-15T16:09:23.480" v="606"/>
        <pc:sldMkLst>
          <pc:docMk/>
          <pc:sldMk cId="1822894289" sldId="1979422111"/>
        </pc:sldMkLst>
        <pc:spChg chg="mod">
          <ac:chgData name="Frank Tan (qutan)" userId="1cc8c1fc-bfb1-4b23-ae96-de603ddcbe90" providerId="ADAL" clId="{D34F9223-B6D4-D14A-B279-9D7038014DEB}" dt="2020-04-15T16:09:22.380" v="605" actId="20577"/>
          <ac:spMkLst>
            <pc:docMk/>
            <pc:sldMk cId="1822894289" sldId="1979422111"/>
            <ac:spMk id="6" creationId="{6DFBF00C-4ECF-1248-84F2-0D8BC21D4FC5}"/>
          </ac:spMkLst>
        </pc:spChg>
      </pc:sldChg>
      <pc:sldChg chg="add del">
        <pc:chgData name="Frank Tan (qutan)" userId="1cc8c1fc-bfb1-4b23-ae96-de603ddcbe90" providerId="ADAL" clId="{D34F9223-B6D4-D14A-B279-9D7038014DEB}" dt="2020-04-15T16:09:30.095" v="608"/>
        <pc:sldMkLst>
          <pc:docMk/>
          <pc:sldMk cId="2276395801" sldId="1979422111"/>
        </pc:sldMkLst>
      </pc:sldChg>
      <pc:sldChg chg="modSp add modTransition">
        <pc:chgData name="Frank Tan (qutan)" userId="1cc8c1fc-bfb1-4b23-ae96-de603ddcbe90" providerId="ADAL" clId="{D34F9223-B6D4-D14A-B279-9D7038014DEB}" dt="2020-04-16T06:26:20.390" v="1219"/>
        <pc:sldMkLst>
          <pc:docMk/>
          <pc:sldMk cId="2924232667" sldId="1979422111"/>
        </pc:sldMkLst>
        <pc:spChg chg="mod">
          <ac:chgData name="Frank Tan (qutan)" userId="1cc8c1fc-bfb1-4b23-ae96-de603ddcbe90" providerId="ADAL" clId="{D34F9223-B6D4-D14A-B279-9D7038014DEB}" dt="2020-04-15T16:09:35.807" v="623" actId="20577"/>
          <ac:spMkLst>
            <pc:docMk/>
            <pc:sldMk cId="2924232667" sldId="1979422111"/>
            <ac:spMk id="6" creationId="{6DFBF00C-4ECF-1248-84F2-0D8BC21D4FC5}"/>
          </ac:spMkLst>
        </pc:spChg>
      </pc:sldChg>
      <pc:sldChg chg="add del">
        <pc:chgData name="Frank Tan (qutan)" userId="1cc8c1fc-bfb1-4b23-ae96-de603ddcbe90" providerId="ADAL" clId="{D34F9223-B6D4-D14A-B279-9D7038014DEB}" dt="2020-04-15T16:11:12.938" v="627"/>
        <pc:sldMkLst>
          <pc:docMk/>
          <pc:sldMk cId="2615061161" sldId="1979422112"/>
        </pc:sldMkLst>
      </pc:sldChg>
      <pc:sldChg chg="modSp add modTransition">
        <pc:chgData name="Frank Tan (qutan)" userId="1cc8c1fc-bfb1-4b23-ae96-de603ddcbe90" providerId="ADAL" clId="{D34F9223-B6D4-D14A-B279-9D7038014DEB}" dt="2020-04-16T06:26:20.390" v="1219"/>
        <pc:sldMkLst>
          <pc:docMk/>
          <pc:sldMk cId="3023154698" sldId="1979422112"/>
        </pc:sldMkLst>
        <pc:spChg chg="mod">
          <ac:chgData name="Frank Tan (qutan)" userId="1cc8c1fc-bfb1-4b23-ae96-de603ddcbe90" providerId="ADAL" clId="{D34F9223-B6D4-D14A-B279-9D7038014DEB}" dt="2020-04-15T16:11:19.843" v="640" actId="20577"/>
          <ac:spMkLst>
            <pc:docMk/>
            <pc:sldMk cId="3023154698" sldId="1979422112"/>
            <ac:spMk id="6" creationId="{6DFBF00C-4ECF-1248-84F2-0D8BC21D4FC5}"/>
          </ac:spMkLst>
        </pc:spChg>
      </pc:sldChg>
      <pc:sldChg chg="addSp delSp modSp add modTransition">
        <pc:chgData name="Frank Tan (qutan)" userId="1cc8c1fc-bfb1-4b23-ae96-de603ddcbe90" providerId="ADAL" clId="{D34F9223-B6D4-D14A-B279-9D7038014DEB}" dt="2020-04-16T07:05:39.623" v="1244" actId="14100"/>
        <pc:sldMkLst>
          <pc:docMk/>
          <pc:sldMk cId="2425025740" sldId="1979422113"/>
        </pc:sldMkLst>
        <pc:spChg chg="del mod">
          <ac:chgData name="Frank Tan (qutan)" userId="1cc8c1fc-bfb1-4b23-ae96-de603ddcbe90" providerId="ADAL" clId="{D34F9223-B6D4-D14A-B279-9D7038014DEB}" dt="2020-04-16T07:05:31.856" v="1241" actId="478"/>
          <ac:spMkLst>
            <pc:docMk/>
            <pc:sldMk cId="2425025740" sldId="1979422113"/>
            <ac:spMk id="3" creationId="{35AE6D37-6713-3444-AF03-A029F283F89B}"/>
          </ac:spMkLst>
        </pc:spChg>
        <pc:spChg chg="add mod">
          <ac:chgData name="Frank Tan (qutan)" userId="1cc8c1fc-bfb1-4b23-ae96-de603ddcbe90" providerId="ADAL" clId="{D34F9223-B6D4-D14A-B279-9D7038014DEB}" dt="2020-04-16T07:05:31.856" v="1241" actId="478"/>
          <ac:spMkLst>
            <pc:docMk/>
            <pc:sldMk cId="2425025740" sldId="1979422113"/>
            <ac:spMk id="5" creationId="{E9EE4F82-2FD1-474D-BF17-74A09BEB2D05}"/>
          </ac:spMkLst>
        </pc:spChg>
        <pc:picChg chg="add mod">
          <ac:chgData name="Frank Tan (qutan)" userId="1cc8c1fc-bfb1-4b23-ae96-de603ddcbe90" providerId="ADAL" clId="{D34F9223-B6D4-D14A-B279-9D7038014DEB}" dt="2020-04-16T07:05:39.623" v="1244" actId="14100"/>
          <ac:picMkLst>
            <pc:docMk/>
            <pc:sldMk cId="2425025740" sldId="1979422113"/>
            <ac:picMk id="4" creationId="{740D0774-D5DB-F545-8056-2C4E68411876}"/>
          </ac:picMkLst>
        </pc:picChg>
      </pc:sldChg>
      <pc:sldChg chg="delSp modSp add ord">
        <pc:chgData name="Frank Tan (qutan)" userId="1cc8c1fc-bfb1-4b23-ae96-de603ddcbe90" providerId="ADAL" clId="{D34F9223-B6D4-D14A-B279-9D7038014DEB}" dt="2020-04-16T07:05:25.718" v="1240"/>
        <pc:sldMkLst>
          <pc:docMk/>
          <pc:sldMk cId="3738751017" sldId="1979422114"/>
        </pc:sldMkLst>
        <pc:spChg chg="mod">
          <ac:chgData name="Frank Tan (qutan)" userId="1cc8c1fc-bfb1-4b23-ae96-de603ddcbe90" providerId="ADAL" clId="{D34F9223-B6D4-D14A-B279-9D7038014DEB}" dt="2020-04-16T07:05:08.899" v="1236" actId="1076"/>
          <ac:spMkLst>
            <pc:docMk/>
            <pc:sldMk cId="3738751017" sldId="1979422114"/>
            <ac:spMk id="6" creationId="{6E654661-68A6-C340-B118-25093E65E0C9}"/>
          </ac:spMkLst>
        </pc:spChg>
        <pc:spChg chg="mod">
          <ac:chgData name="Frank Tan (qutan)" userId="1cc8c1fc-bfb1-4b23-ae96-de603ddcbe90" providerId="ADAL" clId="{D34F9223-B6D4-D14A-B279-9D7038014DEB}" dt="2020-04-16T07:05:08.899" v="1236" actId="1076"/>
          <ac:spMkLst>
            <pc:docMk/>
            <pc:sldMk cId="3738751017" sldId="1979422114"/>
            <ac:spMk id="7" creationId="{FF2332E1-DB7A-E846-98A4-4A30A5092D8E}"/>
          </ac:spMkLst>
        </pc:spChg>
        <pc:spChg chg="mod">
          <ac:chgData name="Frank Tan (qutan)" userId="1cc8c1fc-bfb1-4b23-ae96-de603ddcbe90" providerId="ADAL" clId="{D34F9223-B6D4-D14A-B279-9D7038014DEB}" dt="2020-04-16T07:05:08.899" v="1236" actId="1076"/>
          <ac:spMkLst>
            <pc:docMk/>
            <pc:sldMk cId="3738751017" sldId="1979422114"/>
            <ac:spMk id="8" creationId="{3AEE46A6-748C-E04C-92C3-12091CD0993B}"/>
          </ac:spMkLst>
        </pc:spChg>
        <pc:picChg chg="mod">
          <ac:chgData name="Frank Tan (qutan)" userId="1cc8c1fc-bfb1-4b23-ae96-de603ddcbe90" providerId="ADAL" clId="{D34F9223-B6D4-D14A-B279-9D7038014DEB}" dt="2020-04-16T07:05:08.899" v="1236" actId="1076"/>
          <ac:picMkLst>
            <pc:docMk/>
            <pc:sldMk cId="3738751017" sldId="1979422114"/>
            <ac:picMk id="5" creationId="{CB1E5E00-4EEF-0A49-A4E7-7EAD13D7572F}"/>
          </ac:picMkLst>
        </pc:picChg>
        <pc:picChg chg="del">
          <ac:chgData name="Frank Tan (qutan)" userId="1cc8c1fc-bfb1-4b23-ae96-de603ddcbe90" providerId="ADAL" clId="{D34F9223-B6D4-D14A-B279-9D7038014DEB}" dt="2020-04-16T07:05:01.122" v="1234" actId="478"/>
          <ac:picMkLst>
            <pc:docMk/>
            <pc:sldMk cId="3738751017" sldId="1979422114"/>
            <ac:picMk id="9" creationId="{1254981E-F3B5-7845-8504-47E1450B63F6}"/>
          </ac:picMkLst>
        </pc:picChg>
        <pc:picChg chg="del">
          <ac:chgData name="Frank Tan (qutan)" userId="1cc8c1fc-bfb1-4b23-ae96-de603ddcbe90" providerId="ADAL" clId="{D34F9223-B6D4-D14A-B279-9D7038014DEB}" dt="2020-04-16T07:05:02.338" v="1235" actId="478"/>
          <ac:picMkLst>
            <pc:docMk/>
            <pc:sldMk cId="3738751017" sldId="1979422114"/>
            <ac:picMk id="10" creationId="{78CBFF09-3038-EA47-A2D4-31A7A255CC97}"/>
          </ac:picMkLst>
        </pc:picChg>
      </pc:sldChg>
      <pc:sldChg chg="addSp delSp modSp add">
        <pc:chgData name="Frank Tan (qutan)" userId="1cc8c1fc-bfb1-4b23-ae96-de603ddcbe90" providerId="ADAL" clId="{D34F9223-B6D4-D14A-B279-9D7038014DEB}" dt="2020-04-16T07:09:29.362" v="1283" actId="1076"/>
        <pc:sldMkLst>
          <pc:docMk/>
          <pc:sldMk cId="2212315791" sldId="1979422115"/>
        </pc:sldMkLst>
        <pc:spChg chg="del">
          <ac:chgData name="Frank Tan (qutan)" userId="1cc8c1fc-bfb1-4b23-ae96-de603ddcbe90" providerId="ADAL" clId="{D34F9223-B6D4-D14A-B279-9D7038014DEB}" dt="2020-04-16T07:08:24.168" v="1246"/>
          <ac:spMkLst>
            <pc:docMk/>
            <pc:sldMk cId="2212315791" sldId="1979422115"/>
            <ac:spMk id="2" creationId="{55E06CC1-1815-014D-B6FB-A1B56CC5550F}"/>
          </ac:spMkLst>
        </pc:spChg>
        <pc:spChg chg="add del mod">
          <ac:chgData name="Frank Tan (qutan)" userId="1cc8c1fc-bfb1-4b23-ae96-de603ddcbe90" providerId="ADAL" clId="{D34F9223-B6D4-D14A-B279-9D7038014DEB}" dt="2020-04-16T07:08:45.393" v="1251" actId="478"/>
          <ac:spMkLst>
            <pc:docMk/>
            <pc:sldMk cId="2212315791" sldId="1979422115"/>
            <ac:spMk id="3" creationId="{51AC8DD8-45C1-E648-BDD9-5B2398F37F35}"/>
          </ac:spMkLst>
        </pc:spChg>
        <pc:spChg chg="add mod">
          <ac:chgData name="Frank Tan (qutan)" userId="1cc8c1fc-bfb1-4b23-ae96-de603ddcbe90" providerId="ADAL" clId="{D34F9223-B6D4-D14A-B279-9D7038014DEB}" dt="2020-04-16T07:08:24.168" v="1246"/>
          <ac:spMkLst>
            <pc:docMk/>
            <pc:sldMk cId="2212315791" sldId="1979422115"/>
            <ac:spMk id="4" creationId="{1D8D707D-F12E-B84D-944F-2926ADE0243C}"/>
          </ac:spMkLst>
        </pc:spChg>
        <pc:spChg chg="add mod">
          <ac:chgData name="Frank Tan (qutan)" userId="1cc8c1fc-bfb1-4b23-ae96-de603ddcbe90" providerId="ADAL" clId="{D34F9223-B6D4-D14A-B279-9D7038014DEB}" dt="2020-04-16T07:08:41.170" v="1250" actId="1076"/>
          <ac:spMkLst>
            <pc:docMk/>
            <pc:sldMk cId="2212315791" sldId="1979422115"/>
            <ac:spMk id="5" creationId="{A1101CCE-B0C7-BA43-BD78-08C0E3BD6FC4}"/>
          </ac:spMkLst>
        </pc:spChg>
        <pc:spChg chg="add mod">
          <ac:chgData name="Frank Tan (qutan)" userId="1cc8c1fc-bfb1-4b23-ae96-de603ddcbe90" providerId="ADAL" clId="{D34F9223-B6D4-D14A-B279-9D7038014DEB}" dt="2020-04-16T07:08:58.492" v="1254"/>
          <ac:spMkLst>
            <pc:docMk/>
            <pc:sldMk cId="2212315791" sldId="1979422115"/>
            <ac:spMk id="6" creationId="{6701A2CA-14EC-1440-96C0-C6650A4171E3}"/>
          </ac:spMkLst>
        </pc:spChg>
        <pc:spChg chg="add mod">
          <ac:chgData name="Frank Tan (qutan)" userId="1cc8c1fc-bfb1-4b23-ae96-de603ddcbe90" providerId="ADAL" clId="{D34F9223-B6D4-D14A-B279-9D7038014DEB}" dt="2020-04-16T07:09:19.803" v="1273" actId="1076"/>
          <ac:spMkLst>
            <pc:docMk/>
            <pc:sldMk cId="2212315791" sldId="1979422115"/>
            <ac:spMk id="7" creationId="{A5B9A0A5-2A61-E04E-B50D-3F48EC5B2CD1}"/>
          </ac:spMkLst>
        </pc:spChg>
        <pc:spChg chg="add mod">
          <ac:chgData name="Frank Tan (qutan)" userId="1cc8c1fc-bfb1-4b23-ae96-de603ddcbe90" providerId="ADAL" clId="{D34F9223-B6D4-D14A-B279-9D7038014DEB}" dt="2020-04-16T07:09:29.362" v="1283" actId="1076"/>
          <ac:spMkLst>
            <pc:docMk/>
            <pc:sldMk cId="2212315791" sldId="1979422115"/>
            <ac:spMk id="8" creationId="{C7B86931-EF13-6345-8FCE-A8D5AAF66DEC}"/>
          </ac:spMkLst>
        </pc:spChg>
      </pc:sldChg>
      <pc:sldMasterChg chg="delSldLayout">
        <pc:chgData name="Frank Tan (qutan)" userId="1cc8c1fc-bfb1-4b23-ae96-de603ddcbe90" providerId="ADAL" clId="{D34F9223-B6D4-D14A-B279-9D7038014DEB}" dt="2020-04-15T13:10:26.996" v="145" actId="2696"/>
        <pc:sldMasterMkLst>
          <pc:docMk/>
          <pc:sldMasterMk cId="1403481807" sldId="2147483688"/>
        </pc:sldMasterMkLst>
        <pc:sldLayoutChg chg="del">
          <pc:chgData name="Frank Tan (qutan)" userId="1cc8c1fc-bfb1-4b23-ae96-de603ddcbe90" providerId="ADAL" clId="{D34F9223-B6D4-D14A-B279-9D7038014DEB}" dt="2020-04-15T13:10:26.980" v="143" actId="2696"/>
          <pc:sldLayoutMkLst>
            <pc:docMk/>
            <pc:sldMasterMk cId="1403481807" sldId="2147483688"/>
            <pc:sldLayoutMk cId="1367884113" sldId="2147483769"/>
          </pc:sldLayoutMkLst>
        </pc:sldLayoutChg>
        <pc:sldLayoutChg chg="del">
          <pc:chgData name="Frank Tan (qutan)" userId="1cc8c1fc-bfb1-4b23-ae96-de603ddcbe90" providerId="ADAL" clId="{D34F9223-B6D4-D14A-B279-9D7038014DEB}" dt="2020-04-15T13:10:26.288" v="118" actId="2696"/>
          <pc:sldLayoutMkLst>
            <pc:docMk/>
            <pc:sldMasterMk cId="1403481807" sldId="2147483688"/>
            <pc:sldLayoutMk cId="2297918853" sldId="2147483770"/>
          </pc:sldLayoutMkLst>
        </pc:sldLayoutChg>
        <pc:sldLayoutChg chg="del">
          <pc:chgData name="Frank Tan (qutan)" userId="1cc8c1fc-bfb1-4b23-ae96-de603ddcbe90" providerId="ADAL" clId="{D34F9223-B6D4-D14A-B279-9D7038014DEB}" dt="2020-04-15T13:10:26.815" v="138" actId="2696"/>
          <pc:sldLayoutMkLst>
            <pc:docMk/>
            <pc:sldMasterMk cId="1403481807" sldId="2147483688"/>
            <pc:sldLayoutMk cId="3835906558" sldId="2147483771"/>
          </pc:sldLayoutMkLst>
        </pc:sldLayoutChg>
        <pc:sldLayoutChg chg="del">
          <pc:chgData name="Frank Tan (qutan)" userId="1cc8c1fc-bfb1-4b23-ae96-de603ddcbe90" providerId="ADAL" clId="{D34F9223-B6D4-D14A-B279-9D7038014DEB}" dt="2020-04-15T13:10:26.168" v="113" actId="2696"/>
          <pc:sldLayoutMkLst>
            <pc:docMk/>
            <pc:sldMasterMk cId="1403481807" sldId="2147483688"/>
            <pc:sldLayoutMk cId="925710103" sldId="2147483772"/>
          </pc:sldLayoutMkLst>
        </pc:sldLayoutChg>
        <pc:sldLayoutChg chg="del">
          <pc:chgData name="Frank Tan (qutan)" userId="1cc8c1fc-bfb1-4b23-ae96-de603ddcbe90" providerId="ADAL" clId="{D34F9223-B6D4-D14A-B279-9D7038014DEB}" dt="2020-04-15T13:10:26.996" v="145" actId="2696"/>
          <pc:sldLayoutMkLst>
            <pc:docMk/>
            <pc:sldMasterMk cId="1403481807" sldId="2147483688"/>
            <pc:sldLayoutMk cId="1851929865" sldId="2147483773"/>
          </pc:sldLayoutMkLst>
        </pc:sldLayoutChg>
      </pc:sldMasterChg>
    </pc:docChg>
  </pc:docChgLst>
  <pc:docChgLst>
    <pc:chgData name="Frank Tan (qutan)" userId="1cc8c1fc-bfb1-4b23-ae96-de603ddcbe90" providerId="ADAL" clId="{E82D0C7D-D426-0F4C-8680-22192FC871A5}"/>
    <pc:docChg chg="undo custSel addSld delSld modSld sldOrd">
      <pc:chgData name="Frank Tan (qutan)" userId="1cc8c1fc-bfb1-4b23-ae96-de603ddcbe90" providerId="ADAL" clId="{E82D0C7D-D426-0F4C-8680-22192FC871A5}" dt="2020-03-04T04:29:04.076" v="1554" actId="20577"/>
      <pc:docMkLst>
        <pc:docMk/>
      </pc:docMkLst>
      <pc:sldChg chg="modSp">
        <pc:chgData name="Frank Tan (qutan)" userId="1cc8c1fc-bfb1-4b23-ae96-de603ddcbe90" providerId="ADAL" clId="{E82D0C7D-D426-0F4C-8680-22192FC871A5}" dt="2020-03-03T14:26:34.309" v="725" actId="20577"/>
        <pc:sldMkLst>
          <pc:docMk/>
          <pc:sldMk cId="2193831592" sldId="257"/>
        </pc:sldMkLst>
        <pc:spChg chg="mod">
          <ac:chgData name="Frank Tan (qutan)" userId="1cc8c1fc-bfb1-4b23-ae96-de603ddcbe90" providerId="ADAL" clId="{E82D0C7D-D426-0F4C-8680-22192FC871A5}" dt="2020-03-03T08:24:19.350" v="375" actId="20577"/>
          <ac:spMkLst>
            <pc:docMk/>
            <pc:sldMk cId="2193831592" sldId="257"/>
            <ac:spMk id="5" creationId="{690C8D39-1DA4-1A4F-96EE-E5E97F0772CC}"/>
          </ac:spMkLst>
        </pc:spChg>
        <pc:spChg chg="mod">
          <ac:chgData name="Frank Tan (qutan)" userId="1cc8c1fc-bfb1-4b23-ae96-de603ddcbe90" providerId="ADAL" clId="{E82D0C7D-D426-0F4C-8680-22192FC871A5}" dt="2020-03-03T14:26:34.309" v="725" actId="20577"/>
          <ac:spMkLst>
            <pc:docMk/>
            <pc:sldMk cId="2193831592" sldId="257"/>
            <ac:spMk id="6" creationId="{BB6D2400-87FB-3B4D-861A-B277F028C9D3}"/>
          </ac:spMkLst>
        </pc:spChg>
      </pc:sldChg>
      <pc:sldChg chg="modSp">
        <pc:chgData name="Frank Tan (qutan)" userId="1cc8c1fc-bfb1-4b23-ae96-de603ddcbe90" providerId="ADAL" clId="{E82D0C7D-D426-0F4C-8680-22192FC871A5}" dt="2020-03-03T13:56:43.890" v="530" actId="20577"/>
        <pc:sldMkLst>
          <pc:docMk/>
          <pc:sldMk cId="666991905" sldId="258"/>
        </pc:sldMkLst>
        <pc:spChg chg="mod">
          <ac:chgData name="Frank Tan (qutan)" userId="1cc8c1fc-bfb1-4b23-ae96-de603ddcbe90" providerId="ADAL" clId="{E82D0C7D-D426-0F4C-8680-22192FC871A5}" dt="2020-03-03T13:56:43.890" v="530" actId="20577"/>
          <ac:spMkLst>
            <pc:docMk/>
            <pc:sldMk cId="666991905" sldId="258"/>
            <ac:spMk id="6" creationId="{2ECACC77-877A-934F-88DA-C325D964C959}"/>
          </ac:spMkLst>
        </pc:spChg>
      </pc:sldChg>
      <pc:sldChg chg="addSp delSp modSp add">
        <pc:chgData name="Frank Tan (qutan)" userId="1cc8c1fc-bfb1-4b23-ae96-de603ddcbe90" providerId="ADAL" clId="{E82D0C7D-D426-0F4C-8680-22192FC871A5}" dt="2020-03-04T04:29:04.076" v="1554" actId="20577"/>
        <pc:sldMkLst>
          <pc:docMk/>
          <pc:sldMk cId="1678497070" sldId="259"/>
        </pc:sldMkLst>
        <pc:spChg chg="del">
          <ac:chgData name="Frank Tan (qutan)" userId="1cc8c1fc-bfb1-4b23-ae96-de603ddcbe90" providerId="ADAL" clId="{E82D0C7D-D426-0F4C-8680-22192FC871A5}" dt="2020-03-02T01:37:12.817" v="1"/>
          <ac:spMkLst>
            <pc:docMk/>
            <pc:sldMk cId="1678497070" sldId="259"/>
            <ac:spMk id="2" creationId="{98497646-81EC-AD47-814C-440D2EB027C8}"/>
          </ac:spMkLst>
        </pc:spChg>
        <pc:spChg chg="del">
          <ac:chgData name="Frank Tan (qutan)" userId="1cc8c1fc-bfb1-4b23-ae96-de603ddcbe90" providerId="ADAL" clId="{E82D0C7D-D426-0F4C-8680-22192FC871A5}" dt="2020-03-02T01:37:12.817" v="1"/>
          <ac:spMkLst>
            <pc:docMk/>
            <pc:sldMk cId="1678497070" sldId="259"/>
            <ac:spMk id="3" creationId="{422F4965-845E-434F-947B-5FC00A5DD28D}"/>
          </ac:spMkLst>
        </pc:spChg>
        <pc:spChg chg="add mod">
          <ac:chgData name="Frank Tan (qutan)" userId="1cc8c1fc-bfb1-4b23-ae96-de603ddcbe90" providerId="ADAL" clId="{E82D0C7D-D426-0F4C-8680-22192FC871A5}" dt="2020-03-03T15:29:12.706" v="965" actId="20577"/>
          <ac:spMkLst>
            <pc:docMk/>
            <pc:sldMk cId="1678497070" sldId="259"/>
            <ac:spMk id="4" creationId="{01873631-AB3B-614B-8FAF-9FD9E568D296}"/>
          </ac:spMkLst>
        </pc:spChg>
        <pc:spChg chg="add mod">
          <ac:chgData name="Frank Tan (qutan)" userId="1cc8c1fc-bfb1-4b23-ae96-de603ddcbe90" providerId="ADAL" clId="{E82D0C7D-D426-0F4C-8680-22192FC871A5}" dt="2020-03-04T04:29:04.076" v="1554" actId="20577"/>
          <ac:spMkLst>
            <pc:docMk/>
            <pc:sldMk cId="1678497070" sldId="259"/>
            <ac:spMk id="5" creationId="{F6E92F25-9E02-054A-AEB1-51C42833A78B}"/>
          </ac:spMkLst>
        </pc:spChg>
        <pc:spChg chg="add mod">
          <ac:chgData name="Frank Tan (qutan)" userId="1cc8c1fc-bfb1-4b23-ae96-de603ddcbe90" providerId="ADAL" clId="{E82D0C7D-D426-0F4C-8680-22192FC871A5}" dt="2020-03-04T03:52:16.113" v="1553" actId="20577"/>
          <ac:spMkLst>
            <pc:docMk/>
            <pc:sldMk cId="1678497070" sldId="259"/>
            <ac:spMk id="6" creationId="{FA28D516-52BB-7245-B346-234658F7194E}"/>
          </ac:spMkLst>
        </pc:spChg>
        <pc:spChg chg="add mod">
          <ac:chgData name="Frank Tan (qutan)" userId="1cc8c1fc-bfb1-4b23-ae96-de603ddcbe90" providerId="ADAL" clId="{E82D0C7D-D426-0F4C-8680-22192FC871A5}" dt="2020-03-04T03:28:32.498" v="1498" actId="1076"/>
          <ac:spMkLst>
            <pc:docMk/>
            <pc:sldMk cId="1678497070" sldId="259"/>
            <ac:spMk id="7" creationId="{BA5B504A-AB14-0745-B4F5-986694534DAA}"/>
          </ac:spMkLst>
        </pc:spChg>
      </pc:sldChg>
      <pc:sldChg chg="add del">
        <pc:chgData name="Frank Tan (qutan)" userId="1cc8c1fc-bfb1-4b23-ae96-de603ddcbe90" providerId="ADAL" clId="{E82D0C7D-D426-0F4C-8680-22192FC871A5}" dt="2020-03-03T03:33:43.470" v="335"/>
        <pc:sldMkLst>
          <pc:docMk/>
          <pc:sldMk cId="1110015569" sldId="270"/>
        </pc:sldMkLst>
      </pc:sldChg>
      <pc:sldChg chg="addSp delSp modSp add">
        <pc:chgData name="Frank Tan (qutan)" userId="1cc8c1fc-bfb1-4b23-ae96-de603ddcbe90" providerId="ADAL" clId="{E82D0C7D-D426-0F4C-8680-22192FC871A5}" dt="2020-03-03T08:21:30.097" v="339" actId="1076"/>
        <pc:sldMkLst>
          <pc:docMk/>
          <pc:sldMk cId="2568989341" sldId="270"/>
        </pc:sldMkLst>
        <pc:spChg chg="del">
          <ac:chgData name="Frank Tan (qutan)" userId="1cc8c1fc-bfb1-4b23-ae96-de603ddcbe90" providerId="ADAL" clId="{E82D0C7D-D426-0F4C-8680-22192FC871A5}" dt="2020-03-03T08:21:21.429" v="337" actId="478"/>
          <ac:spMkLst>
            <pc:docMk/>
            <pc:sldMk cId="2568989341" sldId="270"/>
            <ac:spMk id="3" creationId="{1112FC0A-22E1-BC43-AD32-6098752778CF}"/>
          </ac:spMkLst>
        </pc:spChg>
        <pc:spChg chg="add mod">
          <ac:chgData name="Frank Tan (qutan)" userId="1cc8c1fc-bfb1-4b23-ae96-de603ddcbe90" providerId="ADAL" clId="{E82D0C7D-D426-0F4C-8680-22192FC871A5}" dt="2020-03-03T08:21:30.097" v="339" actId="1076"/>
          <ac:spMkLst>
            <pc:docMk/>
            <pc:sldMk cId="2568989341" sldId="270"/>
            <ac:spMk id="66" creationId="{7CE43320-0A0B-8348-B5AE-AF41CF3B7FA4}"/>
          </ac:spMkLst>
        </pc:spChg>
        <pc:spChg chg="add mod">
          <ac:chgData name="Frank Tan (qutan)" userId="1cc8c1fc-bfb1-4b23-ae96-de603ddcbe90" providerId="ADAL" clId="{E82D0C7D-D426-0F4C-8680-22192FC871A5}" dt="2020-03-03T08:21:30.097" v="339" actId="1076"/>
          <ac:spMkLst>
            <pc:docMk/>
            <pc:sldMk cId="2568989341" sldId="270"/>
            <ac:spMk id="67" creationId="{94E8D1D1-0B21-FB45-8961-36C6355A5F8C}"/>
          </ac:spMkLst>
        </pc:spChg>
        <pc:spChg chg="del">
          <ac:chgData name="Frank Tan (qutan)" userId="1cc8c1fc-bfb1-4b23-ae96-de603ddcbe90" providerId="ADAL" clId="{E82D0C7D-D426-0F4C-8680-22192FC871A5}" dt="2020-03-03T08:21:21.429" v="337" actId="478"/>
          <ac:spMkLst>
            <pc:docMk/>
            <pc:sldMk cId="2568989341" sldId="270"/>
            <ac:spMk id="103" creationId="{5E6EBC44-43E2-4347-9E1B-C4EF34B58F36}"/>
          </ac:spMkLst>
        </pc:spChg>
      </pc:sldChg>
      <pc:sldChg chg="modSp add">
        <pc:chgData name="Frank Tan (qutan)" userId="1cc8c1fc-bfb1-4b23-ae96-de603ddcbe90" providerId="ADAL" clId="{E82D0C7D-D426-0F4C-8680-22192FC871A5}" dt="2020-03-03T08:45:04.032" v="376"/>
        <pc:sldMkLst>
          <pc:docMk/>
          <pc:sldMk cId="3235864492" sldId="372"/>
        </pc:sldMkLst>
        <pc:spChg chg="mod">
          <ac:chgData name="Frank Tan (qutan)" userId="1cc8c1fc-bfb1-4b23-ae96-de603ddcbe90" providerId="ADAL" clId="{E82D0C7D-D426-0F4C-8680-22192FC871A5}" dt="2020-03-03T08:45:04.032" v="376"/>
          <ac:spMkLst>
            <pc:docMk/>
            <pc:sldMk cId="3235864492" sldId="372"/>
            <ac:spMk id="2" creationId="{EFE2DC34-F825-2948-B0AB-508501875812}"/>
          </ac:spMkLst>
        </pc:spChg>
      </pc:sldChg>
      <pc:sldChg chg="add del">
        <pc:chgData name="Frank Tan (qutan)" userId="1cc8c1fc-bfb1-4b23-ae96-de603ddcbe90" providerId="ADAL" clId="{E82D0C7D-D426-0F4C-8680-22192FC871A5}" dt="2020-03-03T03:33:43.470" v="335"/>
        <pc:sldMkLst>
          <pc:docMk/>
          <pc:sldMk cId="3542515518" sldId="372"/>
        </pc:sldMkLst>
      </pc:sldChg>
      <pc:sldChg chg="add del">
        <pc:chgData name="Frank Tan (qutan)" userId="1cc8c1fc-bfb1-4b23-ae96-de603ddcbe90" providerId="ADAL" clId="{E82D0C7D-D426-0F4C-8680-22192FC871A5}" dt="2020-03-03T03:33:43.470" v="335"/>
        <pc:sldMkLst>
          <pc:docMk/>
          <pc:sldMk cId="1612714520" sldId="1979422026"/>
        </pc:sldMkLst>
      </pc:sldChg>
      <pc:sldChg chg="add">
        <pc:chgData name="Frank Tan (qutan)" userId="1cc8c1fc-bfb1-4b23-ae96-de603ddcbe90" providerId="ADAL" clId="{E82D0C7D-D426-0F4C-8680-22192FC871A5}" dt="2020-03-03T03:33:43.639" v="336"/>
        <pc:sldMkLst>
          <pc:docMk/>
          <pc:sldMk cId="1725059048" sldId="1979422026"/>
        </pc:sldMkLst>
      </pc:sldChg>
      <pc:sldChg chg="addSp delSp modSp add">
        <pc:chgData name="Frank Tan (qutan)" userId="1cc8c1fc-bfb1-4b23-ae96-de603ddcbe90" providerId="ADAL" clId="{E82D0C7D-D426-0F4C-8680-22192FC871A5}" dt="2020-03-03T08:22:02.442" v="364" actId="20577"/>
        <pc:sldMkLst>
          <pc:docMk/>
          <pc:sldMk cId="3225929323" sldId="1979422027"/>
        </pc:sldMkLst>
        <pc:spChg chg="del">
          <ac:chgData name="Frank Tan (qutan)" userId="1cc8c1fc-bfb1-4b23-ae96-de603ddcbe90" providerId="ADAL" clId="{E82D0C7D-D426-0F4C-8680-22192FC871A5}" dt="2020-03-03T08:21:54.578" v="342"/>
          <ac:spMkLst>
            <pc:docMk/>
            <pc:sldMk cId="3225929323" sldId="1979422027"/>
            <ac:spMk id="2" creationId="{0A03745F-184C-234A-AC9D-9D600530EFCF}"/>
          </ac:spMkLst>
        </pc:spChg>
        <pc:spChg chg="del">
          <ac:chgData name="Frank Tan (qutan)" userId="1cc8c1fc-bfb1-4b23-ae96-de603ddcbe90" providerId="ADAL" clId="{E82D0C7D-D426-0F4C-8680-22192FC871A5}" dt="2020-03-03T08:21:54.578" v="342"/>
          <ac:spMkLst>
            <pc:docMk/>
            <pc:sldMk cId="3225929323" sldId="1979422027"/>
            <ac:spMk id="3" creationId="{4960F959-7F7E-8347-A710-78E6842FFC9C}"/>
          </ac:spMkLst>
        </pc:spChg>
        <pc:spChg chg="add mod">
          <ac:chgData name="Frank Tan (qutan)" userId="1cc8c1fc-bfb1-4b23-ae96-de603ddcbe90" providerId="ADAL" clId="{E82D0C7D-D426-0F4C-8680-22192FC871A5}" dt="2020-03-03T08:22:02.442" v="364" actId="20577"/>
          <ac:spMkLst>
            <pc:docMk/>
            <pc:sldMk cId="3225929323" sldId="1979422027"/>
            <ac:spMk id="4" creationId="{D891410B-5DD0-BE4F-B12F-737A13614620}"/>
          </ac:spMkLst>
        </pc:spChg>
      </pc:sldChg>
      <pc:sldChg chg="addSp delSp modSp add ord">
        <pc:chgData name="Frank Tan (qutan)" userId="1cc8c1fc-bfb1-4b23-ae96-de603ddcbe90" providerId="ADAL" clId="{E82D0C7D-D426-0F4C-8680-22192FC871A5}" dt="2020-03-04T03:42:53.460" v="1502" actId="1076"/>
        <pc:sldMkLst>
          <pc:docMk/>
          <pc:sldMk cId="3264067555" sldId="1979422028"/>
        </pc:sldMkLst>
        <pc:spChg chg="del">
          <ac:chgData name="Frank Tan (qutan)" userId="1cc8c1fc-bfb1-4b23-ae96-de603ddcbe90" providerId="ADAL" clId="{E82D0C7D-D426-0F4C-8680-22192FC871A5}" dt="2020-03-03T08:45:32.411" v="378" actId="478"/>
          <ac:spMkLst>
            <pc:docMk/>
            <pc:sldMk cId="3264067555" sldId="1979422028"/>
            <ac:spMk id="2" creationId="{3B22EE9F-35C2-AB42-A780-BA91BBA18F03}"/>
          </ac:spMkLst>
        </pc:spChg>
        <pc:spChg chg="add mod">
          <ac:chgData name="Frank Tan (qutan)" userId="1cc8c1fc-bfb1-4b23-ae96-de603ddcbe90" providerId="ADAL" clId="{E82D0C7D-D426-0F4C-8680-22192FC871A5}" dt="2020-03-03T10:08:25.586" v="502" actId="1076"/>
          <ac:spMkLst>
            <pc:docMk/>
            <pc:sldMk cId="3264067555" sldId="1979422028"/>
            <ac:spMk id="5" creationId="{57E34D27-8542-234F-882C-02F6BFC5BBB9}"/>
          </ac:spMkLst>
        </pc:spChg>
        <pc:spChg chg="add del mod">
          <ac:chgData name="Frank Tan (qutan)" userId="1cc8c1fc-bfb1-4b23-ae96-de603ddcbe90" providerId="ADAL" clId="{E82D0C7D-D426-0F4C-8680-22192FC871A5}" dt="2020-03-03T09:31:12.097" v="411" actId="478"/>
          <ac:spMkLst>
            <pc:docMk/>
            <pc:sldMk cId="3264067555" sldId="1979422028"/>
            <ac:spMk id="6" creationId="{C936DD0A-B5B4-954C-BE3D-1F51E8E10B2D}"/>
          </ac:spMkLst>
        </pc:spChg>
        <pc:spChg chg="add del mod">
          <ac:chgData name="Frank Tan (qutan)" userId="1cc8c1fc-bfb1-4b23-ae96-de603ddcbe90" providerId="ADAL" clId="{E82D0C7D-D426-0F4C-8680-22192FC871A5}" dt="2020-03-03T09:59:24.774" v="453"/>
          <ac:spMkLst>
            <pc:docMk/>
            <pc:sldMk cId="3264067555" sldId="1979422028"/>
            <ac:spMk id="10" creationId="{2555F9CC-AB81-E04D-9F50-56E13EC1E5F6}"/>
          </ac:spMkLst>
        </pc:spChg>
        <pc:spChg chg="add del mod">
          <ac:chgData name="Frank Tan (qutan)" userId="1cc8c1fc-bfb1-4b23-ae96-de603ddcbe90" providerId="ADAL" clId="{E82D0C7D-D426-0F4C-8680-22192FC871A5}" dt="2020-03-03T09:59:24.774" v="453"/>
          <ac:spMkLst>
            <pc:docMk/>
            <pc:sldMk cId="3264067555" sldId="1979422028"/>
            <ac:spMk id="11" creationId="{FD46A2BB-05B1-984E-951D-DCA635343D7A}"/>
          </ac:spMkLst>
        </pc:spChg>
        <pc:spChg chg="add del mod">
          <ac:chgData name="Frank Tan (qutan)" userId="1cc8c1fc-bfb1-4b23-ae96-de603ddcbe90" providerId="ADAL" clId="{E82D0C7D-D426-0F4C-8680-22192FC871A5}" dt="2020-03-03T10:08:21.712" v="501"/>
          <ac:spMkLst>
            <pc:docMk/>
            <pc:sldMk cId="3264067555" sldId="1979422028"/>
            <ac:spMk id="12" creationId="{1BCC8644-9CC1-6C42-AFBD-8629DCA8899B}"/>
          </ac:spMkLst>
        </pc:spChg>
        <pc:spChg chg="add del mod">
          <ac:chgData name="Frank Tan (qutan)" userId="1cc8c1fc-bfb1-4b23-ae96-de603ddcbe90" providerId="ADAL" clId="{E82D0C7D-D426-0F4C-8680-22192FC871A5}" dt="2020-03-03T14:16:21.643" v="717" actId="478"/>
          <ac:spMkLst>
            <pc:docMk/>
            <pc:sldMk cId="3264067555" sldId="1979422028"/>
            <ac:spMk id="13" creationId="{8343286B-78C2-2D4C-B32E-4B708DD6C6F8}"/>
          </ac:spMkLst>
        </pc:spChg>
        <pc:spChg chg="add del mod">
          <ac:chgData name="Frank Tan (qutan)" userId="1cc8c1fc-bfb1-4b23-ae96-de603ddcbe90" providerId="ADAL" clId="{E82D0C7D-D426-0F4C-8680-22192FC871A5}" dt="2020-03-03T14:16:21.643" v="717" actId="478"/>
          <ac:spMkLst>
            <pc:docMk/>
            <pc:sldMk cId="3264067555" sldId="1979422028"/>
            <ac:spMk id="14" creationId="{3DF0E5F2-455D-DD4B-B172-A7E56F65A79A}"/>
          </ac:spMkLst>
        </pc:spChg>
        <pc:spChg chg="add del mod">
          <ac:chgData name="Frank Tan (qutan)" userId="1cc8c1fc-bfb1-4b23-ae96-de603ddcbe90" providerId="ADAL" clId="{E82D0C7D-D426-0F4C-8680-22192FC871A5}" dt="2020-03-03T14:16:24.864" v="718"/>
          <ac:spMkLst>
            <pc:docMk/>
            <pc:sldMk cId="3264067555" sldId="1979422028"/>
            <ac:spMk id="15" creationId="{9C21F84C-12D2-164E-957C-D98FA5F0B67B}"/>
          </ac:spMkLst>
        </pc:spChg>
        <pc:spChg chg="add mod">
          <ac:chgData name="Frank Tan (qutan)" userId="1cc8c1fc-bfb1-4b23-ae96-de603ddcbe90" providerId="ADAL" clId="{E82D0C7D-D426-0F4C-8680-22192FC871A5}" dt="2020-03-03T14:16:24.864" v="718"/>
          <ac:spMkLst>
            <pc:docMk/>
            <pc:sldMk cId="3264067555" sldId="1979422028"/>
            <ac:spMk id="16" creationId="{F250FE03-3989-D240-BAE0-5FD084F61A97}"/>
          </ac:spMkLst>
        </pc:spChg>
        <pc:picChg chg="add del">
          <ac:chgData name="Frank Tan (qutan)" userId="1cc8c1fc-bfb1-4b23-ae96-de603ddcbe90" providerId="ADAL" clId="{E82D0C7D-D426-0F4C-8680-22192FC871A5}" dt="2020-03-03T08:45:51.565" v="380" actId="478"/>
          <ac:picMkLst>
            <pc:docMk/>
            <pc:sldMk cId="3264067555" sldId="1979422028"/>
            <ac:picMk id="3" creationId="{06050600-23C5-824D-B558-1679AF597D49}"/>
          </ac:picMkLst>
        </pc:picChg>
        <pc:picChg chg="add del mod">
          <ac:chgData name="Frank Tan (qutan)" userId="1cc8c1fc-bfb1-4b23-ae96-de603ddcbe90" providerId="ADAL" clId="{E82D0C7D-D426-0F4C-8680-22192FC871A5}" dt="2020-03-03T09:31:26.410" v="420" actId="478"/>
          <ac:picMkLst>
            <pc:docMk/>
            <pc:sldMk cId="3264067555" sldId="1979422028"/>
            <ac:picMk id="4" creationId="{D0857E3B-F35D-594C-9FE6-EF1B3D334D77}"/>
          </ac:picMkLst>
        </pc:picChg>
        <pc:picChg chg="add del mod">
          <ac:chgData name="Frank Tan (qutan)" userId="1cc8c1fc-bfb1-4b23-ae96-de603ddcbe90" providerId="ADAL" clId="{E82D0C7D-D426-0F4C-8680-22192FC871A5}" dt="2020-03-03T09:33:52.108" v="446" actId="478"/>
          <ac:picMkLst>
            <pc:docMk/>
            <pc:sldMk cId="3264067555" sldId="1979422028"/>
            <ac:picMk id="7" creationId="{24370C9B-4116-B04E-B54A-4DC575502527}"/>
          </ac:picMkLst>
        </pc:picChg>
        <pc:picChg chg="add del mod">
          <ac:chgData name="Frank Tan (qutan)" userId="1cc8c1fc-bfb1-4b23-ae96-de603ddcbe90" providerId="ADAL" clId="{E82D0C7D-D426-0F4C-8680-22192FC871A5}" dt="2020-03-03T09:34:17.995" v="449" actId="478"/>
          <ac:picMkLst>
            <pc:docMk/>
            <pc:sldMk cId="3264067555" sldId="1979422028"/>
            <ac:picMk id="8" creationId="{C6105280-6675-2E4F-8828-37C781FA7E5E}"/>
          </ac:picMkLst>
        </pc:picChg>
        <pc:picChg chg="add del mod">
          <ac:chgData name="Frank Tan (qutan)" userId="1cc8c1fc-bfb1-4b23-ae96-de603ddcbe90" providerId="ADAL" clId="{E82D0C7D-D426-0F4C-8680-22192FC871A5}" dt="2020-03-03T14:17:02.849" v="719" actId="478"/>
          <ac:picMkLst>
            <pc:docMk/>
            <pc:sldMk cId="3264067555" sldId="1979422028"/>
            <ac:picMk id="9" creationId="{1D06592B-BBB7-A549-A9E1-9C3FF1BFB6AF}"/>
          </ac:picMkLst>
        </pc:picChg>
        <pc:picChg chg="add del mod">
          <ac:chgData name="Frank Tan (qutan)" userId="1cc8c1fc-bfb1-4b23-ae96-de603ddcbe90" providerId="ADAL" clId="{E82D0C7D-D426-0F4C-8680-22192FC871A5}" dt="2020-03-04T03:41:41.374" v="1499" actId="478"/>
          <ac:picMkLst>
            <pc:docMk/>
            <pc:sldMk cId="3264067555" sldId="1979422028"/>
            <ac:picMk id="17" creationId="{B15634F1-8854-3549-B9C0-C0893C8D3C4A}"/>
          </ac:picMkLst>
        </pc:picChg>
        <pc:picChg chg="add mod">
          <ac:chgData name="Frank Tan (qutan)" userId="1cc8c1fc-bfb1-4b23-ae96-de603ddcbe90" providerId="ADAL" clId="{E82D0C7D-D426-0F4C-8680-22192FC871A5}" dt="2020-03-04T03:42:53.460" v="1502" actId="1076"/>
          <ac:picMkLst>
            <pc:docMk/>
            <pc:sldMk cId="3264067555" sldId="1979422028"/>
            <ac:picMk id="18" creationId="{FBDCF902-7D41-FA47-BA5E-706EE3A73E41}"/>
          </ac:picMkLst>
        </pc:picChg>
      </pc:sldChg>
      <pc:sldChg chg="add del">
        <pc:chgData name="Frank Tan (qutan)" userId="1cc8c1fc-bfb1-4b23-ae96-de603ddcbe90" providerId="ADAL" clId="{E82D0C7D-D426-0F4C-8680-22192FC871A5}" dt="2020-03-03T08:21:37.274" v="340" actId="2696"/>
        <pc:sldMkLst>
          <pc:docMk/>
          <pc:sldMk cId="1188311730" sldId="1979422029"/>
        </pc:sldMkLst>
      </pc:sldChg>
      <pc:sldChg chg="add del">
        <pc:chgData name="Frank Tan (qutan)" userId="1cc8c1fc-bfb1-4b23-ae96-de603ddcbe90" providerId="ADAL" clId="{E82D0C7D-D426-0F4C-8680-22192FC871A5}" dt="2020-03-03T03:33:43.470" v="335"/>
        <pc:sldMkLst>
          <pc:docMk/>
          <pc:sldMk cId="1818308294" sldId="1979422029"/>
        </pc:sldMkLst>
      </pc:sldChg>
      <pc:sldChg chg="modSp add ord">
        <pc:chgData name="Frank Tan (qutan)" userId="1cc8c1fc-bfb1-4b23-ae96-de603ddcbe90" providerId="ADAL" clId="{E82D0C7D-D426-0F4C-8680-22192FC871A5}" dt="2020-03-03T14:12:30.011" v="531"/>
        <pc:sldMkLst>
          <pc:docMk/>
          <pc:sldMk cId="3408564166" sldId="1979422029"/>
        </pc:sldMkLst>
        <pc:spChg chg="mod">
          <ac:chgData name="Frank Tan (qutan)" userId="1cc8c1fc-bfb1-4b23-ae96-de603ddcbe90" providerId="ADAL" clId="{E82D0C7D-D426-0F4C-8680-22192FC871A5}" dt="2020-03-03T09:30:17.675" v="399" actId="20577"/>
          <ac:spMkLst>
            <pc:docMk/>
            <pc:sldMk cId="3408564166" sldId="1979422029"/>
            <ac:spMk id="2" creationId="{71320CEF-A626-B14A-B5B7-331A0B41B1DD}"/>
          </ac:spMkLst>
        </pc:spChg>
      </pc:sldChg>
      <pc:sldChg chg="addSp modSp add">
        <pc:chgData name="Frank Tan (qutan)" userId="1cc8c1fc-bfb1-4b23-ae96-de603ddcbe90" providerId="ADAL" clId="{E82D0C7D-D426-0F4C-8680-22192FC871A5}" dt="2020-03-04T02:05:09.960" v="1425" actId="14100"/>
        <pc:sldMkLst>
          <pc:docMk/>
          <pc:sldMk cId="1899572075" sldId="1979422030"/>
        </pc:sldMkLst>
        <pc:spChg chg="mod">
          <ac:chgData name="Frank Tan (qutan)" userId="1cc8c1fc-bfb1-4b23-ae96-de603ddcbe90" providerId="ADAL" clId="{E82D0C7D-D426-0F4C-8680-22192FC871A5}" dt="2020-03-03T14:44:50.756" v="832" actId="1076"/>
          <ac:spMkLst>
            <pc:docMk/>
            <pc:sldMk cId="1899572075" sldId="1979422030"/>
            <ac:spMk id="2" creationId="{AEE31E3B-97AB-B842-8853-5D8D51771924}"/>
          </ac:spMkLst>
        </pc:spChg>
        <pc:spChg chg="mod">
          <ac:chgData name="Frank Tan (qutan)" userId="1cc8c1fc-bfb1-4b23-ae96-de603ddcbe90" providerId="ADAL" clId="{E82D0C7D-D426-0F4C-8680-22192FC871A5}" dt="2020-03-03T14:44:47.812" v="830" actId="1076"/>
          <ac:spMkLst>
            <pc:docMk/>
            <pc:sldMk cId="1899572075" sldId="1979422030"/>
            <ac:spMk id="3" creationId="{0F23AF0B-C080-2042-832D-2242A6ACA81D}"/>
          </ac:spMkLst>
        </pc:spChg>
        <pc:spChg chg="add mod">
          <ac:chgData name="Frank Tan (qutan)" userId="1cc8c1fc-bfb1-4b23-ae96-de603ddcbe90" providerId="ADAL" clId="{E82D0C7D-D426-0F4C-8680-22192FC871A5}" dt="2020-03-03T14:44:55.191" v="833" actId="1076"/>
          <ac:spMkLst>
            <pc:docMk/>
            <pc:sldMk cId="1899572075" sldId="1979422030"/>
            <ac:spMk id="4" creationId="{D192F036-DAAF-1640-A881-EF9860B51402}"/>
          </ac:spMkLst>
        </pc:spChg>
        <pc:spChg chg="add mod">
          <ac:chgData name="Frank Tan (qutan)" userId="1cc8c1fc-bfb1-4b23-ae96-de603ddcbe90" providerId="ADAL" clId="{E82D0C7D-D426-0F4C-8680-22192FC871A5}" dt="2020-03-04T02:05:09.960" v="1425" actId="14100"/>
          <ac:spMkLst>
            <pc:docMk/>
            <pc:sldMk cId="1899572075" sldId="1979422030"/>
            <ac:spMk id="5" creationId="{A99E1C86-579B-CB4D-A3F0-AF1B980B4DC3}"/>
          </ac:spMkLst>
        </pc:spChg>
      </pc:sldChg>
      <pc:sldChg chg="modSp add">
        <pc:chgData name="Frank Tan (qutan)" userId="1cc8c1fc-bfb1-4b23-ae96-de603ddcbe90" providerId="ADAL" clId="{E82D0C7D-D426-0F4C-8680-22192FC871A5}" dt="2020-03-03T15:15:43.565" v="872" actId="20577"/>
        <pc:sldMkLst>
          <pc:docMk/>
          <pc:sldMk cId="4260884072" sldId="1979422031"/>
        </pc:sldMkLst>
        <pc:spChg chg="mod">
          <ac:chgData name="Frank Tan (qutan)" userId="1cc8c1fc-bfb1-4b23-ae96-de603ddcbe90" providerId="ADAL" clId="{E82D0C7D-D426-0F4C-8680-22192FC871A5}" dt="2020-03-03T15:15:43.565" v="872" actId="20577"/>
          <ac:spMkLst>
            <pc:docMk/>
            <pc:sldMk cId="4260884072" sldId="1979422031"/>
            <ac:spMk id="4" creationId="{D891410B-5DD0-BE4F-B12F-737A13614620}"/>
          </ac:spMkLst>
        </pc:spChg>
      </pc:sldChg>
      <pc:sldChg chg="addSp delSp modSp add ord">
        <pc:chgData name="Frank Tan (qutan)" userId="1cc8c1fc-bfb1-4b23-ae96-de603ddcbe90" providerId="ADAL" clId="{E82D0C7D-D426-0F4C-8680-22192FC871A5}" dt="2020-03-03T15:27:25.066" v="964" actId="20577"/>
        <pc:sldMkLst>
          <pc:docMk/>
          <pc:sldMk cId="2621188994" sldId="1979422032"/>
        </pc:sldMkLst>
        <pc:spChg chg="del">
          <ac:chgData name="Frank Tan (qutan)" userId="1cc8c1fc-bfb1-4b23-ae96-de603ddcbe90" providerId="ADAL" clId="{E82D0C7D-D426-0F4C-8680-22192FC871A5}" dt="2020-03-03T15:19:29.956" v="875"/>
          <ac:spMkLst>
            <pc:docMk/>
            <pc:sldMk cId="2621188994" sldId="1979422032"/>
            <ac:spMk id="2" creationId="{DEE30464-5B15-9146-AA96-195D31385726}"/>
          </ac:spMkLst>
        </pc:spChg>
        <pc:spChg chg="del">
          <ac:chgData name="Frank Tan (qutan)" userId="1cc8c1fc-bfb1-4b23-ae96-de603ddcbe90" providerId="ADAL" clId="{E82D0C7D-D426-0F4C-8680-22192FC871A5}" dt="2020-03-03T15:19:29.956" v="875"/>
          <ac:spMkLst>
            <pc:docMk/>
            <pc:sldMk cId="2621188994" sldId="1979422032"/>
            <ac:spMk id="3" creationId="{98230207-B9DD-7B4B-9608-C8B738174E71}"/>
          </ac:spMkLst>
        </pc:spChg>
        <pc:spChg chg="del">
          <ac:chgData name="Frank Tan (qutan)" userId="1cc8c1fc-bfb1-4b23-ae96-de603ddcbe90" providerId="ADAL" clId="{E82D0C7D-D426-0F4C-8680-22192FC871A5}" dt="2020-03-03T15:19:29.956" v="875"/>
          <ac:spMkLst>
            <pc:docMk/>
            <pc:sldMk cId="2621188994" sldId="1979422032"/>
            <ac:spMk id="4" creationId="{DE8DB94D-D218-FA4F-AF07-2F1EC0D169FF}"/>
          </ac:spMkLst>
        </pc:spChg>
        <pc:spChg chg="add mod">
          <ac:chgData name="Frank Tan (qutan)" userId="1cc8c1fc-bfb1-4b23-ae96-de603ddcbe90" providerId="ADAL" clId="{E82D0C7D-D426-0F4C-8680-22192FC871A5}" dt="2020-03-03T15:19:34.535" v="885" actId="20577"/>
          <ac:spMkLst>
            <pc:docMk/>
            <pc:sldMk cId="2621188994" sldId="1979422032"/>
            <ac:spMk id="5" creationId="{78CC4880-6843-9548-BD5C-03F65D2F7364}"/>
          </ac:spMkLst>
        </pc:spChg>
        <pc:spChg chg="add mod">
          <ac:chgData name="Frank Tan (qutan)" userId="1cc8c1fc-bfb1-4b23-ae96-de603ddcbe90" providerId="ADAL" clId="{E82D0C7D-D426-0F4C-8680-22192FC871A5}" dt="2020-03-03T15:27:25.066" v="964" actId="20577"/>
          <ac:spMkLst>
            <pc:docMk/>
            <pc:sldMk cId="2621188994" sldId="1979422032"/>
            <ac:spMk id="6" creationId="{97B332EA-4D06-7446-B0C6-094EE609FB13}"/>
          </ac:spMkLst>
        </pc:spChg>
      </pc:sldChg>
      <pc:sldChg chg="modSp add">
        <pc:chgData name="Frank Tan (qutan)" userId="1cc8c1fc-bfb1-4b23-ae96-de603ddcbe90" providerId="ADAL" clId="{E82D0C7D-D426-0F4C-8680-22192FC871A5}" dt="2020-03-03T15:30:31.282" v="1041" actId="20577"/>
        <pc:sldMkLst>
          <pc:docMk/>
          <pc:sldMk cId="3331060003" sldId="1979422033"/>
        </pc:sldMkLst>
        <pc:spChg chg="mod">
          <ac:chgData name="Frank Tan (qutan)" userId="1cc8c1fc-bfb1-4b23-ae96-de603ddcbe90" providerId="ADAL" clId="{E82D0C7D-D426-0F4C-8680-22192FC871A5}" dt="2020-03-03T15:29:20.140" v="974" actId="20577"/>
          <ac:spMkLst>
            <pc:docMk/>
            <pc:sldMk cId="3331060003" sldId="1979422033"/>
            <ac:spMk id="2" creationId="{0DB987F2-80AD-AF44-AE91-A55A3D20B35F}"/>
          </ac:spMkLst>
        </pc:spChg>
        <pc:spChg chg="mod">
          <ac:chgData name="Frank Tan (qutan)" userId="1cc8c1fc-bfb1-4b23-ae96-de603ddcbe90" providerId="ADAL" clId="{E82D0C7D-D426-0F4C-8680-22192FC871A5}" dt="2020-03-03T15:30:31.282" v="1041" actId="20577"/>
          <ac:spMkLst>
            <pc:docMk/>
            <pc:sldMk cId="3331060003" sldId="1979422033"/>
            <ac:spMk id="3" creationId="{17330336-E623-1844-B5FC-6E20DECFD23C}"/>
          </ac:spMkLst>
        </pc:spChg>
      </pc:sldChg>
      <pc:sldChg chg="addSp delSp modSp add">
        <pc:chgData name="Frank Tan (qutan)" userId="1cc8c1fc-bfb1-4b23-ae96-de603ddcbe90" providerId="ADAL" clId="{E82D0C7D-D426-0F4C-8680-22192FC871A5}" dt="2020-03-04T03:27:14.389" v="1457" actId="20577"/>
        <pc:sldMkLst>
          <pc:docMk/>
          <pc:sldMk cId="1555614157" sldId="1979422034"/>
        </pc:sldMkLst>
        <pc:spChg chg="del">
          <ac:chgData name="Frank Tan (qutan)" userId="1cc8c1fc-bfb1-4b23-ae96-de603ddcbe90" providerId="ADAL" clId="{E82D0C7D-D426-0F4C-8680-22192FC871A5}" dt="2020-03-03T15:36:14.238" v="1043"/>
          <ac:spMkLst>
            <pc:docMk/>
            <pc:sldMk cId="1555614157" sldId="1979422034"/>
            <ac:spMk id="2" creationId="{D149873A-88C6-0549-949E-9A8134A275A7}"/>
          </ac:spMkLst>
        </pc:spChg>
        <pc:spChg chg="del">
          <ac:chgData name="Frank Tan (qutan)" userId="1cc8c1fc-bfb1-4b23-ae96-de603ddcbe90" providerId="ADAL" clId="{E82D0C7D-D426-0F4C-8680-22192FC871A5}" dt="2020-03-03T15:36:14.238" v="1043"/>
          <ac:spMkLst>
            <pc:docMk/>
            <pc:sldMk cId="1555614157" sldId="1979422034"/>
            <ac:spMk id="3" creationId="{40034F5A-8A6E-CC46-A3EE-F34D24DFD455}"/>
          </ac:spMkLst>
        </pc:spChg>
        <pc:spChg chg="del">
          <ac:chgData name="Frank Tan (qutan)" userId="1cc8c1fc-bfb1-4b23-ae96-de603ddcbe90" providerId="ADAL" clId="{E82D0C7D-D426-0F4C-8680-22192FC871A5}" dt="2020-03-03T15:36:14.238" v="1043"/>
          <ac:spMkLst>
            <pc:docMk/>
            <pc:sldMk cId="1555614157" sldId="1979422034"/>
            <ac:spMk id="4" creationId="{24A9EF30-3FB7-5748-9083-10C455A5203A}"/>
          </ac:spMkLst>
        </pc:spChg>
        <pc:spChg chg="add mod">
          <ac:chgData name="Frank Tan (qutan)" userId="1cc8c1fc-bfb1-4b23-ae96-de603ddcbe90" providerId="ADAL" clId="{E82D0C7D-D426-0F4C-8680-22192FC871A5}" dt="2020-03-03T15:36:18.041" v="1056" actId="20577"/>
          <ac:spMkLst>
            <pc:docMk/>
            <pc:sldMk cId="1555614157" sldId="1979422034"/>
            <ac:spMk id="5" creationId="{BD562BA6-DB85-184B-B7E3-702982A7F7F0}"/>
          </ac:spMkLst>
        </pc:spChg>
        <pc:spChg chg="add del mod">
          <ac:chgData name="Frank Tan (qutan)" userId="1cc8c1fc-bfb1-4b23-ae96-de603ddcbe90" providerId="ADAL" clId="{E82D0C7D-D426-0F4C-8680-22192FC871A5}" dt="2020-03-04T03:27:14.389" v="1457" actId="20577"/>
          <ac:spMkLst>
            <pc:docMk/>
            <pc:sldMk cId="1555614157" sldId="1979422034"/>
            <ac:spMk id="6" creationId="{6D1CB1D4-DD93-9A4C-BC5C-065923FD71B9}"/>
          </ac:spMkLst>
        </pc:spChg>
        <pc:spChg chg="add del">
          <ac:chgData name="Frank Tan (qutan)" userId="1cc8c1fc-bfb1-4b23-ae96-de603ddcbe90" providerId="ADAL" clId="{E82D0C7D-D426-0F4C-8680-22192FC871A5}" dt="2020-03-03T15:44:26.053" v="1059"/>
          <ac:spMkLst>
            <pc:docMk/>
            <pc:sldMk cId="1555614157" sldId="1979422034"/>
            <ac:spMk id="7" creationId="{EAD9BDD8-2A29-F244-A0AE-609C0628EEB3}"/>
          </ac:spMkLst>
        </pc:spChg>
      </pc:sldChg>
      <pc:sldChg chg="modSp add">
        <pc:chgData name="Frank Tan (qutan)" userId="1cc8c1fc-bfb1-4b23-ae96-de603ddcbe90" providerId="ADAL" clId="{E82D0C7D-D426-0F4C-8680-22192FC871A5}" dt="2020-03-03T15:51:35.693" v="1293" actId="20577"/>
        <pc:sldMkLst>
          <pc:docMk/>
          <pc:sldMk cId="2941785499" sldId="1979422035"/>
        </pc:sldMkLst>
        <pc:spChg chg="mod">
          <ac:chgData name="Frank Tan (qutan)" userId="1cc8c1fc-bfb1-4b23-ae96-de603ddcbe90" providerId="ADAL" clId="{E82D0C7D-D426-0F4C-8680-22192FC871A5}" dt="2020-03-03T15:51:35.693" v="1293" actId="20577"/>
          <ac:spMkLst>
            <pc:docMk/>
            <pc:sldMk cId="2941785499" sldId="1979422035"/>
            <ac:spMk id="2" creationId="{89F7EBAD-F967-544D-A3F0-DD9BB9386030}"/>
          </ac:spMkLst>
        </pc:spChg>
      </pc:sldChg>
      <pc:sldChg chg="add">
        <pc:chgData name="Frank Tan (qutan)" userId="1cc8c1fc-bfb1-4b23-ae96-de603ddcbe90" providerId="ADAL" clId="{E82D0C7D-D426-0F4C-8680-22192FC871A5}" dt="2020-03-03T15:51:55.001" v="1294"/>
        <pc:sldMkLst>
          <pc:docMk/>
          <pc:sldMk cId="798468249" sldId="1979422036"/>
        </pc:sldMkLst>
      </pc:sldChg>
    </pc:docChg>
  </pc:docChgLst>
  <pc:docChgLst>
    <pc:chgData name="Frank Tan (qutan)" userId="1cc8c1fc-bfb1-4b23-ae96-de603ddcbe90" providerId="ADAL" clId="{4AD5E795-8F90-F04B-94B0-3DD4CA04D5EE}"/>
    <pc:docChg chg="undo redo custSel addSld delSld modSld modShowInfo">
      <pc:chgData name="Frank Tan (qutan)" userId="1cc8c1fc-bfb1-4b23-ae96-de603ddcbe90" providerId="ADAL" clId="{4AD5E795-8F90-F04B-94B0-3DD4CA04D5EE}" dt="2020-03-19T07:46:21.626" v="1692" actId="1076"/>
      <pc:docMkLst>
        <pc:docMk/>
      </pc:docMkLst>
      <pc:sldChg chg="modSp modTransition">
        <pc:chgData name="Frank Tan (qutan)" userId="1cc8c1fc-bfb1-4b23-ae96-de603ddcbe90" providerId="ADAL" clId="{4AD5E795-8F90-F04B-94B0-3DD4CA04D5EE}" dt="2020-03-19T06:02:08.087" v="1534"/>
        <pc:sldMkLst>
          <pc:docMk/>
          <pc:sldMk cId="2193831592" sldId="257"/>
        </pc:sldMkLst>
        <pc:spChg chg="mod">
          <ac:chgData name="Frank Tan (qutan)" userId="1cc8c1fc-bfb1-4b23-ae96-de603ddcbe90" providerId="ADAL" clId="{4AD5E795-8F90-F04B-94B0-3DD4CA04D5EE}" dt="2020-03-18T02:03:20.518" v="22" actId="20577"/>
          <ac:spMkLst>
            <pc:docMk/>
            <pc:sldMk cId="2193831592" sldId="257"/>
            <ac:spMk id="5" creationId="{690C8D39-1DA4-1A4F-96EE-E5E97F0772CC}"/>
          </ac:spMkLst>
        </pc:spChg>
      </pc:sldChg>
      <pc:sldChg chg="modSp modTransition">
        <pc:chgData name="Frank Tan (qutan)" userId="1cc8c1fc-bfb1-4b23-ae96-de603ddcbe90" providerId="ADAL" clId="{4AD5E795-8F90-F04B-94B0-3DD4CA04D5EE}" dt="2020-03-19T06:02:08.087" v="1534"/>
        <pc:sldMkLst>
          <pc:docMk/>
          <pc:sldMk cId="666991905" sldId="258"/>
        </pc:sldMkLst>
        <pc:spChg chg="mod">
          <ac:chgData name="Frank Tan (qutan)" userId="1cc8c1fc-bfb1-4b23-ae96-de603ddcbe90" providerId="ADAL" clId="{4AD5E795-8F90-F04B-94B0-3DD4CA04D5EE}" dt="2020-03-19T05:52:40.688" v="1525" actId="20577"/>
          <ac:spMkLst>
            <pc:docMk/>
            <pc:sldMk cId="666991905" sldId="258"/>
            <ac:spMk id="6" creationId="{2ECACC77-877A-934F-88DA-C325D964C959}"/>
          </ac:spMkLst>
        </pc:spChg>
      </pc:sldChg>
      <pc:sldChg chg="del">
        <pc:chgData name="Frank Tan (qutan)" userId="1cc8c1fc-bfb1-4b23-ae96-de603ddcbe90" providerId="ADAL" clId="{4AD5E795-8F90-F04B-94B0-3DD4CA04D5EE}" dt="2020-03-18T02:06:58.136" v="154" actId="2696"/>
        <pc:sldMkLst>
          <pc:docMk/>
          <pc:sldMk cId="511096340" sldId="260"/>
        </pc:sldMkLst>
      </pc:sldChg>
      <pc:sldChg chg="del">
        <pc:chgData name="Frank Tan (qutan)" userId="1cc8c1fc-bfb1-4b23-ae96-de603ddcbe90" providerId="ADAL" clId="{4AD5E795-8F90-F04B-94B0-3DD4CA04D5EE}" dt="2020-03-18T02:06:57.131" v="137" actId="2696"/>
        <pc:sldMkLst>
          <pc:docMk/>
          <pc:sldMk cId="2490845354" sldId="261"/>
        </pc:sldMkLst>
      </pc:sldChg>
      <pc:sldChg chg="del">
        <pc:chgData name="Frank Tan (qutan)" userId="1cc8c1fc-bfb1-4b23-ae96-de603ddcbe90" providerId="ADAL" clId="{4AD5E795-8F90-F04B-94B0-3DD4CA04D5EE}" dt="2020-03-18T02:06:58.206" v="156" actId="2696"/>
        <pc:sldMkLst>
          <pc:docMk/>
          <pc:sldMk cId="281513687" sldId="262"/>
        </pc:sldMkLst>
      </pc:sldChg>
      <pc:sldChg chg="add del">
        <pc:chgData name="Frank Tan (qutan)" userId="1cc8c1fc-bfb1-4b23-ae96-de603ddcbe90" providerId="ADAL" clId="{4AD5E795-8F90-F04B-94B0-3DD4CA04D5EE}" dt="2020-03-18T12:37:37.314" v="426"/>
        <pc:sldMkLst>
          <pc:docMk/>
          <pc:sldMk cId="478840278" sldId="262"/>
        </pc:sldMkLst>
      </pc:sldChg>
      <pc:sldChg chg="addSp delSp modSp add del">
        <pc:chgData name="Frank Tan (qutan)" userId="1cc8c1fc-bfb1-4b23-ae96-de603ddcbe90" providerId="ADAL" clId="{4AD5E795-8F90-F04B-94B0-3DD4CA04D5EE}" dt="2020-03-18T12:37:11.999" v="414"/>
        <pc:sldMkLst>
          <pc:docMk/>
          <pc:sldMk cId="504970488" sldId="262"/>
        </pc:sldMkLst>
        <pc:spChg chg="add del">
          <ac:chgData name="Frank Tan (qutan)" userId="1cc8c1fc-bfb1-4b23-ae96-de603ddcbe90" providerId="ADAL" clId="{4AD5E795-8F90-F04B-94B0-3DD4CA04D5EE}" dt="2020-03-18T12:37:09.876" v="410" actId="478"/>
          <ac:spMkLst>
            <pc:docMk/>
            <pc:sldMk cId="504970488" sldId="262"/>
            <ac:spMk id="2" creationId="{00000000-0000-0000-0000-000000000000}"/>
          </ac:spMkLst>
        </pc:spChg>
        <pc:spChg chg="add del mod">
          <ac:chgData name="Frank Tan (qutan)" userId="1cc8c1fc-bfb1-4b23-ae96-de603ddcbe90" providerId="ADAL" clId="{4AD5E795-8F90-F04B-94B0-3DD4CA04D5EE}" dt="2020-03-18T12:37:11.339" v="413" actId="20577"/>
          <ac:spMkLst>
            <pc:docMk/>
            <pc:sldMk cId="504970488" sldId="262"/>
            <ac:spMk id="8" creationId="{00000000-0000-0000-0000-000000000000}"/>
          </ac:spMkLst>
        </pc:spChg>
        <pc:spChg chg="add del mod">
          <ac:chgData name="Frank Tan (qutan)" userId="1cc8c1fc-bfb1-4b23-ae96-de603ddcbe90" providerId="ADAL" clId="{4AD5E795-8F90-F04B-94B0-3DD4CA04D5EE}" dt="2020-03-18T12:36:56.033" v="406"/>
          <ac:spMkLst>
            <pc:docMk/>
            <pc:sldMk cId="504970488" sldId="262"/>
            <ac:spMk id="9" creationId="{157A552A-5C3D-2847-996A-3259A2A6E45C}"/>
          </ac:spMkLst>
        </pc:spChg>
        <pc:spChg chg="add del mod">
          <ac:chgData name="Frank Tan (qutan)" userId="1cc8c1fc-bfb1-4b23-ae96-de603ddcbe90" providerId="ADAL" clId="{4AD5E795-8F90-F04B-94B0-3DD4CA04D5EE}" dt="2020-03-18T12:36:56.033" v="406"/>
          <ac:spMkLst>
            <pc:docMk/>
            <pc:sldMk cId="504970488" sldId="262"/>
            <ac:spMk id="10" creationId="{71FD8A75-5F3C-C24A-BBEB-379FE797238A}"/>
          </ac:spMkLst>
        </pc:spChg>
        <pc:spChg chg="add del mod">
          <ac:chgData name="Frank Tan (qutan)" userId="1cc8c1fc-bfb1-4b23-ae96-de603ddcbe90" providerId="ADAL" clId="{4AD5E795-8F90-F04B-94B0-3DD4CA04D5EE}" dt="2020-03-18T12:37:09.876" v="410" actId="478"/>
          <ac:spMkLst>
            <pc:docMk/>
            <pc:sldMk cId="504970488" sldId="262"/>
            <ac:spMk id="11" creationId="{8C581129-826F-2845-82FF-4E6DEC5166AC}"/>
          </ac:spMkLst>
        </pc:spChg>
        <pc:spChg chg="add del mod">
          <ac:chgData name="Frank Tan (qutan)" userId="1cc8c1fc-bfb1-4b23-ae96-de603ddcbe90" providerId="ADAL" clId="{4AD5E795-8F90-F04B-94B0-3DD4CA04D5EE}" dt="2020-03-18T12:37:09.226" v="409"/>
          <ac:spMkLst>
            <pc:docMk/>
            <pc:sldMk cId="504970488" sldId="262"/>
            <ac:spMk id="12" creationId="{114C4DFD-A8B4-0647-A0BD-7535044FBD73}"/>
          </ac:spMkLst>
        </pc:spChg>
        <pc:spChg chg="add del mod">
          <ac:chgData name="Frank Tan (qutan)" userId="1cc8c1fc-bfb1-4b23-ae96-de603ddcbe90" providerId="ADAL" clId="{4AD5E795-8F90-F04B-94B0-3DD4CA04D5EE}" dt="2020-03-18T12:37:09.226" v="409"/>
          <ac:spMkLst>
            <pc:docMk/>
            <pc:sldMk cId="504970488" sldId="262"/>
            <ac:spMk id="13" creationId="{A2E5CD34-CBDE-3D4E-84D0-D9C9D819EE20}"/>
          </ac:spMkLst>
        </pc:spChg>
      </pc:sldChg>
      <pc:sldChg chg="addSp delSp modSp add modTransition">
        <pc:chgData name="Frank Tan (qutan)" userId="1cc8c1fc-bfb1-4b23-ae96-de603ddcbe90" providerId="ADAL" clId="{4AD5E795-8F90-F04B-94B0-3DD4CA04D5EE}" dt="2020-03-19T06:02:08.087" v="1534"/>
        <pc:sldMkLst>
          <pc:docMk/>
          <pc:sldMk cId="3000221620" sldId="262"/>
        </pc:sldMkLst>
        <pc:spChg chg="del">
          <ac:chgData name="Frank Tan (qutan)" userId="1cc8c1fc-bfb1-4b23-ae96-de603ddcbe90" providerId="ADAL" clId="{4AD5E795-8F90-F04B-94B0-3DD4CA04D5EE}" dt="2020-03-18T12:37:47.225" v="429" actId="478"/>
          <ac:spMkLst>
            <pc:docMk/>
            <pc:sldMk cId="3000221620" sldId="262"/>
            <ac:spMk id="2" creationId="{00000000-0000-0000-0000-000000000000}"/>
          </ac:spMkLst>
        </pc:spChg>
        <pc:spChg chg="del">
          <ac:chgData name="Frank Tan (qutan)" userId="1cc8c1fc-bfb1-4b23-ae96-de603ddcbe90" providerId="ADAL" clId="{4AD5E795-8F90-F04B-94B0-3DD4CA04D5EE}" dt="2020-03-18T12:37:42.862" v="428" actId="478"/>
          <ac:spMkLst>
            <pc:docMk/>
            <pc:sldMk cId="3000221620" sldId="262"/>
            <ac:spMk id="8" creationId="{00000000-0000-0000-0000-000000000000}"/>
          </ac:spMkLst>
        </pc:spChg>
        <pc:spChg chg="add del mod">
          <ac:chgData name="Frank Tan (qutan)" userId="1cc8c1fc-bfb1-4b23-ae96-de603ddcbe90" providerId="ADAL" clId="{4AD5E795-8F90-F04B-94B0-3DD4CA04D5EE}" dt="2020-03-18T12:37:49.443" v="430" actId="478"/>
          <ac:spMkLst>
            <pc:docMk/>
            <pc:sldMk cId="3000221620" sldId="262"/>
            <ac:spMk id="9" creationId="{794B54E0-F794-D540-8D18-CF84644267AB}"/>
          </ac:spMkLst>
        </pc:spChg>
        <pc:spChg chg="add mod">
          <ac:chgData name="Frank Tan (qutan)" userId="1cc8c1fc-bfb1-4b23-ae96-de603ddcbe90" providerId="ADAL" clId="{4AD5E795-8F90-F04B-94B0-3DD4CA04D5EE}" dt="2020-03-18T12:37:55.357" v="432"/>
          <ac:spMkLst>
            <pc:docMk/>
            <pc:sldMk cId="3000221620" sldId="262"/>
            <ac:spMk id="10" creationId="{E986C8E5-8105-C14F-8465-0B0D2409992B}"/>
          </ac:spMkLst>
        </pc:spChg>
        <pc:spChg chg="add del mod">
          <ac:chgData name="Frank Tan (qutan)" userId="1cc8c1fc-bfb1-4b23-ae96-de603ddcbe90" providerId="ADAL" clId="{4AD5E795-8F90-F04B-94B0-3DD4CA04D5EE}" dt="2020-03-18T12:38:41.729" v="449" actId="478"/>
          <ac:spMkLst>
            <pc:docMk/>
            <pc:sldMk cId="3000221620" sldId="262"/>
            <ac:spMk id="11" creationId="{3C4BEDA6-C770-134F-BD5F-938889FC7125}"/>
          </ac:spMkLst>
        </pc:spChg>
      </pc:sldChg>
      <pc:sldChg chg="addSp delSp modSp add modTransition">
        <pc:chgData name="Frank Tan (qutan)" userId="1cc8c1fc-bfb1-4b23-ae96-de603ddcbe90" providerId="ADAL" clId="{4AD5E795-8F90-F04B-94B0-3DD4CA04D5EE}" dt="2020-03-19T06:02:08.087" v="1534"/>
        <pc:sldMkLst>
          <pc:docMk/>
          <pc:sldMk cId="1978611209" sldId="263"/>
        </pc:sldMkLst>
        <pc:spChg chg="add del">
          <ac:chgData name="Frank Tan (qutan)" userId="1cc8c1fc-bfb1-4b23-ae96-de603ddcbe90" providerId="ADAL" clId="{4AD5E795-8F90-F04B-94B0-3DD4CA04D5EE}" dt="2020-03-18T12:38:22.173" v="439" actId="478"/>
          <ac:spMkLst>
            <pc:docMk/>
            <pc:sldMk cId="1978611209" sldId="263"/>
            <ac:spMk id="3" creationId="{00000000-0000-0000-0000-000000000000}"/>
          </ac:spMkLst>
        </pc:spChg>
        <pc:spChg chg="add del mod">
          <ac:chgData name="Frank Tan (qutan)" userId="1cc8c1fc-bfb1-4b23-ae96-de603ddcbe90" providerId="ADAL" clId="{4AD5E795-8F90-F04B-94B0-3DD4CA04D5EE}" dt="2020-03-18T12:38:16.886" v="438"/>
          <ac:spMkLst>
            <pc:docMk/>
            <pc:sldMk cId="1978611209" sldId="263"/>
            <ac:spMk id="8" creationId="{D43861A4-B041-5240-9882-4AE7F06D9661}"/>
          </ac:spMkLst>
        </pc:spChg>
        <pc:spChg chg="add del mod">
          <ac:chgData name="Frank Tan (qutan)" userId="1cc8c1fc-bfb1-4b23-ae96-de603ddcbe90" providerId="ADAL" clId="{4AD5E795-8F90-F04B-94B0-3DD4CA04D5EE}" dt="2020-03-18T12:38:16.886" v="438"/>
          <ac:spMkLst>
            <pc:docMk/>
            <pc:sldMk cId="1978611209" sldId="263"/>
            <ac:spMk id="9" creationId="{D59FBE16-85BB-1D4B-B2B5-684B64872403}"/>
          </ac:spMkLst>
        </pc:spChg>
        <pc:spChg chg="add mod">
          <ac:chgData name="Frank Tan (qutan)" userId="1cc8c1fc-bfb1-4b23-ae96-de603ddcbe90" providerId="ADAL" clId="{4AD5E795-8F90-F04B-94B0-3DD4CA04D5EE}" dt="2020-03-18T12:38:33.533" v="446" actId="20577"/>
          <ac:spMkLst>
            <pc:docMk/>
            <pc:sldMk cId="1978611209" sldId="263"/>
            <ac:spMk id="10" creationId="{A3ECD603-1342-F44A-9BE4-3E7F27F25523}"/>
          </ac:spMkLst>
        </pc:spChg>
        <pc:spChg chg="add del mod">
          <ac:chgData name="Frank Tan (qutan)" userId="1cc8c1fc-bfb1-4b23-ae96-de603ddcbe90" providerId="ADAL" clId="{4AD5E795-8F90-F04B-94B0-3DD4CA04D5EE}" dt="2020-03-18T12:38:38.191" v="448" actId="478"/>
          <ac:spMkLst>
            <pc:docMk/>
            <pc:sldMk cId="1978611209" sldId="263"/>
            <ac:spMk id="11" creationId="{B725BB19-BDBA-544C-8D5B-FAE3BC816978}"/>
          </ac:spMkLst>
        </pc:spChg>
        <pc:spChg chg="add del mod">
          <ac:chgData name="Frank Tan (qutan)" userId="1cc8c1fc-bfb1-4b23-ae96-de603ddcbe90" providerId="ADAL" clId="{4AD5E795-8F90-F04B-94B0-3DD4CA04D5EE}" dt="2020-03-18T12:38:35.898" v="447" actId="478"/>
          <ac:spMkLst>
            <pc:docMk/>
            <pc:sldMk cId="1978611209" sldId="263"/>
            <ac:spMk id="12" creationId="{1A569798-26B5-E04A-B27E-DAA1DC77D2E2}"/>
          </ac:spMkLst>
        </pc:spChg>
      </pc:sldChg>
      <pc:sldChg chg="add del">
        <pc:chgData name="Frank Tan (qutan)" userId="1cc8c1fc-bfb1-4b23-ae96-de603ddcbe90" providerId="ADAL" clId="{4AD5E795-8F90-F04B-94B0-3DD4CA04D5EE}" dt="2020-03-18T12:37:37.314" v="426"/>
        <pc:sldMkLst>
          <pc:docMk/>
          <pc:sldMk cId="3004212737" sldId="263"/>
        </pc:sldMkLst>
      </pc:sldChg>
      <pc:sldChg chg="add del">
        <pc:chgData name="Frank Tan (qutan)" userId="1cc8c1fc-bfb1-4b23-ae96-de603ddcbe90" providerId="ADAL" clId="{4AD5E795-8F90-F04B-94B0-3DD4CA04D5EE}" dt="2020-03-18T12:37:11.999" v="414"/>
        <pc:sldMkLst>
          <pc:docMk/>
          <pc:sldMk cId="3127377268" sldId="263"/>
        </pc:sldMkLst>
      </pc:sldChg>
      <pc:sldChg chg="del">
        <pc:chgData name="Frank Tan (qutan)" userId="1cc8c1fc-bfb1-4b23-ae96-de603ddcbe90" providerId="ADAL" clId="{4AD5E795-8F90-F04B-94B0-3DD4CA04D5EE}" dt="2020-03-18T02:06:58.246" v="157" actId="2696"/>
        <pc:sldMkLst>
          <pc:docMk/>
          <pc:sldMk cId="3981653229" sldId="263"/>
        </pc:sldMkLst>
      </pc:sldChg>
      <pc:sldChg chg="del">
        <pc:chgData name="Frank Tan (qutan)" userId="1cc8c1fc-bfb1-4b23-ae96-de603ddcbe90" providerId="ADAL" clId="{4AD5E795-8F90-F04B-94B0-3DD4CA04D5EE}" dt="2020-03-18T02:06:58.346" v="159" actId="2696"/>
        <pc:sldMkLst>
          <pc:docMk/>
          <pc:sldMk cId="4171164121" sldId="264"/>
        </pc:sldMkLst>
      </pc:sldChg>
      <pc:sldChg chg="del">
        <pc:chgData name="Frank Tan (qutan)" userId="1cc8c1fc-bfb1-4b23-ae96-de603ddcbe90" providerId="ADAL" clId="{4AD5E795-8F90-F04B-94B0-3DD4CA04D5EE}" dt="2020-03-18T02:06:58.381" v="160" actId="2696"/>
        <pc:sldMkLst>
          <pc:docMk/>
          <pc:sldMk cId="472871709" sldId="265"/>
        </pc:sldMkLst>
      </pc:sldChg>
      <pc:sldChg chg="del">
        <pc:chgData name="Frank Tan (qutan)" userId="1cc8c1fc-bfb1-4b23-ae96-de603ddcbe90" providerId="ADAL" clId="{4AD5E795-8F90-F04B-94B0-3DD4CA04D5EE}" dt="2020-03-18T02:06:57.168" v="138" actId="2696"/>
        <pc:sldMkLst>
          <pc:docMk/>
          <pc:sldMk cId="2815777606" sldId="266"/>
        </pc:sldMkLst>
      </pc:sldChg>
      <pc:sldChg chg="del">
        <pc:chgData name="Frank Tan (qutan)" userId="1cc8c1fc-bfb1-4b23-ae96-de603ddcbe90" providerId="ADAL" clId="{4AD5E795-8F90-F04B-94B0-3DD4CA04D5EE}" dt="2020-03-18T02:06:57.665" v="150" actId="2696"/>
        <pc:sldMkLst>
          <pc:docMk/>
          <pc:sldMk cId="699221517" sldId="268"/>
        </pc:sldMkLst>
      </pc:sldChg>
      <pc:sldChg chg="del">
        <pc:chgData name="Frank Tan (qutan)" userId="1cc8c1fc-bfb1-4b23-ae96-de603ddcbe90" providerId="ADAL" clId="{4AD5E795-8F90-F04B-94B0-3DD4CA04D5EE}" dt="2020-03-18T02:06:57.231" v="139" actId="2696"/>
        <pc:sldMkLst>
          <pc:docMk/>
          <pc:sldMk cId="3264524865" sldId="272"/>
        </pc:sldMkLst>
      </pc:sldChg>
      <pc:sldChg chg="addSp delSp modSp add modTransition">
        <pc:chgData name="Frank Tan (qutan)" userId="1cc8c1fc-bfb1-4b23-ae96-de603ddcbe90" providerId="ADAL" clId="{4AD5E795-8F90-F04B-94B0-3DD4CA04D5EE}" dt="2020-03-19T06:02:08.087" v="1534"/>
        <pc:sldMkLst>
          <pc:docMk/>
          <pc:sldMk cId="2703209274" sldId="274"/>
        </pc:sldMkLst>
        <pc:spChg chg="del">
          <ac:chgData name="Frank Tan (qutan)" userId="1cc8c1fc-bfb1-4b23-ae96-de603ddcbe90" providerId="ADAL" clId="{4AD5E795-8F90-F04B-94B0-3DD4CA04D5EE}" dt="2020-03-18T16:47:21.934" v="1295" actId="478"/>
          <ac:spMkLst>
            <pc:docMk/>
            <pc:sldMk cId="2703209274" sldId="274"/>
            <ac:spMk id="3" creationId="{00000000-0000-0000-0000-000000000000}"/>
          </ac:spMkLst>
        </pc:spChg>
        <pc:spChg chg="mod">
          <ac:chgData name="Frank Tan (qutan)" userId="1cc8c1fc-bfb1-4b23-ae96-de603ddcbe90" providerId="ADAL" clId="{4AD5E795-8F90-F04B-94B0-3DD4CA04D5EE}" dt="2020-03-18T15:33:44.075" v="1265" actId="2711"/>
          <ac:spMkLst>
            <pc:docMk/>
            <pc:sldMk cId="2703209274" sldId="274"/>
            <ac:spMk id="4" creationId="{00000000-0000-0000-0000-000000000000}"/>
          </ac:spMkLst>
        </pc:spChg>
        <pc:spChg chg="add mod">
          <ac:chgData name="Frank Tan (qutan)" userId="1cc8c1fc-bfb1-4b23-ae96-de603ddcbe90" providerId="ADAL" clId="{4AD5E795-8F90-F04B-94B0-3DD4CA04D5EE}" dt="2020-03-18T16:47:25.420" v="1298" actId="1076"/>
          <ac:spMkLst>
            <pc:docMk/>
            <pc:sldMk cId="2703209274" sldId="274"/>
            <ac:spMk id="6" creationId="{6DFBF00C-4ECF-1248-84F2-0D8BC21D4FC5}"/>
          </ac:spMkLst>
        </pc:spChg>
      </pc:sldChg>
      <pc:sldChg chg="add del">
        <pc:chgData name="Frank Tan (qutan)" userId="1cc8c1fc-bfb1-4b23-ae96-de603ddcbe90" providerId="ADAL" clId="{4AD5E795-8F90-F04B-94B0-3DD4CA04D5EE}" dt="2020-03-18T13:10:57.149" v="746"/>
        <pc:sldMkLst>
          <pc:docMk/>
          <pc:sldMk cId="527989557" sldId="275"/>
        </pc:sldMkLst>
      </pc:sldChg>
      <pc:sldChg chg="add del">
        <pc:chgData name="Frank Tan (qutan)" userId="1cc8c1fc-bfb1-4b23-ae96-de603ddcbe90" providerId="ADAL" clId="{4AD5E795-8F90-F04B-94B0-3DD4CA04D5EE}" dt="2020-03-18T13:11:00.758" v="748"/>
        <pc:sldMkLst>
          <pc:docMk/>
          <pc:sldMk cId="810434571" sldId="275"/>
        </pc:sldMkLst>
      </pc:sldChg>
      <pc:sldChg chg="modSp add modTransition">
        <pc:chgData name="Frank Tan (qutan)" userId="1cc8c1fc-bfb1-4b23-ae96-de603ddcbe90" providerId="ADAL" clId="{4AD5E795-8F90-F04B-94B0-3DD4CA04D5EE}" dt="2020-03-19T06:02:08.087" v="1534"/>
        <pc:sldMkLst>
          <pc:docMk/>
          <pc:sldMk cId="1589766982" sldId="275"/>
        </pc:sldMkLst>
        <pc:spChg chg="mod">
          <ac:chgData name="Frank Tan (qutan)" userId="1cc8c1fc-bfb1-4b23-ae96-de603ddcbe90" providerId="ADAL" clId="{4AD5E795-8F90-F04B-94B0-3DD4CA04D5EE}" dt="2020-03-18T14:19:11.118" v="862" actId="15"/>
          <ac:spMkLst>
            <pc:docMk/>
            <pc:sldMk cId="1589766982" sldId="275"/>
            <ac:spMk id="2" creationId="{2B3B99C4-1CB1-E441-83E5-08D455E592A4}"/>
          </ac:spMkLst>
        </pc:spChg>
      </pc:sldChg>
      <pc:sldChg chg="add modTransition">
        <pc:chgData name="Frank Tan (qutan)" userId="1cc8c1fc-bfb1-4b23-ae96-de603ddcbe90" providerId="ADAL" clId="{4AD5E795-8F90-F04B-94B0-3DD4CA04D5EE}" dt="2020-03-19T06:02:08.087" v="1534"/>
        <pc:sldMkLst>
          <pc:docMk/>
          <pc:sldMk cId="3257333578" sldId="283"/>
        </pc:sldMkLst>
      </pc:sldChg>
      <pc:sldChg chg="add modTransition">
        <pc:chgData name="Frank Tan (qutan)" userId="1cc8c1fc-bfb1-4b23-ae96-de603ddcbe90" providerId="ADAL" clId="{4AD5E795-8F90-F04B-94B0-3DD4CA04D5EE}" dt="2020-03-19T07:26:39.657" v="1683"/>
        <pc:sldMkLst>
          <pc:docMk/>
          <pc:sldMk cId="1505890259" sldId="284"/>
        </pc:sldMkLst>
      </pc:sldChg>
      <pc:sldChg chg="add modTransition">
        <pc:chgData name="Frank Tan (qutan)" userId="1cc8c1fc-bfb1-4b23-ae96-de603ddcbe90" providerId="ADAL" clId="{4AD5E795-8F90-F04B-94B0-3DD4CA04D5EE}" dt="2020-03-19T07:26:39.657" v="1683"/>
        <pc:sldMkLst>
          <pc:docMk/>
          <pc:sldMk cId="1309117720" sldId="285"/>
        </pc:sldMkLst>
      </pc:sldChg>
      <pc:sldChg chg="add modTransition">
        <pc:chgData name="Frank Tan (qutan)" userId="1cc8c1fc-bfb1-4b23-ae96-de603ddcbe90" providerId="ADAL" clId="{4AD5E795-8F90-F04B-94B0-3DD4CA04D5EE}" dt="2020-03-19T07:26:39.657" v="1683"/>
        <pc:sldMkLst>
          <pc:docMk/>
          <pc:sldMk cId="1596752482" sldId="286"/>
        </pc:sldMkLst>
      </pc:sldChg>
      <pc:sldChg chg="add modTransition">
        <pc:chgData name="Frank Tan (qutan)" userId="1cc8c1fc-bfb1-4b23-ae96-de603ddcbe90" providerId="ADAL" clId="{4AD5E795-8F90-F04B-94B0-3DD4CA04D5EE}" dt="2020-03-19T07:26:39.657" v="1683"/>
        <pc:sldMkLst>
          <pc:docMk/>
          <pc:sldMk cId="3731962347" sldId="287"/>
        </pc:sldMkLst>
      </pc:sldChg>
      <pc:sldChg chg="add modTransition">
        <pc:chgData name="Frank Tan (qutan)" userId="1cc8c1fc-bfb1-4b23-ae96-de603ddcbe90" providerId="ADAL" clId="{4AD5E795-8F90-F04B-94B0-3DD4CA04D5EE}" dt="2020-03-19T07:26:39.657" v="1683"/>
        <pc:sldMkLst>
          <pc:docMk/>
          <pc:sldMk cId="218007157" sldId="289"/>
        </pc:sldMkLst>
      </pc:sldChg>
      <pc:sldChg chg="add modTransition">
        <pc:chgData name="Frank Tan (qutan)" userId="1cc8c1fc-bfb1-4b23-ae96-de603ddcbe90" providerId="ADAL" clId="{4AD5E795-8F90-F04B-94B0-3DD4CA04D5EE}" dt="2020-03-19T07:26:39.657" v="1683"/>
        <pc:sldMkLst>
          <pc:docMk/>
          <pc:sldMk cId="1000457186" sldId="290"/>
        </pc:sldMkLst>
      </pc:sldChg>
      <pc:sldChg chg="add modTransition">
        <pc:chgData name="Frank Tan (qutan)" userId="1cc8c1fc-bfb1-4b23-ae96-de603ddcbe90" providerId="ADAL" clId="{4AD5E795-8F90-F04B-94B0-3DD4CA04D5EE}" dt="2020-03-19T07:26:39.657" v="1683"/>
        <pc:sldMkLst>
          <pc:docMk/>
          <pc:sldMk cId="761011037" sldId="295"/>
        </pc:sldMkLst>
      </pc:sldChg>
      <pc:sldChg chg="add modTransition">
        <pc:chgData name="Frank Tan (qutan)" userId="1cc8c1fc-bfb1-4b23-ae96-de603ddcbe90" providerId="ADAL" clId="{4AD5E795-8F90-F04B-94B0-3DD4CA04D5EE}" dt="2020-03-19T07:26:39.657" v="1683"/>
        <pc:sldMkLst>
          <pc:docMk/>
          <pc:sldMk cId="4243752141" sldId="296"/>
        </pc:sldMkLst>
      </pc:sldChg>
      <pc:sldChg chg="add modTransition">
        <pc:chgData name="Frank Tan (qutan)" userId="1cc8c1fc-bfb1-4b23-ae96-de603ddcbe90" providerId="ADAL" clId="{4AD5E795-8F90-F04B-94B0-3DD4CA04D5EE}" dt="2020-03-19T07:26:39.657" v="1683"/>
        <pc:sldMkLst>
          <pc:docMk/>
          <pc:sldMk cId="2058331894" sldId="297"/>
        </pc:sldMkLst>
      </pc:sldChg>
      <pc:sldChg chg="add modTransition">
        <pc:chgData name="Frank Tan (qutan)" userId="1cc8c1fc-bfb1-4b23-ae96-de603ddcbe90" providerId="ADAL" clId="{4AD5E795-8F90-F04B-94B0-3DD4CA04D5EE}" dt="2020-03-19T07:26:39.657" v="1683"/>
        <pc:sldMkLst>
          <pc:docMk/>
          <pc:sldMk cId="3688182427" sldId="299"/>
        </pc:sldMkLst>
      </pc:sldChg>
      <pc:sldChg chg="add modTransition">
        <pc:chgData name="Frank Tan (qutan)" userId="1cc8c1fc-bfb1-4b23-ae96-de603ddcbe90" providerId="ADAL" clId="{4AD5E795-8F90-F04B-94B0-3DD4CA04D5EE}" dt="2020-03-19T07:26:39.657" v="1683"/>
        <pc:sldMkLst>
          <pc:docMk/>
          <pc:sldMk cId="105327768" sldId="300"/>
        </pc:sldMkLst>
      </pc:sldChg>
      <pc:sldChg chg="add modTransition">
        <pc:chgData name="Frank Tan (qutan)" userId="1cc8c1fc-bfb1-4b23-ae96-de603ddcbe90" providerId="ADAL" clId="{4AD5E795-8F90-F04B-94B0-3DD4CA04D5EE}" dt="2020-03-19T07:26:39.657" v="1683"/>
        <pc:sldMkLst>
          <pc:docMk/>
          <pc:sldMk cId="905663445" sldId="302"/>
        </pc:sldMkLst>
      </pc:sldChg>
      <pc:sldChg chg="modSp add modTransition">
        <pc:chgData name="Frank Tan (qutan)" userId="1cc8c1fc-bfb1-4b23-ae96-de603ddcbe90" providerId="ADAL" clId="{4AD5E795-8F90-F04B-94B0-3DD4CA04D5EE}" dt="2020-03-19T06:02:08.087" v="1534"/>
        <pc:sldMkLst>
          <pc:docMk/>
          <pc:sldMk cId="1230716199" sldId="304"/>
        </pc:sldMkLst>
        <pc:spChg chg="mod">
          <ac:chgData name="Frank Tan (qutan)" userId="1cc8c1fc-bfb1-4b23-ae96-de603ddcbe90" providerId="ADAL" clId="{4AD5E795-8F90-F04B-94B0-3DD4CA04D5EE}" dt="2020-03-18T15:15:28.017" v="1046"/>
          <ac:spMkLst>
            <pc:docMk/>
            <pc:sldMk cId="1230716199" sldId="304"/>
            <ac:spMk id="3" creationId="{00000000-0000-0000-0000-000000000000}"/>
          </ac:spMkLst>
        </pc:spChg>
      </pc:sldChg>
      <pc:sldChg chg="add modTransition">
        <pc:chgData name="Frank Tan (qutan)" userId="1cc8c1fc-bfb1-4b23-ae96-de603ddcbe90" providerId="ADAL" clId="{4AD5E795-8F90-F04B-94B0-3DD4CA04D5EE}" dt="2020-03-19T06:02:08.087" v="1534"/>
        <pc:sldMkLst>
          <pc:docMk/>
          <pc:sldMk cId="4050104515" sldId="305"/>
        </pc:sldMkLst>
      </pc:sldChg>
      <pc:sldChg chg="addSp delSp modSp add modTransition modAnim">
        <pc:chgData name="Frank Tan (qutan)" userId="1cc8c1fc-bfb1-4b23-ae96-de603ddcbe90" providerId="ADAL" clId="{4AD5E795-8F90-F04B-94B0-3DD4CA04D5EE}" dt="2020-03-19T07:19:23.371" v="1680"/>
        <pc:sldMkLst>
          <pc:docMk/>
          <pc:sldMk cId="2812010654" sldId="306"/>
        </pc:sldMkLst>
        <pc:spChg chg="add del">
          <ac:chgData name="Frank Tan (qutan)" userId="1cc8c1fc-bfb1-4b23-ae96-de603ddcbe90" providerId="ADAL" clId="{4AD5E795-8F90-F04B-94B0-3DD4CA04D5EE}" dt="2020-03-19T07:18:07.556" v="1664"/>
          <ac:spMkLst>
            <pc:docMk/>
            <pc:sldMk cId="2812010654" sldId="306"/>
            <ac:spMk id="5" creationId="{CD81FA29-E684-314D-862D-A1208FDFF62F}"/>
          </ac:spMkLst>
        </pc:spChg>
        <pc:spChg chg="mod">
          <ac:chgData name="Frank Tan (qutan)" userId="1cc8c1fc-bfb1-4b23-ae96-de603ddcbe90" providerId="ADAL" clId="{4AD5E795-8F90-F04B-94B0-3DD4CA04D5EE}" dt="2020-03-19T07:17:59.466" v="1662" actId="1076"/>
          <ac:spMkLst>
            <pc:docMk/>
            <pc:sldMk cId="2812010654" sldId="306"/>
            <ac:spMk id="6" creationId="{00000000-0000-0000-0000-000000000000}"/>
          </ac:spMkLst>
        </pc:spChg>
        <pc:spChg chg="add del mod">
          <ac:chgData name="Frank Tan (qutan)" userId="1cc8c1fc-bfb1-4b23-ae96-de603ddcbe90" providerId="ADAL" clId="{4AD5E795-8F90-F04B-94B0-3DD4CA04D5EE}" dt="2020-03-19T07:18:25.618" v="1671" actId="478"/>
          <ac:spMkLst>
            <pc:docMk/>
            <pc:sldMk cId="2812010654" sldId="306"/>
            <ac:spMk id="7" creationId="{AB2B0FA3-4692-6D49-BFC6-A42D91EC1EC4}"/>
          </ac:spMkLst>
        </pc:spChg>
        <pc:spChg chg="add mod">
          <ac:chgData name="Frank Tan (qutan)" userId="1cc8c1fc-bfb1-4b23-ae96-de603ddcbe90" providerId="ADAL" clId="{4AD5E795-8F90-F04B-94B0-3DD4CA04D5EE}" dt="2020-03-19T07:19:14.311" v="1679" actId="14100"/>
          <ac:spMkLst>
            <pc:docMk/>
            <pc:sldMk cId="2812010654" sldId="306"/>
            <ac:spMk id="8" creationId="{D54A4D26-575C-0549-BC63-01E259F937D3}"/>
          </ac:spMkLst>
        </pc:spChg>
        <pc:picChg chg="add del">
          <ac:chgData name="Frank Tan (qutan)" userId="1cc8c1fc-bfb1-4b23-ae96-de603ddcbe90" providerId="ADAL" clId="{4AD5E795-8F90-F04B-94B0-3DD4CA04D5EE}" dt="2020-03-19T07:18:08.970" v="1666"/>
          <ac:picMkLst>
            <pc:docMk/>
            <pc:sldMk cId="2812010654" sldId="306"/>
            <ac:picMk id="3" creationId="{3D9F130C-9392-3340-B2A5-64741BD59FC9}"/>
          </ac:picMkLst>
        </pc:picChg>
      </pc:sldChg>
      <pc:sldChg chg="add modTransition">
        <pc:chgData name="Frank Tan (qutan)" userId="1cc8c1fc-bfb1-4b23-ae96-de603ddcbe90" providerId="ADAL" clId="{4AD5E795-8F90-F04B-94B0-3DD4CA04D5EE}" dt="2020-03-19T06:02:08.087" v="1534"/>
        <pc:sldMkLst>
          <pc:docMk/>
          <pc:sldMk cId="782504548" sldId="310"/>
        </pc:sldMkLst>
      </pc:sldChg>
      <pc:sldChg chg="add modTransition">
        <pc:chgData name="Frank Tan (qutan)" userId="1cc8c1fc-bfb1-4b23-ae96-de603ddcbe90" providerId="ADAL" clId="{4AD5E795-8F90-F04B-94B0-3DD4CA04D5EE}" dt="2020-03-19T07:26:39.657" v="1683"/>
        <pc:sldMkLst>
          <pc:docMk/>
          <pc:sldMk cId="2196624081" sldId="317"/>
        </pc:sldMkLst>
      </pc:sldChg>
      <pc:sldChg chg="add modTransition">
        <pc:chgData name="Frank Tan (qutan)" userId="1cc8c1fc-bfb1-4b23-ae96-de603ddcbe90" providerId="ADAL" clId="{4AD5E795-8F90-F04B-94B0-3DD4CA04D5EE}" dt="2020-03-19T07:26:39.657" v="1683"/>
        <pc:sldMkLst>
          <pc:docMk/>
          <pc:sldMk cId="1956338794" sldId="319"/>
        </pc:sldMkLst>
      </pc:sldChg>
      <pc:sldChg chg="add modTransition">
        <pc:chgData name="Frank Tan (qutan)" userId="1cc8c1fc-bfb1-4b23-ae96-de603ddcbe90" providerId="ADAL" clId="{4AD5E795-8F90-F04B-94B0-3DD4CA04D5EE}" dt="2020-03-19T07:26:39.657" v="1683"/>
        <pc:sldMkLst>
          <pc:docMk/>
          <pc:sldMk cId="308613119" sldId="320"/>
        </pc:sldMkLst>
      </pc:sldChg>
      <pc:sldChg chg="add modTransition">
        <pc:chgData name="Frank Tan (qutan)" userId="1cc8c1fc-bfb1-4b23-ae96-de603ddcbe90" providerId="ADAL" clId="{4AD5E795-8F90-F04B-94B0-3DD4CA04D5EE}" dt="2020-03-19T07:26:39.657" v="1683"/>
        <pc:sldMkLst>
          <pc:docMk/>
          <pc:sldMk cId="3133168735" sldId="322"/>
        </pc:sldMkLst>
      </pc:sldChg>
      <pc:sldChg chg="add modTransition">
        <pc:chgData name="Frank Tan (qutan)" userId="1cc8c1fc-bfb1-4b23-ae96-de603ddcbe90" providerId="ADAL" clId="{4AD5E795-8F90-F04B-94B0-3DD4CA04D5EE}" dt="2020-03-19T06:02:08.087" v="1534"/>
        <pc:sldMkLst>
          <pc:docMk/>
          <pc:sldMk cId="3790179044" sldId="328"/>
        </pc:sldMkLst>
      </pc:sldChg>
      <pc:sldChg chg="add modTransition">
        <pc:chgData name="Frank Tan (qutan)" userId="1cc8c1fc-bfb1-4b23-ae96-de603ddcbe90" providerId="ADAL" clId="{4AD5E795-8F90-F04B-94B0-3DD4CA04D5EE}" dt="2020-03-19T06:02:08.087" v="1534"/>
        <pc:sldMkLst>
          <pc:docMk/>
          <pc:sldMk cId="2043890007" sldId="329"/>
        </pc:sldMkLst>
      </pc:sldChg>
      <pc:sldChg chg="add modTransition">
        <pc:chgData name="Frank Tan (qutan)" userId="1cc8c1fc-bfb1-4b23-ae96-de603ddcbe90" providerId="ADAL" clId="{4AD5E795-8F90-F04B-94B0-3DD4CA04D5EE}" dt="2020-03-19T06:02:08.087" v="1534"/>
        <pc:sldMkLst>
          <pc:docMk/>
          <pc:sldMk cId="2991801366" sldId="332"/>
        </pc:sldMkLst>
      </pc:sldChg>
      <pc:sldChg chg="add modTransition">
        <pc:chgData name="Frank Tan (qutan)" userId="1cc8c1fc-bfb1-4b23-ae96-de603ddcbe90" providerId="ADAL" clId="{4AD5E795-8F90-F04B-94B0-3DD4CA04D5EE}" dt="2020-03-19T07:26:39.657" v="1683"/>
        <pc:sldMkLst>
          <pc:docMk/>
          <pc:sldMk cId="1844222286" sldId="333"/>
        </pc:sldMkLst>
      </pc:sldChg>
      <pc:sldChg chg="add modTransition">
        <pc:chgData name="Frank Tan (qutan)" userId="1cc8c1fc-bfb1-4b23-ae96-de603ddcbe90" providerId="ADAL" clId="{4AD5E795-8F90-F04B-94B0-3DD4CA04D5EE}" dt="2020-03-19T07:26:39.657" v="1683"/>
        <pc:sldMkLst>
          <pc:docMk/>
          <pc:sldMk cId="70033577" sldId="334"/>
        </pc:sldMkLst>
      </pc:sldChg>
      <pc:sldChg chg="add modTransition">
        <pc:chgData name="Frank Tan (qutan)" userId="1cc8c1fc-bfb1-4b23-ae96-de603ddcbe90" providerId="ADAL" clId="{4AD5E795-8F90-F04B-94B0-3DD4CA04D5EE}" dt="2020-03-19T06:02:08.087" v="1534"/>
        <pc:sldMkLst>
          <pc:docMk/>
          <pc:sldMk cId="1297275759" sldId="337"/>
        </pc:sldMkLst>
      </pc:sldChg>
      <pc:sldChg chg="del">
        <pc:chgData name="Frank Tan (qutan)" userId="1cc8c1fc-bfb1-4b23-ae96-de603ddcbe90" providerId="ADAL" clId="{4AD5E795-8F90-F04B-94B0-3DD4CA04D5EE}" dt="2020-03-18T02:06:57.263" v="140" actId="2696"/>
        <pc:sldMkLst>
          <pc:docMk/>
          <pc:sldMk cId="1418419734" sldId="359"/>
        </pc:sldMkLst>
      </pc:sldChg>
      <pc:sldChg chg="del">
        <pc:chgData name="Frank Tan (qutan)" userId="1cc8c1fc-bfb1-4b23-ae96-de603ddcbe90" providerId="ADAL" clId="{4AD5E795-8F90-F04B-94B0-3DD4CA04D5EE}" dt="2020-03-18T02:06:57.290" v="141" actId="2696"/>
        <pc:sldMkLst>
          <pc:docMk/>
          <pc:sldMk cId="628391115" sldId="371"/>
        </pc:sldMkLst>
      </pc:sldChg>
      <pc:sldChg chg="del">
        <pc:chgData name="Frank Tan (qutan)" userId="1cc8c1fc-bfb1-4b23-ae96-de603ddcbe90" providerId="ADAL" clId="{4AD5E795-8F90-F04B-94B0-3DD4CA04D5EE}" dt="2020-03-18T02:06:57.362" v="144" actId="2696"/>
        <pc:sldMkLst>
          <pc:docMk/>
          <pc:sldMk cId="1876775129" sldId="373"/>
        </pc:sldMkLst>
      </pc:sldChg>
      <pc:sldChg chg="addSp delSp modSp add del modTransition delAnim">
        <pc:chgData name="Frank Tan (qutan)" userId="1cc8c1fc-bfb1-4b23-ae96-de603ddcbe90" providerId="ADAL" clId="{4AD5E795-8F90-F04B-94B0-3DD4CA04D5EE}" dt="2020-03-18T12:37:14.298" v="422" actId="2696"/>
        <pc:sldMkLst>
          <pc:docMk/>
          <pc:sldMk cId="2968303319" sldId="401"/>
        </pc:sldMkLst>
        <pc:spChg chg="add del mod">
          <ac:chgData name="Frank Tan (qutan)" userId="1cc8c1fc-bfb1-4b23-ae96-de603ddcbe90" providerId="ADAL" clId="{4AD5E795-8F90-F04B-94B0-3DD4CA04D5EE}" dt="2020-03-18T08:39:23.179" v="367"/>
          <ac:spMkLst>
            <pc:docMk/>
            <pc:sldMk cId="2968303319" sldId="401"/>
            <ac:spMk id="2" creationId="{B48A06EA-CE9C-7A48-A9EB-EA2C29A08EBA}"/>
          </ac:spMkLst>
        </pc:spChg>
        <pc:spChg chg="mod">
          <ac:chgData name="Frank Tan (qutan)" userId="1cc8c1fc-bfb1-4b23-ae96-de603ddcbe90" providerId="ADAL" clId="{4AD5E795-8F90-F04B-94B0-3DD4CA04D5EE}" dt="2020-03-18T08:38:20.675" v="338"/>
          <ac:spMkLst>
            <pc:docMk/>
            <pc:sldMk cId="2968303319" sldId="401"/>
            <ac:spMk id="107522" creationId="{00000000-0000-0000-0000-000000000000}"/>
          </ac:spMkLst>
        </pc:spChg>
        <pc:spChg chg="mod">
          <ac:chgData name="Frank Tan (qutan)" userId="1cc8c1fc-bfb1-4b23-ae96-de603ddcbe90" providerId="ADAL" clId="{4AD5E795-8F90-F04B-94B0-3DD4CA04D5EE}" dt="2020-03-18T08:38:55.201" v="357" actId="20577"/>
          <ac:spMkLst>
            <pc:docMk/>
            <pc:sldMk cId="2968303319" sldId="401"/>
            <ac:spMk id="555012" creationId="{00000000-0000-0000-0000-000000000000}"/>
          </ac:spMkLst>
        </pc:spChg>
        <pc:spChg chg="mod">
          <ac:chgData name="Frank Tan (qutan)" userId="1cc8c1fc-bfb1-4b23-ae96-de603ddcbe90" providerId="ADAL" clId="{4AD5E795-8F90-F04B-94B0-3DD4CA04D5EE}" dt="2020-03-18T08:38:58.755" v="361" actId="20577"/>
          <ac:spMkLst>
            <pc:docMk/>
            <pc:sldMk cId="2968303319" sldId="401"/>
            <ac:spMk id="555013" creationId="{00000000-0000-0000-0000-000000000000}"/>
          </ac:spMkLst>
        </pc:spChg>
        <pc:spChg chg="mod">
          <ac:chgData name="Frank Tan (qutan)" userId="1cc8c1fc-bfb1-4b23-ae96-de603ddcbe90" providerId="ADAL" clId="{4AD5E795-8F90-F04B-94B0-3DD4CA04D5EE}" dt="2020-03-18T08:38:52.761" v="351" actId="20577"/>
          <ac:spMkLst>
            <pc:docMk/>
            <pc:sldMk cId="2968303319" sldId="401"/>
            <ac:spMk id="555014" creationId="{00000000-0000-0000-0000-000000000000}"/>
          </ac:spMkLst>
        </pc:spChg>
        <pc:spChg chg="del mod">
          <ac:chgData name="Frank Tan (qutan)" userId="1cc8c1fc-bfb1-4b23-ae96-de603ddcbe90" providerId="ADAL" clId="{4AD5E795-8F90-F04B-94B0-3DD4CA04D5EE}" dt="2020-03-18T08:39:21.474" v="365" actId="478"/>
          <ac:spMkLst>
            <pc:docMk/>
            <pc:sldMk cId="2968303319" sldId="401"/>
            <ac:spMk id="555018" creationId="{00000000-0000-0000-0000-000000000000}"/>
          </ac:spMkLst>
        </pc:spChg>
        <pc:graphicFrameChg chg="add del mod">
          <ac:chgData name="Frank Tan (qutan)" userId="1cc8c1fc-bfb1-4b23-ae96-de603ddcbe90" providerId="ADAL" clId="{4AD5E795-8F90-F04B-94B0-3DD4CA04D5EE}" dt="2020-03-18T08:39:35.593" v="371" actId="478"/>
          <ac:graphicFrameMkLst>
            <pc:docMk/>
            <pc:sldMk cId="2968303319" sldId="401"/>
            <ac:graphicFrameMk id="3" creationId="{A1C3A1CA-8D79-024F-A571-8691B8FC51BA}"/>
          </ac:graphicFrameMkLst>
        </pc:graphicFrameChg>
        <pc:graphicFrameChg chg="add del mod modGraphic">
          <ac:chgData name="Frank Tan (qutan)" userId="1cc8c1fc-bfb1-4b23-ae96-de603ddcbe90" providerId="ADAL" clId="{4AD5E795-8F90-F04B-94B0-3DD4CA04D5EE}" dt="2020-03-18T08:55:06.078" v="396" actId="478"/>
          <ac:graphicFrameMkLst>
            <pc:docMk/>
            <pc:sldMk cId="2968303319" sldId="401"/>
            <ac:graphicFrameMk id="11" creationId="{38289683-7D60-634D-A173-D8C10E8341D2}"/>
          </ac:graphicFrameMkLst>
        </pc:graphicFrameChg>
      </pc:sldChg>
      <pc:sldChg chg="addSp delSp modSp modTransition">
        <pc:chgData name="Frank Tan (qutan)" userId="1cc8c1fc-bfb1-4b23-ae96-de603ddcbe90" providerId="ADAL" clId="{4AD5E795-8F90-F04B-94B0-3DD4CA04D5EE}" dt="2020-03-19T06:02:08.087" v="1534"/>
        <pc:sldMkLst>
          <pc:docMk/>
          <pc:sldMk cId="3225929323" sldId="1979422027"/>
        </pc:sldMkLst>
        <pc:spChg chg="add del mod">
          <ac:chgData name="Frank Tan (qutan)" userId="1cc8c1fc-bfb1-4b23-ae96-de603ddcbe90" providerId="ADAL" clId="{4AD5E795-8F90-F04B-94B0-3DD4CA04D5EE}" dt="2020-03-18T02:08:03.066" v="163"/>
          <ac:spMkLst>
            <pc:docMk/>
            <pc:sldMk cId="3225929323" sldId="1979422027"/>
            <ac:spMk id="2" creationId="{0193D715-4DDE-E44E-8EB8-711E2E6F2781}"/>
          </ac:spMkLst>
        </pc:spChg>
        <pc:spChg chg="add del">
          <ac:chgData name="Frank Tan (qutan)" userId="1cc8c1fc-bfb1-4b23-ae96-de603ddcbe90" providerId="ADAL" clId="{4AD5E795-8F90-F04B-94B0-3DD4CA04D5EE}" dt="2020-03-18T12:37:19.766" v="424"/>
          <ac:spMkLst>
            <pc:docMk/>
            <pc:sldMk cId="3225929323" sldId="1979422027"/>
            <ac:spMk id="2" creationId="{DC3D3B60-FB88-5840-A23C-5FDBA1BA562B}"/>
          </ac:spMkLst>
        </pc:spChg>
        <pc:spChg chg="mod">
          <ac:chgData name="Frank Tan (qutan)" userId="1cc8c1fc-bfb1-4b23-ae96-de603ddcbe90" providerId="ADAL" clId="{4AD5E795-8F90-F04B-94B0-3DD4CA04D5EE}" dt="2020-03-19T03:04:04.418" v="1499" actId="20577"/>
          <ac:spMkLst>
            <pc:docMk/>
            <pc:sldMk cId="3225929323" sldId="1979422027"/>
            <ac:spMk id="4" creationId="{D891410B-5DD0-BE4F-B12F-737A13614620}"/>
          </ac:spMkLst>
        </pc:spChg>
      </pc:sldChg>
      <pc:sldChg chg="modTransition">
        <pc:chgData name="Frank Tan (qutan)" userId="1cc8c1fc-bfb1-4b23-ae96-de603ddcbe90" providerId="ADAL" clId="{4AD5E795-8F90-F04B-94B0-3DD4CA04D5EE}" dt="2020-03-19T06:02:08.087" v="1534"/>
        <pc:sldMkLst>
          <pc:docMk/>
          <pc:sldMk cId="3408564166" sldId="1979422029"/>
        </pc:sldMkLst>
      </pc:sldChg>
      <pc:sldChg chg="del">
        <pc:chgData name="Frank Tan (qutan)" userId="1cc8c1fc-bfb1-4b23-ae96-de603ddcbe90" providerId="ADAL" clId="{4AD5E795-8F90-F04B-94B0-3DD4CA04D5EE}" dt="2020-03-18T02:06:57.343" v="143" actId="2696"/>
        <pc:sldMkLst>
          <pc:docMk/>
          <pc:sldMk cId="1089277056" sldId="1979422030"/>
        </pc:sldMkLst>
      </pc:sldChg>
      <pc:sldChg chg="addSp delSp modSp modTransition">
        <pc:chgData name="Frank Tan (qutan)" userId="1cc8c1fc-bfb1-4b23-ae96-de603ddcbe90" providerId="ADAL" clId="{4AD5E795-8F90-F04B-94B0-3DD4CA04D5EE}" dt="2020-03-19T06:02:08.087" v="1534"/>
        <pc:sldMkLst>
          <pc:docMk/>
          <pc:sldMk cId="1555614157" sldId="1979422034"/>
        </pc:sldMkLst>
        <pc:spChg chg="mod">
          <ac:chgData name="Frank Tan (qutan)" userId="1cc8c1fc-bfb1-4b23-ae96-de603ddcbe90" providerId="ADAL" clId="{4AD5E795-8F90-F04B-94B0-3DD4CA04D5EE}" dt="2020-03-19T02:33:35.449" v="1438" actId="14100"/>
          <ac:spMkLst>
            <pc:docMk/>
            <pc:sldMk cId="1555614157" sldId="1979422034"/>
            <ac:spMk id="6" creationId="{6D1CB1D4-DD93-9A4C-BC5C-065923FD71B9}"/>
          </ac:spMkLst>
        </pc:spChg>
        <pc:picChg chg="del">
          <ac:chgData name="Frank Tan (qutan)" userId="1cc8c1fc-bfb1-4b23-ae96-de603ddcbe90" providerId="ADAL" clId="{4AD5E795-8F90-F04B-94B0-3DD4CA04D5EE}" dt="2020-03-19T01:44:15.931" v="1300" actId="478"/>
          <ac:picMkLst>
            <pc:docMk/>
            <pc:sldMk cId="1555614157" sldId="1979422034"/>
            <ac:picMk id="2" creationId="{1F159140-71DD-E744-9304-9151AAE461BC}"/>
          </ac:picMkLst>
        </pc:picChg>
        <pc:picChg chg="add mod">
          <ac:chgData name="Frank Tan (qutan)" userId="1cc8c1fc-bfb1-4b23-ae96-de603ddcbe90" providerId="ADAL" clId="{4AD5E795-8F90-F04B-94B0-3DD4CA04D5EE}" dt="2020-03-19T02:33:45.508" v="1441" actId="1076"/>
          <ac:picMkLst>
            <pc:docMk/>
            <pc:sldMk cId="1555614157" sldId="1979422034"/>
            <ac:picMk id="3" creationId="{B02CA38E-3F75-4941-B4A3-DFD092BA74FF}"/>
          </ac:picMkLst>
        </pc:picChg>
      </pc:sldChg>
      <pc:sldChg chg="modTransition">
        <pc:chgData name="Frank Tan (qutan)" userId="1cc8c1fc-bfb1-4b23-ae96-de603ddcbe90" providerId="ADAL" clId="{4AD5E795-8F90-F04B-94B0-3DD4CA04D5EE}" dt="2020-03-19T06:02:08.087" v="1534"/>
        <pc:sldMkLst>
          <pc:docMk/>
          <pc:sldMk cId="798468249" sldId="1979422036"/>
        </pc:sldMkLst>
      </pc:sldChg>
      <pc:sldChg chg="del">
        <pc:chgData name="Frank Tan (qutan)" userId="1cc8c1fc-bfb1-4b23-ae96-de603ddcbe90" providerId="ADAL" clId="{4AD5E795-8F90-F04B-94B0-3DD4CA04D5EE}" dt="2020-03-18T02:06:57.321" v="142" actId="2696"/>
        <pc:sldMkLst>
          <pc:docMk/>
          <pc:sldMk cId="4205707967" sldId="1979422037"/>
        </pc:sldMkLst>
      </pc:sldChg>
      <pc:sldChg chg="del">
        <pc:chgData name="Frank Tan (qutan)" userId="1cc8c1fc-bfb1-4b23-ae96-de603ddcbe90" providerId="ADAL" clId="{4AD5E795-8F90-F04B-94B0-3DD4CA04D5EE}" dt="2020-03-18T02:06:57.380" v="145" actId="2696"/>
        <pc:sldMkLst>
          <pc:docMk/>
          <pc:sldMk cId="2941230178" sldId="1979422038"/>
        </pc:sldMkLst>
      </pc:sldChg>
      <pc:sldChg chg="del">
        <pc:chgData name="Frank Tan (qutan)" userId="1cc8c1fc-bfb1-4b23-ae96-de603ddcbe90" providerId="ADAL" clId="{4AD5E795-8F90-F04B-94B0-3DD4CA04D5EE}" dt="2020-03-18T02:06:57.444" v="148" actId="2696"/>
        <pc:sldMkLst>
          <pc:docMk/>
          <pc:sldMk cId="3892474346" sldId="1979422039"/>
        </pc:sldMkLst>
      </pc:sldChg>
      <pc:sldChg chg="del">
        <pc:chgData name="Frank Tan (qutan)" userId="1cc8c1fc-bfb1-4b23-ae96-de603ddcbe90" providerId="ADAL" clId="{4AD5E795-8F90-F04B-94B0-3DD4CA04D5EE}" dt="2020-03-18T02:06:57.426" v="147" actId="2696"/>
        <pc:sldMkLst>
          <pc:docMk/>
          <pc:sldMk cId="4160431623" sldId="1979422040"/>
        </pc:sldMkLst>
      </pc:sldChg>
      <pc:sldChg chg="del">
        <pc:chgData name="Frank Tan (qutan)" userId="1cc8c1fc-bfb1-4b23-ae96-de603ddcbe90" providerId="ADAL" clId="{4AD5E795-8F90-F04B-94B0-3DD4CA04D5EE}" dt="2020-03-18T02:06:57.455" v="149" actId="2696"/>
        <pc:sldMkLst>
          <pc:docMk/>
          <pc:sldMk cId="2742378154" sldId="1979422041"/>
        </pc:sldMkLst>
      </pc:sldChg>
      <pc:sldChg chg="del">
        <pc:chgData name="Frank Tan (qutan)" userId="1cc8c1fc-bfb1-4b23-ae96-de603ddcbe90" providerId="ADAL" clId="{4AD5E795-8F90-F04B-94B0-3DD4CA04D5EE}" dt="2020-03-18T02:06:57.402" v="146" actId="2696"/>
        <pc:sldMkLst>
          <pc:docMk/>
          <pc:sldMk cId="1145715636" sldId="1979422043"/>
        </pc:sldMkLst>
      </pc:sldChg>
      <pc:sldChg chg="del">
        <pc:chgData name="Frank Tan (qutan)" userId="1cc8c1fc-bfb1-4b23-ae96-de603ddcbe90" providerId="ADAL" clId="{4AD5E795-8F90-F04B-94B0-3DD4CA04D5EE}" dt="2020-03-18T02:06:58.054" v="151" actId="2696"/>
        <pc:sldMkLst>
          <pc:docMk/>
          <pc:sldMk cId="956775554" sldId="1979422044"/>
        </pc:sldMkLst>
      </pc:sldChg>
      <pc:sldChg chg="del">
        <pc:chgData name="Frank Tan (qutan)" userId="1cc8c1fc-bfb1-4b23-ae96-de603ddcbe90" providerId="ADAL" clId="{4AD5E795-8F90-F04B-94B0-3DD4CA04D5EE}" dt="2020-03-18T02:06:58.078" v="152" actId="2696"/>
        <pc:sldMkLst>
          <pc:docMk/>
          <pc:sldMk cId="147948150" sldId="1979422045"/>
        </pc:sldMkLst>
      </pc:sldChg>
      <pc:sldChg chg="del">
        <pc:chgData name="Frank Tan (qutan)" userId="1cc8c1fc-bfb1-4b23-ae96-de603ddcbe90" providerId="ADAL" clId="{4AD5E795-8F90-F04B-94B0-3DD4CA04D5EE}" dt="2020-03-18T02:06:58.111" v="153" actId="2696"/>
        <pc:sldMkLst>
          <pc:docMk/>
          <pc:sldMk cId="3172027343" sldId="1979422046"/>
        </pc:sldMkLst>
      </pc:sldChg>
      <pc:sldChg chg="del">
        <pc:chgData name="Frank Tan (qutan)" userId="1cc8c1fc-bfb1-4b23-ae96-de603ddcbe90" providerId="ADAL" clId="{4AD5E795-8F90-F04B-94B0-3DD4CA04D5EE}" dt="2020-03-18T02:06:58.182" v="155" actId="2696"/>
        <pc:sldMkLst>
          <pc:docMk/>
          <pc:sldMk cId="1824193528" sldId="1979422047"/>
        </pc:sldMkLst>
      </pc:sldChg>
      <pc:sldChg chg="addSp delSp modSp modTransition">
        <pc:chgData name="Frank Tan (qutan)" userId="1cc8c1fc-bfb1-4b23-ae96-de603ddcbe90" providerId="ADAL" clId="{4AD5E795-8F90-F04B-94B0-3DD4CA04D5EE}" dt="2020-03-19T07:46:21.626" v="1692" actId="1076"/>
        <pc:sldMkLst>
          <pc:docMk/>
          <pc:sldMk cId="127713431" sldId="1979422048"/>
        </pc:sldMkLst>
        <pc:spChg chg="add mod">
          <ac:chgData name="Frank Tan (qutan)" userId="1cc8c1fc-bfb1-4b23-ae96-de603ddcbe90" providerId="ADAL" clId="{4AD5E795-8F90-F04B-94B0-3DD4CA04D5EE}" dt="2020-03-19T07:46:21.626" v="1692" actId="1076"/>
          <ac:spMkLst>
            <pc:docMk/>
            <pc:sldMk cId="127713431" sldId="1979422048"/>
            <ac:spMk id="2" creationId="{553B41B5-58EB-5E45-8CFB-50F630FD9C24}"/>
          </ac:spMkLst>
        </pc:spChg>
        <pc:spChg chg="add mod">
          <ac:chgData name="Frank Tan (qutan)" userId="1cc8c1fc-bfb1-4b23-ae96-de603ddcbe90" providerId="ADAL" clId="{4AD5E795-8F90-F04B-94B0-3DD4CA04D5EE}" dt="2020-03-19T02:59:55.650" v="1483" actId="12"/>
          <ac:spMkLst>
            <pc:docMk/>
            <pc:sldMk cId="127713431" sldId="1979422048"/>
            <ac:spMk id="4" creationId="{EE8144A4-A332-1545-9A31-C19E4255E25A}"/>
          </ac:spMkLst>
        </pc:spChg>
        <pc:spChg chg="mod">
          <ac:chgData name="Frank Tan (qutan)" userId="1cc8c1fc-bfb1-4b23-ae96-de603ddcbe90" providerId="ADAL" clId="{4AD5E795-8F90-F04B-94B0-3DD4CA04D5EE}" dt="2020-03-18T02:09:40.826" v="225" actId="20577"/>
          <ac:spMkLst>
            <pc:docMk/>
            <pc:sldMk cId="127713431" sldId="1979422048"/>
            <ac:spMk id="6" creationId="{5B374583-D853-354E-86CA-A557720FC639}"/>
          </ac:spMkLst>
        </pc:spChg>
        <pc:spChg chg="mod">
          <ac:chgData name="Frank Tan (qutan)" userId="1cc8c1fc-bfb1-4b23-ae96-de603ddcbe90" providerId="ADAL" clId="{4AD5E795-8F90-F04B-94B0-3DD4CA04D5EE}" dt="2020-03-19T02:59:07.099" v="1464"/>
          <ac:spMkLst>
            <pc:docMk/>
            <pc:sldMk cId="127713431" sldId="1979422048"/>
            <ac:spMk id="7" creationId="{6256310C-37B0-D54A-ADDA-FD05DE60966D}"/>
          </ac:spMkLst>
        </pc:spChg>
        <pc:picChg chg="del">
          <ac:chgData name="Frank Tan (qutan)" userId="1cc8c1fc-bfb1-4b23-ae96-de603ddcbe90" providerId="ADAL" clId="{4AD5E795-8F90-F04B-94B0-3DD4CA04D5EE}" dt="2020-03-18T02:05:20.902" v="125" actId="478"/>
          <ac:picMkLst>
            <pc:docMk/>
            <pc:sldMk cId="127713431" sldId="1979422048"/>
            <ac:picMk id="3" creationId="{4F0CE947-0F59-2549-9951-0E4EF055DC95}"/>
          </ac:picMkLst>
        </pc:picChg>
      </pc:sldChg>
      <pc:sldChg chg="modTransition">
        <pc:chgData name="Frank Tan (qutan)" userId="1cc8c1fc-bfb1-4b23-ae96-de603ddcbe90" providerId="ADAL" clId="{4AD5E795-8F90-F04B-94B0-3DD4CA04D5EE}" dt="2020-03-19T06:02:08.087" v="1534"/>
        <pc:sldMkLst>
          <pc:docMk/>
          <pc:sldMk cId="388186213" sldId="1979422049"/>
        </pc:sldMkLst>
      </pc:sldChg>
      <pc:sldChg chg="addSp delSp modSp add del">
        <pc:chgData name="Frank Tan (qutan)" userId="1cc8c1fc-bfb1-4b23-ae96-de603ddcbe90" providerId="ADAL" clId="{4AD5E795-8F90-F04B-94B0-3DD4CA04D5EE}" dt="2020-03-18T12:37:14.249" v="419" actId="2696"/>
        <pc:sldMkLst>
          <pc:docMk/>
          <pc:sldMk cId="1971715671" sldId="1979422050"/>
        </pc:sldMkLst>
        <pc:spChg chg="add del mod">
          <ac:chgData name="Frank Tan (qutan)" userId="1cc8c1fc-bfb1-4b23-ae96-de603ddcbe90" providerId="ADAL" clId="{4AD5E795-8F90-F04B-94B0-3DD4CA04D5EE}" dt="2020-03-18T08:26:34.891" v="289" actId="1076"/>
          <ac:spMkLst>
            <pc:docMk/>
            <pc:sldMk cId="1971715671" sldId="1979422050"/>
            <ac:spMk id="2" creationId="{E227BB9A-4563-5D48-BC9A-A31A31F1EA6B}"/>
          </ac:spMkLst>
        </pc:spChg>
        <pc:spChg chg="mod">
          <ac:chgData name="Frank Tan (qutan)" userId="1cc8c1fc-bfb1-4b23-ae96-de603ddcbe90" providerId="ADAL" clId="{4AD5E795-8F90-F04B-94B0-3DD4CA04D5EE}" dt="2020-03-18T08:24:15.299" v="227" actId="20577"/>
          <ac:spMkLst>
            <pc:docMk/>
            <pc:sldMk cId="1971715671" sldId="1979422050"/>
            <ac:spMk id="3" creationId="{8413973C-5754-A540-8E6E-60EDCEA95731}"/>
          </ac:spMkLst>
        </pc:spChg>
        <pc:spChg chg="add del mod">
          <ac:chgData name="Frank Tan (qutan)" userId="1cc8c1fc-bfb1-4b23-ae96-de603ddcbe90" providerId="ADAL" clId="{4AD5E795-8F90-F04B-94B0-3DD4CA04D5EE}" dt="2020-03-18T08:24:44.386" v="232"/>
          <ac:spMkLst>
            <pc:docMk/>
            <pc:sldMk cId="1971715671" sldId="1979422050"/>
            <ac:spMk id="4" creationId="{E39CD616-4411-AC43-BA8C-19E96DF33EFF}"/>
          </ac:spMkLst>
        </pc:spChg>
        <pc:graphicFrameChg chg="add mod modGraphic">
          <ac:chgData name="Frank Tan (qutan)" userId="1cc8c1fc-bfb1-4b23-ae96-de603ddcbe90" providerId="ADAL" clId="{4AD5E795-8F90-F04B-94B0-3DD4CA04D5EE}" dt="2020-03-18T08:25:50.862" v="252" actId="1076"/>
          <ac:graphicFrameMkLst>
            <pc:docMk/>
            <pc:sldMk cId="1971715671" sldId="1979422050"/>
            <ac:graphicFrameMk id="5" creationId="{B116B4BB-ECF1-5A42-B19A-FA18B2987E3E}"/>
          </ac:graphicFrameMkLst>
        </pc:graphicFrameChg>
      </pc:sldChg>
      <pc:sldChg chg="addSp delSp modSp add modTransition">
        <pc:chgData name="Frank Tan (qutan)" userId="1cc8c1fc-bfb1-4b23-ae96-de603ddcbe90" providerId="ADAL" clId="{4AD5E795-8F90-F04B-94B0-3DD4CA04D5EE}" dt="2020-03-19T06:14:55.828" v="1543" actId="478"/>
        <pc:sldMkLst>
          <pc:docMk/>
          <pc:sldMk cId="2676854002" sldId="1979422050"/>
        </pc:sldMkLst>
        <pc:spChg chg="del">
          <ac:chgData name="Frank Tan (qutan)" userId="1cc8c1fc-bfb1-4b23-ae96-de603ddcbe90" providerId="ADAL" clId="{4AD5E795-8F90-F04B-94B0-3DD4CA04D5EE}" dt="2020-03-18T12:39:44.454" v="451"/>
          <ac:spMkLst>
            <pc:docMk/>
            <pc:sldMk cId="2676854002" sldId="1979422050"/>
            <ac:spMk id="2" creationId="{8770FCDE-4E73-1D4F-B4F7-C6C392AA0375}"/>
          </ac:spMkLst>
        </pc:spChg>
        <pc:spChg chg="del">
          <ac:chgData name="Frank Tan (qutan)" userId="1cc8c1fc-bfb1-4b23-ae96-de603ddcbe90" providerId="ADAL" clId="{4AD5E795-8F90-F04B-94B0-3DD4CA04D5EE}" dt="2020-03-18T12:39:44.454" v="451"/>
          <ac:spMkLst>
            <pc:docMk/>
            <pc:sldMk cId="2676854002" sldId="1979422050"/>
            <ac:spMk id="3" creationId="{D7E4FE16-EA04-324F-A5A5-12B994DBF5B9}"/>
          </ac:spMkLst>
        </pc:spChg>
        <pc:spChg chg="del">
          <ac:chgData name="Frank Tan (qutan)" userId="1cc8c1fc-bfb1-4b23-ae96-de603ddcbe90" providerId="ADAL" clId="{4AD5E795-8F90-F04B-94B0-3DD4CA04D5EE}" dt="2020-03-18T12:39:44.454" v="451"/>
          <ac:spMkLst>
            <pc:docMk/>
            <pc:sldMk cId="2676854002" sldId="1979422050"/>
            <ac:spMk id="4" creationId="{88A07399-B5FE-7541-BAC7-EA5790C5C25D}"/>
          </ac:spMkLst>
        </pc:spChg>
        <pc:spChg chg="add mod">
          <ac:chgData name="Frank Tan (qutan)" userId="1cc8c1fc-bfb1-4b23-ae96-de603ddcbe90" providerId="ADAL" clId="{4AD5E795-8F90-F04B-94B0-3DD4CA04D5EE}" dt="2020-03-19T06:14:34.932" v="1539"/>
          <ac:spMkLst>
            <pc:docMk/>
            <pc:sldMk cId="2676854002" sldId="1979422050"/>
            <ac:spMk id="5" creationId="{128FF846-A96F-4442-A766-4BF21C3AD9BE}"/>
          </ac:spMkLst>
        </pc:spChg>
        <pc:spChg chg="add del mod">
          <ac:chgData name="Frank Tan (qutan)" userId="1cc8c1fc-bfb1-4b23-ae96-de603ddcbe90" providerId="ADAL" clId="{4AD5E795-8F90-F04B-94B0-3DD4CA04D5EE}" dt="2020-03-19T06:14:48.714" v="1540" actId="478"/>
          <ac:spMkLst>
            <pc:docMk/>
            <pc:sldMk cId="2676854002" sldId="1979422050"/>
            <ac:spMk id="6" creationId="{7868E89C-F1C6-3345-9710-63B0FD1B0DB5}"/>
          </ac:spMkLst>
        </pc:spChg>
        <pc:spChg chg="add del">
          <ac:chgData name="Frank Tan (qutan)" userId="1cc8c1fc-bfb1-4b23-ae96-de603ddcbe90" providerId="ADAL" clId="{4AD5E795-8F90-F04B-94B0-3DD4CA04D5EE}" dt="2020-03-18T12:40:19.802" v="458"/>
          <ac:spMkLst>
            <pc:docMk/>
            <pc:sldMk cId="2676854002" sldId="1979422050"/>
            <ac:spMk id="7" creationId="{C807E088-D2D1-2347-93A5-D51B7A3417EF}"/>
          </ac:spMkLst>
        </pc:spChg>
        <pc:spChg chg="add del">
          <ac:chgData name="Frank Tan (qutan)" userId="1cc8c1fc-bfb1-4b23-ae96-de603ddcbe90" providerId="ADAL" clId="{4AD5E795-8F90-F04B-94B0-3DD4CA04D5EE}" dt="2020-03-19T06:14:48.714" v="1540" actId="478"/>
          <ac:spMkLst>
            <pc:docMk/>
            <pc:sldMk cId="2676854002" sldId="1979422050"/>
            <ac:spMk id="8" creationId="{DB9DEAC1-49B0-6B4F-90B3-747A24F20C09}"/>
          </ac:spMkLst>
        </pc:spChg>
        <pc:spChg chg="add del">
          <ac:chgData name="Frank Tan (qutan)" userId="1cc8c1fc-bfb1-4b23-ae96-de603ddcbe90" providerId="ADAL" clId="{4AD5E795-8F90-F04B-94B0-3DD4CA04D5EE}" dt="2020-03-19T06:14:48.714" v="1540" actId="478"/>
          <ac:spMkLst>
            <pc:docMk/>
            <pc:sldMk cId="2676854002" sldId="1979422050"/>
            <ac:spMk id="9" creationId="{0FA84A24-317A-D443-9CB5-79CC95A3760C}"/>
          </ac:spMkLst>
        </pc:spChg>
        <pc:spChg chg="add mod">
          <ac:chgData name="Frank Tan (qutan)" userId="1cc8c1fc-bfb1-4b23-ae96-de603ddcbe90" providerId="ADAL" clId="{4AD5E795-8F90-F04B-94B0-3DD4CA04D5EE}" dt="2020-03-19T06:14:48.714" v="1540" actId="478"/>
          <ac:spMkLst>
            <pc:docMk/>
            <pc:sldMk cId="2676854002" sldId="1979422050"/>
            <ac:spMk id="11" creationId="{4E4B3CDB-F2C3-E54F-9474-4EA1E9084414}"/>
          </ac:spMkLst>
        </pc:spChg>
        <pc:spChg chg="add del">
          <ac:chgData name="Frank Tan (qutan)" userId="1cc8c1fc-bfb1-4b23-ae96-de603ddcbe90" providerId="ADAL" clId="{4AD5E795-8F90-F04B-94B0-3DD4CA04D5EE}" dt="2020-03-19T06:14:55.828" v="1543" actId="478"/>
          <ac:spMkLst>
            <pc:docMk/>
            <pc:sldMk cId="2676854002" sldId="1979422050"/>
            <ac:spMk id="12" creationId="{47884ABE-7A7F-8049-B07E-7F8401146974}"/>
          </ac:spMkLst>
        </pc:spChg>
        <pc:spChg chg="add del">
          <ac:chgData name="Frank Tan (qutan)" userId="1cc8c1fc-bfb1-4b23-ae96-de603ddcbe90" providerId="ADAL" clId="{4AD5E795-8F90-F04B-94B0-3DD4CA04D5EE}" dt="2020-03-19T06:14:54.141" v="1542" actId="478"/>
          <ac:spMkLst>
            <pc:docMk/>
            <pc:sldMk cId="2676854002" sldId="1979422050"/>
            <ac:spMk id="13" creationId="{E9A1967D-E84C-4242-AEC7-084C56198C8E}"/>
          </ac:spMkLst>
        </pc:spChg>
        <pc:spChg chg="add">
          <ac:chgData name="Frank Tan (qutan)" userId="1cc8c1fc-bfb1-4b23-ae96-de603ddcbe90" providerId="ADAL" clId="{4AD5E795-8F90-F04B-94B0-3DD4CA04D5EE}" dt="2020-03-19T06:14:49.652" v="1541"/>
          <ac:spMkLst>
            <pc:docMk/>
            <pc:sldMk cId="2676854002" sldId="1979422050"/>
            <ac:spMk id="14" creationId="{B5112D1F-752E-4243-B279-4C92C39531FD}"/>
          </ac:spMkLst>
        </pc:spChg>
        <pc:spChg chg="add">
          <ac:chgData name="Frank Tan (qutan)" userId="1cc8c1fc-bfb1-4b23-ae96-de603ddcbe90" providerId="ADAL" clId="{4AD5E795-8F90-F04B-94B0-3DD4CA04D5EE}" dt="2020-03-19T06:14:49.652" v="1541"/>
          <ac:spMkLst>
            <pc:docMk/>
            <pc:sldMk cId="2676854002" sldId="1979422050"/>
            <ac:spMk id="15" creationId="{9EA7AB26-BCCE-B24C-9E86-B65CC3C3E6BF}"/>
          </ac:spMkLst>
        </pc:spChg>
        <pc:spChg chg="add">
          <ac:chgData name="Frank Tan (qutan)" userId="1cc8c1fc-bfb1-4b23-ae96-de603ddcbe90" providerId="ADAL" clId="{4AD5E795-8F90-F04B-94B0-3DD4CA04D5EE}" dt="2020-03-19T06:14:49.652" v="1541"/>
          <ac:spMkLst>
            <pc:docMk/>
            <pc:sldMk cId="2676854002" sldId="1979422050"/>
            <ac:spMk id="16" creationId="{ACDF30F1-8A9F-4444-AFC2-2A0DEFFC8FF2}"/>
          </ac:spMkLst>
        </pc:spChg>
        <pc:spChg chg="add">
          <ac:chgData name="Frank Tan (qutan)" userId="1cc8c1fc-bfb1-4b23-ae96-de603ddcbe90" providerId="ADAL" clId="{4AD5E795-8F90-F04B-94B0-3DD4CA04D5EE}" dt="2020-03-19T06:14:49.652" v="1541"/>
          <ac:spMkLst>
            <pc:docMk/>
            <pc:sldMk cId="2676854002" sldId="1979422050"/>
            <ac:spMk id="17" creationId="{8687B2D4-3828-2044-92D9-376C6FBFF1CC}"/>
          </ac:spMkLst>
        </pc:spChg>
        <pc:spChg chg="add">
          <ac:chgData name="Frank Tan (qutan)" userId="1cc8c1fc-bfb1-4b23-ae96-de603ddcbe90" providerId="ADAL" clId="{4AD5E795-8F90-F04B-94B0-3DD4CA04D5EE}" dt="2020-03-19T06:14:49.652" v="1541"/>
          <ac:spMkLst>
            <pc:docMk/>
            <pc:sldMk cId="2676854002" sldId="1979422050"/>
            <ac:spMk id="18" creationId="{10EEEF79-6231-D642-B2C6-81433744D9B3}"/>
          </ac:spMkLst>
        </pc:spChg>
        <pc:spChg chg="add">
          <ac:chgData name="Frank Tan (qutan)" userId="1cc8c1fc-bfb1-4b23-ae96-de603ddcbe90" providerId="ADAL" clId="{4AD5E795-8F90-F04B-94B0-3DD4CA04D5EE}" dt="2020-03-19T06:14:49.652" v="1541"/>
          <ac:spMkLst>
            <pc:docMk/>
            <pc:sldMk cId="2676854002" sldId="1979422050"/>
            <ac:spMk id="19" creationId="{B71EFCB3-6402-6741-A438-467C9DE5B1BD}"/>
          </ac:spMkLst>
        </pc:spChg>
        <pc:spChg chg="add">
          <ac:chgData name="Frank Tan (qutan)" userId="1cc8c1fc-bfb1-4b23-ae96-de603ddcbe90" providerId="ADAL" clId="{4AD5E795-8F90-F04B-94B0-3DD4CA04D5EE}" dt="2020-03-19T06:14:49.652" v="1541"/>
          <ac:spMkLst>
            <pc:docMk/>
            <pc:sldMk cId="2676854002" sldId="1979422050"/>
            <ac:spMk id="20" creationId="{51932F29-42DD-2349-9A1B-21DB8776303C}"/>
          </ac:spMkLst>
        </pc:spChg>
        <pc:spChg chg="add">
          <ac:chgData name="Frank Tan (qutan)" userId="1cc8c1fc-bfb1-4b23-ae96-de603ddcbe90" providerId="ADAL" clId="{4AD5E795-8F90-F04B-94B0-3DD4CA04D5EE}" dt="2020-03-19T06:14:49.652" v="1541"/>
          <ac:spMkLst>
            <pc:docMk/>
            <pc:sldMk cId="2676854002" sldId="1979422050"/>
            <ac:spMk id="21" creationId="{7AF2C723-D673-CD4D-A787-405C771566E8}"/>
          </ac:spMkLst>
        </pc:spChg>
        <pc:spChg chg="add">
          <ac:chgData name="Frank Tan (qutan)" userId="1cc8c1fc-bfb1-4b23-ae96-de603ddcbe90" providerId="ADAL" clId="{4AD5E795-8F90-F04B-94B0-3DD4CA04D5EE}" dt="2020-03-19T06:14:49.652" v="1541"/>
          <ac:spMkLst>
            <pc:docMk/>
            <pc:sldMk cId="2676854002" sldId="1979422050"/>
            <ac:spMk id="22" creationId="{516617FC-F1E5-C84F-9D76-4937DD223DBC}"/>
          </ac:spMkLst>
        </pc:spChg>
      </pc:sldChg>
      <pc:sldChg chg="modSp add del">
        <pc:chgData name="Frank Tan (qutan)" userId="1cc8c1fc-bfb1-4b23-ae96-de603ddcbe90" providerId="ADAL" clId="{4AD5E795-8F90-F04B-94B0-3DD4CA04D5EE}" dt="2020-03-18T12:37:14.260" v="420" actId="2696"/>
        <pc:sldMkLst>
          <pc:docMk/>
          <pc:sldMk cId="804129908" sldId="1979422051"/>
        </pc:sldMkLst>
        <pc:spChg chg="mod">
          <ac:chgData name="Frank Tan (qutan)" userId="1cc8c1fc-bfb1-4b23-ae96-de603ddcbe90" providerId="ADAL" clId="{4AD5E795-8F90-F04B-94B0-3DD4CA04D5EE}" dt="2020-03-18T08:27:19.969" v="314" actId="14100"/>
          <ac:spMkLst>
            <pc:docMk/>
            <pc:sldMk cId="804129908" sldId="1979422051"/>
            <ac:spMk id="2" creationId="{E227BB9A-4563-5D48-BC9A-A31A31F1EA6B}"/>
          </ac:spMkLst>
        </pc:spChg>
        <pc:graphicFrameChg chg="mod">
          <ac:chgData name="Frank Tan (qutan)" userId="1cc8c1fc-bfb1-4b23-ae96-de603ddcbe90" providerId="ADAL" clId="{4AD5E795-8F90-F04B-94B0-3DD4CA04D5EE}" dt="2020-03-18T08:34:21.487" v="317" actId="1076"/>
          <ac:graphicFrameMkLst>
            <pc:docMk/>
            <pc:sldMk cId="804129908" sldId="1979422051"/>
            <ac:graphicFrameMk id="5" creationId="{B116B4BB-ECF1-5A42-B19A-FA18B2987E3E}"/>
          </ac:graphicFrameMkLst>
        </pc:graphicFrameChg>
      </pc:sldChg>
      <pc:sldChg chg="addSp modSp add modTransition">
        <pc:chgData name="Frank Tan (qutan)" userId="1cc8c1fc-bfb1-4b23-ae96-de603ddcbe90" providerId="ADAL" clId="{4AD5E795-8F90-F04B-94B0-3DD4CA04D5EE}" dt="2020-03-19T06:02:08.087" v="1534"/>
        <pc:sldMkLst>
          <pc:docMk/>
          <pc:sldMk cId="1205773207" sldId="1979422051"/>
        </pc:sldMkLst>
        <pc:spChg chg="mod">
          <ac:chgData name="Frank Tan (qutan)" userId="1cc8c1fc-bfb1-4b23-ae96-de603ddcbe90" providerId="ADAL" clId="{4AD5E795-8F90-F04B-94B0-3DD4CA04D5EE}" dt="2020-03-18T12:42:10.003" v="477" actId="14100"/>
          <ac:spMkLst>
            <pc:docMk/>
            <pc:sldMk cId="1205773207" sldId="1979422051"/>
            <ac:spMk id="2" creationId="{8232A329-06F0-7E43-B4A9-C196DEC245DF}"/>
          </ac:spMkLst>
        </pc:spChg>
        <pc:spChg chg="mod">
          <ac:chgData name="Frank Tan (qutan)" userId="1cc8c1fc-bfb1-4b23-ae96-de603ddcbe90" providerId="ADAL" clId="{4AD5E795-8F90-F04B-94B0-3DD4CA04D5EE}" dt="2020-03-18T12:40:59.697" v="465" actId="207"/>
          <ac:spMkLst>
            <pc:docMk/>
            <pc:sldMk cId="1205773207" sldId="1979422051"/>
            <ac:spMk id="3" creationId="{ACD103C9-7D30-B343-8EE1-97758F8B18B6}"/>
          </ac:spMkLst>
        </pc:spChg>
        <pc:spChg chg="add mod">
          <ac:chgData name="Frank Tan (qutan)" userId="1cc8c1fc-bfb1-4b23-ae96-de603ddcbe90" providerId="ADAL" clId="{4AD5E795-8F90-F04B-94B0-3DD4CA04D5EE}" dt="2020-03-18T12:43:21.530" v="484"/>
          <ac:spMkLst>
            <pc:docMk/>
            <pc:sldMk cId="1205773207" sldId="1979422051"/>
            <ac:spMk id="4" creationId="{6D3E4A3D-2A7B-CD4A-9766-55EDAF6846FE}"/>
          </ac:spMkLst>
        </pc:spChg>
        <pc:spChg chg="add mod">
          <ac:chgData name="Frank Tan (qutan)" userId="1cc8c1fc-bfb1-4b23-ae96-de603ddcbe90" providerId="ADAL" clId="{4AD5E795-8F90-F04B-94B0-3DD4CA04D5EE}" dt="2020-03-18T12:43:50.769" v="494" actId="207"/>
          <ac:spMkLst>
            <pc:docMk/>
            <pc:sldMk cId="1205773207" sldId="1979422051"/>
            <ac:spMk id="5" creationId="{036355B8-50A8-C947-9F73-87AD86B4390E}"/>
          </ac:spMkLst>
        </pc:spChg>
        <pc:spChg chg="add mod">
          <ac:chgData name="Frank Tan (qutan)" userId="1cc8c1fc-bfb1-4b23-ae96-de603ddcbe90" providerId="ADAL" clId="{4AD5E795-8F90-F04B-94B0-3DD4CA04D5EE}" dt="2020-03-18T12:44:07.466" v="496" actId="1076"/>
          <ac:spMkLst>
            <pc:docMk/>
            <pc:sldMk cId="1205773207" sldId="1979422051"/>
            <ac:spMk id="6" creationId="{490121ED-AE22-724E-9332-E87506953A61}"/>
          </ac:spMkLst>
        </pc:spChg>
      </pc:sldChg>
      <pc:sldChg chg="modSp add modTransition">
        <pc:chgData name="Frank Tan (qutan)" userId="1cc8c1fc-bfb1-4b23-ae96-de603ddcbe90" providerId="ADAL" clId="{4AD5E795-8F90-F04B-94B0-3DD4CA04D5EE}" dt="2020-03-19T06:02:08.087" v="1534"/>
        <pc:sldMkLst>
          <pc:docMk/>
          <pc:sldMk cId="44168149" sldId="1979422052"/>
        </pc:sldMkLst>
        <pc:spChg chg="mod">
          <ac:chgData name="Frank Tan (qutan)" userId="1cc8c1fc-bfb1-4b23-ae96-de603ddcbe90" providerId="ADAL" clId="{4AD5E795-8F90-F04B-94B0-3DD4CA04D5EE}" dt="2020-03-18T12:44:33.534" v="503" actId="20577"/>
          <ac:spMkLst>
            <pc:docMk/>
            <pc:sldMk cId="44168149" sldId="1979422052"/>
            <ac:spMk id="2" creationId="{906F6CB3-B7B6-1F49-BCD2-BB51B3D33C1D}"/>
          </ac:spMkLst>
        </pc:spChg>
      </pc:sldChg>
      <pc:sldChg chg="modSp add del">
        <pc:chgData name="Frank Tan (qutan)" userId="1cc8c1fc-bfb1-4b23-ae96-de603ddcbe90" providerId="ADAL" clId="{4AD5E795-8F90-F04B-94B0-3DD4CA04D5EE}" dt="2020-03-18T12:37:14.280" v="421" actId="2696"/>
        <pc:sldMkLst>
          <pc:docMk/>
          <pc:sldMk cId="2193994633" sldId="1979422052"/>
        </pc:sldMkLst>
        <pc:spChg chg="mod">
          <ac:chgData name="Frank Tan (qutan)" userId="1cc8c1fc-bfb1-4b23-ae96-de603ddcbe90" providerId="ADAL" clId="{4AD5E795-8F90-F04B-94B0-3DD4CA04D5EE}" dt="2020-03-18T08:35:23.384" v="335" actId="20577"/>
          <ac:spMkLst>
            <pc:docMk/>
            <pc:sldMk cId="2193994633" sldId="1979422052"/>
            <ac:spMk id="3" creationId="{3A2BB059-EA92-D648-950B-1FAFD8A42ACA}"/>
          </ac:spMkLst>
        </pc:spChg>
      </pc:sldChg>
      <pc:sldChg chg="addSp modSp add modTransition">
        <pc:chgData name="Frank Tan (qutan)" userId="1cc8c1fc-bfb1-4b23-ae96-de603ddcbe90" providerId="ADAL" clId="{4AD5E795-8F90-F04B-94B0-3DD4CA04D5EE}" dt="2020-03-19T06:02:08.087" v="1534"/>
        <pc:sldMkLst>
          <pc:docMk/>
          <pc:sldMk cId="3125562928" sldId="1979422053"/>
        </pc:sldMkLst>
        <pc:spChg chg="mod">
          <ac:chgData name="Frank Tan (qutan)" userId="1cc8c1fc-bfb1-4b23-ae96-de603ddcbe90" providerId="ADAL" clId="{4AD5E795-8F90-F04B-94B0-3DD4CA04D5EE}" dt="2020-03-18T12:46:53.533" v="535" actId="113"/>
          <ac:spMkLst>
            <pc:docMk/>
            <pc:sldMk cId="3125562928" sldId="1979422053"/>
            <ac:spMk id="2" creationId="{0C03AC75-0E2B-C549-B201-93718B587C5F}"/>
          </ac:spMkLst>
        </pc:spChg>
        <pc:spChg chg="mod">
          <ac:chgData name="Frank Tan (qutan)" userId="1cc8c1fc-bfb1-4b23-ae96-de603ddcbe90" providerId="ADAL" clId="{4AD5E795-8F90-F04B-94B0-3DD4CA04D5EE}" dt="2020-03-18T12:45:19.886" v="505"/>
          <ac:spMkLst>
            <pc:docMk/>
            <pc:sldMk cId="3125562928" sldId="1979422053"/>
            <ac:spMk id="3" creationId="{E50B258A-0727-5A49-B0AE-21D2663AE774}"/>
          </ac:spMkLst>
        </pc:spChg>
        <pc:spChg chg="add mod">
          <ac:chgData name="Frank Tan (qutan)" userId="1cc8c1fc-bfb1-4b23-ae96-de603ddcbe90" providerId="ADAL" clId="{4AD5E795-8F90-F04B-94B0-3DD4CA04D5EE}" dt="2020-03-18T12:47:04.138" v="537" actId="1076"/>
          <ac:spMkLst>
            <pc:docMk/>
            <pc:sldMk cId="3125562928" sldId="1979422053"/>
            <ac:spMk id="4" creationId="{E953C95C-E481-7B4D-80E8-ADD1DD05E171}"/>
          </ac:spMkLst>
        </pc:spChg>
      </pc:sldChg>
      <pc:sldChg chg="addSp modSp add modTransition">
        <pc:chgData name="Frank Tan (qutan)" userId="1cc8c1fc-bfb1-4b23-ae96-de603ddcbe90" providerId="ADAL" clId="{4AD5E795-8F90-F04B-94B0-3DD4CA04D5EE}" dt="2020-03-19T06:02:08.087" v="1534"/>
        <pc:sldMkLst>
          <pc:docMk/>
          <pc:sldMk cId="3413448764" sldId="1979422054"/>
        </pc:sldMkLst>
        <pc:spChg chg="mod">
          <ac:chgData name="Frank Tan (qutan)" userId="1cc8c1fc-bfb1-4b23-ae96-de603ddcbe90" providerId="ADAL" clId="{4AD5E795-8F90-F04B-94B0-3DD4CA04D5EE}" dt="2020-03-18T12:48:59.513" v="553" actId="113"/>
          <ac:spMkLst>
            <pc:docMk/>
            <pc:sldMk cId="3413448764" sldId="1979422054"/>
            <ac:spMk id="2" creationId="{BC2AB55E-59D2-424E-9AC1-5AAFB2C128D1}"/>
          </ac:spMkLst>
        </pc:spChg>
        <pc:spChg chg="mod">
          <ac:chgData name="Frank Tan (qutan)" userId="1cc8c1fc-bfb1-4b23-ae96-de603ddcbe90" providerId="ADAL" clId="{4AD5E795-8F90-F04B-94B0-3DD4CA04D5EE}" dt="2020-03-18T12:47:46.262" v="542" actId="20577"/>
          <ac:spMkLst>
            <pc:docMk/>
            <pc:sldMk cId="3413448764" sldId="1979422054"/>
            <ac:spMk id="3" creationId="{239397A2-F384-5F46-9237-24A8A5A66A53}"/>
          </ac:spMkLst>
        </pc:spChg>
        <pc:spChg chg="add">
          <ac:chgData name="Frank Tan (qutan)" userId="1cc8c1fc-bfb1-4b23-ae96-de603ddcbe90" providerId="ADAL" clId="{4AD5E795-8F90-F04B-94B0-3DD4CA04D5EE}" dt="2020-03-18T12:49:14.083" v="554"/>
          <ac:spMkLst>
            <pc:docMk/>
            <pc:sldMk cId="3413448764" sldId="1979422054"/>
            <ac:spMk id="4" creationId="{9A15A56A-CA61-B444-8BC8-0D1B59A66A63}"/>
          </ac:spMkLst>
        </pc:spChg>
      </pc:sldChg>
      <pc:sldChg chg="modSp add modTransition">
        <pc:chgData name="Frank Tan (qutan)" userId="1cc8c1fc-bfb1-4b23-ae96-de603ddcbe90" providerId="ADAL" clId="{4AD5E795-8F90-F04B-94B0-3DD4CA04D5EE}" dt="2020-03-19T06:02:08.087" v="1534"/>
        <pc:sldMkLst>
          <pc:docMk/>
          <pc:sldMk cId="593721372" sldId="1979422055"/>
        </pc:sldMkLst>
        <pc:spChg chg="mod">
          <ac:chgData name="Frank Tan (qutan)" userId="1cc8c1fc-bfb1-4b23-ae96-de603ddcbe90" providerId="ADAL" clId="{4AD5E795-8F90-F04B-94B0-3DD4CA04D5EE}" dt="2020-03-18T12:50:47.719" v="570" actId="207"/>
          <ac:spMkLst>
            <pc:docMk/>
            <pc:sldMk cId="593721372" sldId="1979422055"/>
            <ac:spMk id="2" creationId="{BC2AB55E-59D2-424E-9AC1-5AAFB2C128D1}"/>
          </ac:spMkLst>
        </pc:spChg>
        <pc:spChg chg="mod">
          <ac:chgData name="Frank Tan (qutan)" userId="1cc8c1fc-bfb1-4b23-ae96-de603ddcbe90" providerId="ADAL" clId="{4AD5E795-8F90-F04B-94B0-3DD4CA04D5EE}" dt="2020-03-18T12:51:27.322" v="578" actId="20577"/>
          <ac:spMkLst>
            <pc:docMk/>
            <pc:sldMk cId="593721372" sldId="1979422055"/>
            <ac:spMk id="3" creationId="{239397A2-F384-5F46-9237-24A8A5A66A53}"/>
          </ac:spMkLst>
        </pc:spChg>
      </pc:sldChg>
      <pc:sldChg chg="addSp delSp modSp add modTransition">
        <pc:chgData name="Frank Tan (qutan)" userId="1cc8c1fc-bfb1-4b23-ae96-de603ddcbe90" providerId="ADAL" clId="{4AD5E795-8F90-F04B-94B0-3DD4CA04D5EE}" dt="2020-03-19T06:02:08.087" v="1534"/>
        <pc:sldMkLst>
          <pc:docMk/>
          <pc:sldMk cId="2793642621" sldId="1979422056"/>
        </pc:sldMkLst>
        <pc:spChg chg="mod">
          <ac:chgData name="Frank Tan (qutan)" userId="1cc8c1fc-bfb1-4b23-ae96-de603ddcbe90" providerId="ADAL" clId="{4AD5E795-8F90-F04B-94B0-3DD4CA04D5EE}" dt="2020-03-18T12:52:11.238" v="595" actId="113"/>
          <ac:spMkLst>
            <pc:docMk/>
            <pc:sldMk cId="2793642621" sldId="1979422056"/>
            <ac:spMk id="2" creationId="{BC2AB55E-59D2-424E-9AC1-5AAFB2C128D1}"/>
          </ac:spMkLst>
        </pc:spChg>
        <pc:spChg chg="mod">
          <ac:chgData name="Frank Tan (qutan)" userId="1cc8c1fc-bfb1-4b23-ae96-de603ddcbe90" providerId="ADAL" clId="{4AD5E795-8F90-F04B-94B0-3DD4CA04D5EE}" dt="2020-03-18T12:51:32.677" v="584" actId="20577"/>
          <ac:spMkLst>
            <pc:docMk/>
            <pc:sldMk cId="2793642621" sldId="1979422056"/>
            <ac:spMk id="3" creationId="{239397A2-F384-5F46-9237-24A8A5A66A53}"/>
          </ac:spMkLst>
        </pc:spChg>
        <pc:spChg chg="del">
          <ac:chgData name="Frank Tan (qutan)" userId="1cc8c1fc-bfb1-4b23-ae96-de603ddcbe90" providerId="ADAL" clId="{4AD5E795-8F90-F04B-94B0-3DD4CA04D5EE}" dt="2020-03-18T13:02:25.058" v="722" actId="478"/>
          <ac:spMkLst>
            <pc:docMk/>
            <pc:sldMk cId="2793642621" sldId="1979422056"/>
            <ac:spMk id="4" creationId="{9A15A56A-CA61-B444-8BC8-0D1B59A66A63}"/>
          </ac:spMkLst>
        </pc:spChg>
        <pc:spChg chg="add mod">
          <ac:chgData name="Frank Tan (qutan)" userId="1cc8c1fc-bfb1-4b23-ae96-de603ddcbe90" providerId="ADAL" clId="{4AD5E795-8F90-F04B-94B0-3DD4CA04D5EE}" dt="2020-03-18T13:02:27.718" v="724" actId="1076"/>
          <ac:spMkLst>
            <pc:docMk/>
            <pc:sldMk cId="2793642621" sldId="1979422056"/>
            <ac:spMk id="5" creationId="{4CE7A440-4978-2848-A484-3935B004F750}"/>
          </ac:spMkLst>
        </pc:spChg>
      </pc:sldChg>
      <pc:sldChg chg="modSp add modTransition">
        <pc:chgData name="Frank Tan (qutan)" userId="1cc8c1fc-bfb1-4b23-ae96-de603ddcbe90" providerId="ADAL" clId="{4AD5E795-8F90-F04B-94B0-3DD4CA04D5EE}" dt="2020-03-19T06:02:08.087" v="1534"/>
        <pc:sldMkLst>
          <pc:docMk/>
          <pc:sldMk cId="792227052" sldId="1979422057"/>
        </pc:sldMkLst>
        <pc:spChg chg="mod">
          <ac:chgData name="Frank Tan (qutan)" userId="1cc8c1fc-bfb1-4b23-ae96-de603ddcbe90" providerId="ADAL" clId="{4AD5E795-8F90-F04B-94B0-3DD4CA04D5EE}" dt="2020-03-18T12:53:00.781" v="601" actId="20577"/>
          <ac:spMkLst>
            <pc:docMk/>
            <pc:sldMk cId="792227052" sldId="1979422057"/>
            <ac:spMk id="2" creationId="{C22BC8C0-DFFC-ED44-B3D7-3CEDC656CC83}"/>
          </ac:spMkLst>
        </pc:spChg>
      </pc:sldChg>
      <pc:sldChg chg="addSp delSp modSp add modTransition">
        <pc:chgData name="Frank Tan (qutan)" userId="1cc8c1fc-bfb1-4b23-ae96-de603ddcbe90" providerId="ADAL" clId="{4AD5E795-8F90-F04B-94B0-3DD4CA04D5EE}" dt="2020-03-19T06:02:08.087" v="1534"/>
        <pc:sldMkLst>
          <pc:docMk/>
          <pc:sldMk cId="4098340809" sldId="1979422058"/>
        </pc:sldMkLst>
        <pc:spChg chg="del mod">
          <ac:chgData name="Frank Tan (qutan)" userId="1cc8c1fc-bfb1-4b23-ae96-de603ddcbe90" providerId="ADAL" clId="{4AD5E795-8F90-F04B-94B0-3DD4CA04D5EE}" dt="2020-03-18T12:54:05.671" v="610" actId="478"/>
          <ac:spMkLst>
            <pc:docMk/>
            <pc:sldMk cId="4098340809" sldId="1979422058"/>
            <ac:spMk id="2" creationId="{E259910F-8D1A-D748-8527-F651B85B2DD1}"/>
          </ac:spMkLst>
        </pc:spChg>
        <pc:spChg chg="mod">
          <ac:chgData name="Frank Tan (qutan)" userId="1cc8c1fc-bfb1-4b23-ae96-de603ddcbe90" providerId="ADAL" clId="{4AD5E795-8F90-F04B-94B0-3DD4CA04D5EE}" dt="2020-03-18T12:53:21.432" v="604" actId="20577"/>
          <ac:spMkLst>
            <pc:docMk/>
            <pc:sldMk cId="4098340809" sldId="1979422058"/>
            <ac:spMk id="3" creationId="{EE8E76EB-840B-E54E-B908-17C65FD01311}"/>
          </ac:spMkLst>
        </pc:spChg>
        <pc:spChg chg="add del">
          <ac:chgData name="Frank Tan (qutan)" userId="1cc8c1fc-bfb1-4b23-ae96-de603ddcbe90" providerId="ADAL" clId="{4AD5E795-8F90-F04B-94B0-3DD4CA04D5EE}" dt="2020-03-18T12:53:41.335" v="606"/>
          <ac:spMkLst>
            <pc:docMk/>
            <pc:sldMk cId="4098340809" sldId="1979422058"/>
            <ac:spMk id="4" creationId="{94160346-FA82-3D4E-B6A9-0D24040FD318}"/>
          </ac:spMkLst>
        </pc:spChg>
        <pc:spChg chg="add del">
          <ac:chgData name="Frank Tan (qutan)" userId="1cc8c1fc-bfb1-4b23-ae96-de603ddcbe90" providerId="ADAL" clId="{4AD5E795-8F90-F04B-94B0-3DD4CA04D5EE}" dt="2020-03-18T12:53:41.335" v="606"/>
          <ac:spMkLst>
            <pc:docMk/>
            <pc:sldMk cId="4098340809" sldId="1979422058"/>
            <ac:spMk id="5" creationId="{1E40FD4D-25F7-164D-A41F-30BC91C0E49E}"/>
          </ac:spMkLst>
        </pc:spChg>
        <pc:spChg chg="add del">
          <ac:chgData name="Frank Tan (qutan)" userId="1cc8c1fc-bfb1-4b23-ae96-de603ddcbe90" providerId="ADAL" clId="{4AD5E795-8F90-F04B-94B0-3DD4CA04D5EE}" dt="2020-03-18T12:53:41.335" v="606"/>
          <ac:spMkLst>
            <pc:docMk/>
            <pc:sldMk cId="4098340809" sldId="1979422058"/>
            <ac:spMk id="6" creationId="{DAABA2E4-4D9C-B843-A69F-C3146E596EDD}"/>
          </ac:spMkLst>
        </pc:spChg>
        <pc:spChg chg="add">
          <ac:chgData name="Frank Tan (qutan)" userId="1cc8c1fc-bfb1-4b23-ae96-de603ddcbe90" providerId="ADAL" clId="{4AD5E795-8F90-F04B-94B0-3DD4CA04D5EE}" dt="2020-03-18T12:53:41.394" v="607"/>
          <ac:spMkLst>
            <pc:docMk/>
            <pc:sldMk cId="4098340809" sldId="1979422058"/>
            <ac:spMk id="7" creationId="{FD73FDB9-06AA-9246-BC21-12906AF30CDA}"/>
          </ac:spMkLst>
        </pc:spChg>
        <pc:spChg chg="add">
          <ac:chgData name="Frank Tan (qutan)" userId="1cc8c1fc-bfb1-4b23-ae96-de603ddcbe90" providerId="ADAL" clId="{4AD5E795-8F90-F04B-94B0-3DD4CA04D5EE}" dt="2020-03-18T12:53:41.394" v="607"/>
          <ac:spMkLst>
            <pc:docMk/>
            <pc:sldMk cId="4098340809" sldId="1979422058"/>
            <ac:spMk id="8" creationId="{0B110516-9EBD-9A4C-B293-44708BE0BB91}"/>
          </ac:spMkLst>
        </pc:spChg>
        <pc:spChg chg="add">
          <ac:chgData name="Frank Tan (qutan)" userId="1cc8c1fc-bfb1-4b23-ae96-de603ddcbe90" providerId="ADAL" clId="{4AD5E795-8F90-F04B-94B0-3DD4CA04D5EE}" dt="2020-03-18T12:53:41.394" v="607"/>
          <ac:spMkLst>
            <pc:docMk/>
            <pc:sldMk cId="4098340809" sldId="1979422058"/>
            <ac:spMk id="9" creationId="{286EA232-E43E-4C44-A8B1-3A8764065C12}"/>
          </ac:spMkLst>
        </pc:spChg>
        <pc:spChg chg="add">
          <ac:chgData name="Frank Tan (qutan)" userId="1cc8c1fc-bfb1-4b23-ae96-de603ddcbe90" providerId="ADAL" clId="{4AD5E795-8F90-F04B-94B0-3DD4CA04D5EE}" dt="2020-03-18T12:54:02.822" v="609"/>
          <ac:spMkLst>
            <pc:docMk/>
            <pc:sldMk cId="4098340809" sldId="1979422058"/>
            <ac:spMk id="10" creationId="{DF07E3B4-9DCF-9B4A-81BD-5C793E5DE848}"/>
          </ac:spMkLst>
        </pc:spChg>
      </pc:sldChg>
      <pc:sldChg chg="addSp delSp modSp add modTransition">
        <pc:chgData name="Frank Tan (qutan)" userId="1cc8c1fc-bfb1-4b23-ae96-de603ddcbe90" providerId="ADAL" clId="{4AD5E795-8F90-F04B-94B0-3DD4CA04D5EE}" dt="2020-03-19T06:02:08.087" v="1534"/>
        <pc:sldMkLst>
          <pc:docMk/>
          <pc:sldMk cId="2242927268" sldId="1979422059"/>
        </pc:sldMkLst>
        <pc:spChg chg="add del mod">
          <ac:chgData name="Frank Tan (qutan)" userId="1cc8c1fc-bfb1-4b23-ae96-de603ddcbe90" providerId="ADAL" clId="{4AD5E795-8F90-F04B-94B0-3DD4CA04D5EE}" dt="2020-03-18T12:54:25.205" v="614"/>
          <ac:spMkLst>
            <pc:docMk/>
            <pc:sldMk cId="2242927268" sldId="1979422059"/>
            <ac:spMk id="2" creationId="{DC15186A-9990-C046-8D6B-7D455ACCA6A8}"/>
          </ac:spMkLst>
        </pc:spChg>
        <pc:spChg chg="mod">
          <ac:chgData name="Frank Tan (qutan)" userId="1cc8c1fc-bfb1-4b23-ae96-de603ddcbe90" providerId="ADAL" clId="{4AD5E795-8F90-F04B-94B0-3DD4CA04D5EE}" dt="2020-03-18T12:54:19.893" v="612" actId="20577"/>
          <ac:spMkLst>
            <pc:docMk/>
            <pc:sldMk cId="2242927268" sldId="1979422059"/>
            <ac:spMk id="3" creationId="{EE8E76EB-840B-E54E-B908-17C65FD01311}"/>
          </ac:spMkLst>
        </pc:spChg>
        <pc:spChg chg="add mod">
          <ac:chgData name="Frank Tan (qutan)" userId="1cc8c1fc-bfb1-4b23-ae96-de603ddcbe90" providerId="ADAL" clId="{4AD5E795-8F90-F04B-94B0-3DD4CA04D5EE}" dt="2020-03-18T12:55:24.922" v="623" actId="207"/>
          <ac:spMkLst>
            <pc:docMk/>
            <pc:sldMk cId="2242927268" sldId="1979422059"/>
            <ac:spMk id="4" creationId="{4156F823-2A78-D24D-925F-540E1478DFFE}"/>
          </ac:spMkLst>
        </pc:spChg>
        <pc:spChg chg="del">
          <ac:chgData name="Frank Tan (qutan)" userId="1cc8c1fc-bfb1-4b23-ae96-de603ddcbe90" providerId="ADAL" clId="{4AD5E795-8F90-F04B-94B0-3DD4CA04D5EE}" dt="2020-03-18T12:54:23.220" v="613" actId="478"/>
          <ac:spMkLst>
            <pc:docMk/>
            <pc:sldMk cId="2242927268" sldId="1979422059"/>
            <ac:spMk id="10" creationId="{DF07E3B4-9DCF-9B4A-81BD-5C793E5DE848}"/>
          </ac:spMkLst>
        </pc:spChg>
      </pc:sldChg>
      <pc:sldChg chg="modSp add modTransition">
        <pc:chgData name="Frank Tan (qutan)" userId="1cc8c1fc-bfb1-4b23-ae96-de603ddcbe90" providerId="ADAL" clId="{4AD5E795-8F90-F04B-94B0-3DD4CA04D5EE}" dt="2020-03-19T06:02:08.087" v="1534"/>
        <pc:sldMkLst>
          <pc:docMk/>
          <pc:sldMk cId="117613766" sldId="1979422060"/>
        </pc:sldMkLst>
        <pc:spChg chg="mod">
          <ac:chgData name="Frank Tan (qutan)" userId="1cc8c1fc-bfb1-4b23-ae96-de603ddcbe90" providerId="ADAL" clId="{4AD5E795-8F90-F04B-94B0-3DD4CA04D5EE}" dt="2020-03-18T12:55:48.654" v="625"/>
          <ac:spMkLst>
            <pc:docMk/>
            <pc:sldMk cId="117613766" sldId="1979422060"/>
            <ac:spMk id="3" creationId="{EE8E76EB-840B-E54E-B908-17C65FD01311}"/>
          </ac:spMkLst>
        </pc:spChg>
        <pc:spChg chg="mod">
          <ac:chgData name="Frank Tan (qutan)" userId="1cc8c1fc-bfb1-4b23-ae96-de603ddcbe90" providerId="ADAL" clId="{4AD5E795-8F90-F04B-94B0-3DD4CA04D5EE}" dt="2020-03-18T12:56:25.331" v="633" actId="20577"/>
          <ac:spMkLst>
            <pc:docMk/>
            <pc:sldMk cId="117613766" sldId="1979422060"/>
            <ac:spMk id="4" creationId="{4156F823-2A78-D24D-925F-540E1478DFFE}"/>
          </ac:spMkLst>
        </pc:spChg>
      </pc:sldChg>
      <pc:sldChg chg="addSp delSp modSp add modTransition">
        <pc:chgData name="Frank Tan (qutan)" userId="1cc8c1fc-bfb1-4b23-ae96-de603ddcbe90" providerId="ADAL" clId="{4AD5E795-8F90-F04B-94B0-3DD4CA04D5EE}" dt="2020-03-19T06:02:08.087" v="1534"/>
        <pc:sldMkLst>
          <pc:docMk/>
          <pc:sldMk cId="1447892563" sldId="1979422061"/>
        </pc:sldMkLst>
        <pc:spChg chg="mod">
          <ac:chgData name="Frank Tan (qutan)" userId="1cc8c1fc-bfb1-4b23-ae96-de603ddcbe90" providerId="ADAL" clId="{4AD5E795-8F90-F04B-94B0-3DD4CA04D5EE}" dt="2020-03-18T12:56:37.885" v="639" actId="20577"/>
          <ac:spMkLst>
            <pc:docMk/>
            <pc:sldMk cId="1447892563" sldId="1979422061"/>
            <ac:spMk id="3" creationId="{EE8E76EB-840B-E54E-B908-17C65FD01311}"/>
          </ac:spMkLst>
        </pc:spChg>
        <pc:spChg chg="mod">
          <ac:chgData name="Frank Tan (qutan)" userId="1cc8c1fc-bfb1-4b23-ae96-de603ddcbe90" providerId="ADAL" clId="{4AD5E795-8F90-F04B-94B0-3DD4CA04D5EE}" dt="2020-03-18T12:56:59.098" v="642" actId="15"/>
          <ac:spMkLst>
            <pc:docMk/>
            <pc:sldMk cId="1447892563" sldId="1979422061"/>
            <ac:spMk id="4" creationId="{4156F823-2A78-D24D-925F-540E1478DFFE}"/>
          </ac:spMkLst>
        </pc:spChg>
        <pc:spChg chg="del">
          <ac:chgData name="Frank Tan (qutan)" userId="1cc8c1fc-bfb1-4b23-ae96-de603ddcbe90" providerId="ADAL" clId="{4AD5E795-8F90-F04B-94B0-3DD4CA04D5EE}" dt="2020-03-18T13:02:02.048" v="720" actId="478"/>
          <ac:spMkLst>
            <pc:docMk/>
            <pc:sldMk cId="1447892563" sldId="1979422061"/>
            <ac:spMk id="7" creationId="{FD73FDB9-06AA-9246-BC21-12906AF30CDA}"/>
          </ac:spMkLst>
        </pc:spChg>
        <pc:spChg chg="del">
          <ac:chgData name="Frank Tan (qutan)" userId="1cc8c1fc-bfb1-4b23-ae96-de603ddcbe90" providerId="ADAL" clId="{4AD5E795-8F90-F04B-94B0-3DD4CA04D5EE}" dt="2020-03-18T13:02:02.048" v="720" actId="478"/>
          <ac:spMkLst>
            <pc:docMk/>
            <pc:sldMk cId="1447892563" sldId="1979422061"/>
            <ac:spMk id="8" creationId="{0B110516-9EBD-9A4C-B293-44708BE0BB91}"/>
          </ac:spMkLst>
        </pc:spChg>
        <pc:spChg chg="del">
          <ac:chgData name="Frank Tan (qutan)" userId="1cc8c1fc-bfb1-4b23-ae96-de603ddcbe90" providerId="ADAL" clId="{4AD5E795-8F90-F04B-94B0-3DD4CA04D5EE}" dt="2020-03-18T13:02:02.048" v="720" actId="478"/>
          <ac:spMkLst>
            <pc:docMk/>
            <pc:sldMk cId="1447892563" sldId="1979422061"/>
            <ac:spMk id="9" creationId="{286EA232-E43E-4C44-A8B1-3A8764065C12}"/>
          </ac:spMkLst>
        </pc:spChg>
        <pc:spChg chg="add">
          <ac:chgData name="Frank Tan (qutan)" userId="1cc8c1fc-bfb1-4b23-ae96-de603ddcbe90" providerId="ADAL" clId="{4AD5E795-8F90-F04B-94B0-3DD4CA04D5EE}" dt="2020-03-18T13:02:09.701" v="721"/>
          <ac:spMkLst>
            <pc:docMk/>
            <pc:sldMk cId="1447892563" sldId="1979422061"/>
            <ac:spMk id="10" creationId="{7CB1D02E-4221-F54E-94E5-4570A618203F}"/>
          </ac:spMkLst>
        </pc:spChg>
        <pc:spChg chg="add">
          <ac:chgData name="Frank Tan (qutan)" userId="1cc8c1fc-bfb1-4b23-ae96-de603ddcbe90" providerId="ADAL" clId="{4AD5E795-8F90-F04B-94B0-3DD4CA04D5EE}" dt="2020-03-18T13:02:09.701" v="721"/>
          <ac:spMkLst>
            <pc:docMk/>
            <pc:sldMk cId="1447892563" sldId="1979422061"/>
            <ac:spMk id="11" creationId="{ACAFBE35-BC95-0541-B7CF-4E520EFDE6DC}"/>
          </ac:spMkLst>
        </pc:spChg>
        <pc:spChg chg="add">
          <ac:chgData name="Frank Tan (qutan)" userId="1cc8c1fc-bfb1-4b23-ae96-de603ddcbe90" providerId="ADAL" clId="{4AD5E795-8F90-F04B-94B0-3DD4CA04D5EE}" dt="2020-03-18T13:02:09.701" v="721"/>
          <ac:spMkLst>
            <pc:docMk/>
            <pc:sldMk cId="1447892563" sldId="1979422061"/>
            <ac:spMk id="12" creationId="{4BE22C30-A876-7B41-BC5B-AADEFB446179}"/>
          </ac:spMkLst>
        </pc:spChg>
      </pc:sldChg>
      <pc:sldChg chg="modSp add modTransition">
        <pc:chgData name="Frank Tan (qutan)" userId="1cc8c1fc-bfb1-4b23-ae96-de603ddcbe90" providerId="ADAL" clId="{4AD5E795-8F90-F04B-94B0-3DD4CA04D5EE}" dt="2020-03-19T06:02:08.087" v="1534"/>
        <pc:sldMkLst>
          <pc:docMk/>
          <pc:sldMk cId="2120198440" sldId="1979422062"/>
        </pc:sldMkLst>
        <pc:spChg chg="mod">
          <ac:chgData name="Frank Tan (qutan)" userId="1cc8c1fc-bfb1-4b23-ae96-de603ddcbe90" providerId="ADAL" clId="{4AD5E795-8F90-F04B-94B0-3DD4CA04D5EE}" dt="2020-03-18T12:57:42.655" v="648" actId="20577"/>
          <ac:spMkLst>
            <pc:docMk/>
            <pc:sldMk cId="2120198440" sldId="1979422062"/>
            <ac:spMk id="2" creationId="{C22BC8C0-DFFC-ED44-B3D7-3CEDC656CC83}"/>
          </ac:spMkLst>
        </pc:spChg>
      </pc:sldChg>
      <pc:sldChg chg="addSp delSp modSp add modTransition">
        <pc:chgData name="Frank Tan (qutan)" userId="1cc8c1fc-bfb1-4b23-ae96-de603ddcbe90" providerId="ADAL" clId="{4AD5E795-8F90-F04B-94B0-3DD4CA04D5EE}" dt="2020-03-19T06:02:08.087" v="1534"/>
        <pc:sldMkLst>
          <pc:docMk/>
          <pc:sldMk cId="1080608162" sldId="1979422063"/>
        </pc:sldMkLst>
        <pc:spChg chg="mod">
          <ac:chgData name="Frank Tan (qutan)" userId="1cc8c1fc-bfb1-4b23-ae96-de603ddcbe90" providerId="ADAL" clId="{4AD5E795-8F90-F04B-94B0-3DD4CA04D5EE}" dt="2020-03-19T03:14:20.590" v="1510" actId="20577"/>
          <ac:spMkLst>
            <pc:docMk/>
            <pc:sldMk cId="1080608162" sldId="1979422063"/>
            <ac:spMk id="3" creationId="{EE8E76EB-840B-E54E-B908-17C65FD01311}"/>
          </ac:spMkLst>
        </pc:spChg>
        <pc:spChg chg="del">
          <ac:chgData name="Frank Tan (qutan)" userId="1cc8c1fc-bfb1-4b23-ae96-de603ddcbe90" providerId="ADAL" clId="{4AD5E795-8F90-F04B-94B0-3DD4CA04D5EE}" dt="2020-03-18T12:57:49.808" v="649" actId="478"/>
          <ac:spMkLst>
            <pc:docMk/>
            <pc:sldMk cId="1080608162" sldId="1979422063"/>
            <ac:spMk id="7" creationId="{FD73FDB9-06AA-9246-BC21-12906AF30CDA}"/>
          </ac:spMkLst>
        </pc:spChg>
        <pc:spChg chg="del">
          <ac:chgData name="Frank Tan (qutan)" userId="1cc8c1fc-bfb1-4b23-ae96-de603ddcbe90" providerId="ADAL" clId="{4AD5E795-8F90-F04B-94B0-3DD4CA04D5EE}" dt="2020-03-18T12:57:53.102" v="651" actId="478"/>
          <ac:spMkLst>
            <pc:docMk/>
            <pc:sldMk cId="1080608162" sldId="1979422063"/>
            <ac:spMk id="8" creationId="{0B110516-9EBD-9A4C-B293-44708BE0BB91}"/>
          </ac:spMkLst>
        </pc:spChg>
        <pc:spChg chg="del">
          <ac:chgData name="Frank Tan (qutan)" userId="1cc8c1fc-bfb1-4b23-ae96-de603ddcbe90" providerId="ADAL" clId="{4AD5E795-8F90-F04B-94B0-3DD4CA04D5EE}" dt="2020-03-18T12:57:53.102" v="651" actId="478"/>
          <ac:spMkLst>
            <pc:docMk/>
            <pc:sldMk cId="1080608162" sldId="1979422063"/>
            <ac:spMk id="9" creationId="{286EA232-E43E-4C44-A8B1-3A8764065C12}"/>
          </ac:spMkLst>
        </pc:spChg>
        <pc:spChg chg="add mod">
          <ac:chgData name="Frank Tan (qutan)" userId="1cc8c1fc-bfb1-4b23-ae96-de603ddcbe90" providerId="ADAL" clId="{4AD5E795-8F90-F04B-94B0-3DD4CA04D5EE}" dt="2020-03-18T12:57:56.739" v="652" actId="1076"/>
          <ac:spMkLst>
            <pc:docMk/>
            <pc:sldMk cId="1080608162" sldId="1979422063"/>
            <ac:spMk id="11" creationId="{81938C04-A3BE-094B-A024-0EBB73C59137}"/>
          </ac:spMkLst>
        </pc:spChg>
      </pc:sldChg>
      <pc:sldChg chg="add del">
        <pc:chgData name="Frank Tan (qutan)" userId="1cc8c1fc-bfb1-4b23-ae96-de603ddcbe90" providerId="ADAL" clId="{4AD5E795-8F90-F04B-94B0-3DD4CA04D5EE}" dt="2020-03-18T12:58:31.242" v="654"/>
        <pc:sldMkLst>
          <pc:docMk/>
          <pc:sldMk cId="789894883" sldId="1979422064"/>
        </pc:sldMkLst>
      </pc:sldChg>
      <pc:sldChg chg="addSp delSp modSp add modTransition">
        <pc:chgData name="Frank Tan (qutan)" userId="1cc8c1fc-bfb1-4b23-ae96-de603ddcbe90" providerId="ADAL" clId="{4AD5E795-8F90-F04B-94B0-3DD4CA04D5EE}" dt="2020-03-19T06:02:08.087" v="1534"/>
        <pc:sldMkLst>
          <pc:docMk/>
          <pc:sldMk cId="1524774617" sldId="1979422064"/>
        </pc:sldMkLst>
        <pc:spChg chg="mod">
          <ac:chgData name="Frank Tan (qutan)" userId="1cc8c1fc-bfb1-4b23-ae96-de603ddcbe90" providerId="ADAL" clId="{4AD5E795-8F90-F04B-94B0-3DD4CA04D5EE}" dt="2020-03-18T12:58:40.933" v="659" actId="20577"/>
          <ac:spMkLst>
            <pc:docMk/>
            <pc:sldMk cId="1524774617" sldId="1979422064"/>
            <ac:spMk id="3" creationId="{EE8E76EB-840B-E54E-B908-17C65FD01311}"/>
          </ac:spMkLst>
        </pc:spChg>
        <pc:spChg chg="mod">
          <ac:chgData name="Frank Tan (qutan)" userId="1cc8c1fc-bfb1-4b23-ae96-de603ddcbe90" providerId="ADAL" clId="{4AD5E795-8F90-F04B-94B0-3DD4CA04D5EE}" dt="2020-03-18T13:00:44.628" v="697" actId="20577"/>
          <ac:spMkLst>
            <pc:docMk/>
            <pc:sldMk cId="1524774617" sldId="1979422064"/>
            <ac:spMk id="4" creationId="{4156F823-2A78-D24D-925F-540E1478DFFE}"/>
          </ac:spMkLst>
        </pc:spChg>
        <pc:spChg chg="del">
          <ac:chgData name="Frank Tan (qutan)" userId="1cc8c1fc-bfb1-4b23-ae96-de603ddcbe90" providerId="ADAL" clId="{4AD5E795-8F90-F04B-94B0-3DD4CA04D5EE}" dt="2020-03-18T12:58:47.423" v="660" actId="478"/>
          <ac:spMkLst>
            <pc:docMk/>
            <pc:sldMk cId="1524774617" sldId="1979422064"/>
            <ac:spMk id="7" creationId="{FD73FDB9-06AA-9246-BC21-12906AF30CDA}"/>
          </ac:spMkLst>
        </pc:spChg>
        <pc:spChg chg="del">
          <ac:chgData name="Frank Tan (qutan)" userId="1cc8c1fc-bfb1-4b23-ae96-de603ddcbe90" providerId="ADAL" clId="{4AD5E795-8F90-F04B-94B0-3DD4CA04D5EE}" dt="2020-03-18T12:58:47.423" v="660" actId="478"/>
          <ac:spMkLst>
            <pc:docMk/>
            <pc:sldMk cId="1524774617" sldId="1979422064"/>
            <ac:spMk id="8" creationId="{0B110516-9EBD-9A4C-B293-44708BE0BB91}"/>
          </ac:spMkLst>
        </pc:spChg>
        <pc:spChg chg="del">
          <ac:chgData name="Frank Tan (qutan)" userId="1cc8c1fc-bfb1-4b23-ae96-de603ddcbe90" providerId="ADAL" clId="{4AD5E795-8F90-F04B-94B0-3DD4CA04D5EE}" dt="2020-03-18T12:58:47.423" v="660" actId="478"/>
          <ac:spMkLst>
            <pc:docMk/>
            <pc:sldMk cId="1524774617" sldId="1979422064"/>
            <ac:spMk id="9" creationId="{286EA232-E43E-4C44-A8B1-3A8764065C12}"/>
          </ac:spMkLst>
        </pc:spChg>
        <pc:spChg chg="add">
          <ac:chgData name="Frank Tan (qutan)" userId="1cc8c1fc-bfb1-4b23-ae96-de603ddcbe90" providerId="ADAL" clId="{4AD5E795-8F90-F04B-94B0-3DD4CA04D5EE}" dt="2020-03-18T12:58:48.046" v="661"/>
          <ac:spMkLst>
            <pc:docMk/>
            <pc:sldMk cId="1524774617" sldId="1979422064"/>
            <ac:spMk id="10" creationId="{31480021-8375-D748-9A8C-BC87A94FB984}"/>
          </ac:spMkLst>
        </pc:spChg>
      </pc:sldChg>
      <pc:sldChg chg="modSp add modTransition">
        <pc:chgData name="Frank Tan (qutan)" userId="1cc8c1fc-bfb1-4b23-ae96-de603ddcbe90" providerId="ADAL" clId="{4AD5E795-8F90-F04B-94B0-3DD4CA04D5EE}" dt="2020-03-19T06:02:08.087" v="1534"/>
        <pc:sldMkLst>
          <pc:docMk/>
          <pc:sldMk cId="2209103021" sldId="1979422065"/>
        </pc:sldMkLst>
        <pc:spChg chg="mod">
          <ac:chgData name="Frank Tan (qutan)" userId="1cc8c1fc-bfb1-4b23-ae96-de603ddcbe90" providerId="ADAL" clId="{4AD5E795-8F90-F04B-94B0-3DD4CA04D5EE}" dt="2020-03-18T13:00:14.991" v="687" actId="20577"/>
          <ac:spMkLst>
            <pc:docMk/>
            <pc:sldMk cId="2209103021" sldId="1979422065"/>
            <ac:spMk id="3" creationId="{EE8E76EB-840B-E54E-B908-17C65FD01311}"/>
          </ac:spMkLst>
        </pc:spChg>
        <pc:spChg chg="mod">
          <ac:chgData name="Frank Tan (qutan)" userId="1cc8c1fc-bfb1-4b23-ae96-de603ddcbe90" providerId="ADAL" clId="{4AD5E795-8F90-F04B-94B0-3DD4CA04D5EE}" dt="2020-03-18T13:00:48.115" v="700" actId="20577"/>
          <ac:spMkLst>
            <pc:docMk/>
            <pc:sldMk cId="2209103021" sldId="1979422065"/>
            <ac:spMk id="4" creationId="{4156F823-2A78-D24D-925F-540E1478DFFE}"/>
          </ac:spMkLst>
        </pc:spChg>
      </pc:sldChg>
      <pc:sldChg chg="addSp delSp modSp add modTransition">
        <pc:chgData name="Frank Tan (qutan)" userId="1cc8c1fc-bfb1-4b23-ae96-de603ddcbe90" providerId="ADAL" clId="{4AD5E795-8F90-F04B-94B0-3DD4CA04D5EE}" dt="2020-03-19T06:02:08.087" v="1534"/>
        <pc:sldMkLst>
          <pc:docMk/>
          <pc:sldMk cId="384747079" sldId="1979422066"/>
        </pc:sldMkLst>
        <pc:spChg chg="mod">
          <ac:chgData name="Frank Tan (qutan)" userId="1cc8c1fc-bfb1-4b23-ae96-de603ddcbe90" providerId="ADAL" clId="{4AD5E795-8F90-F04B-94B0-3DD4CA04D5EE}" dt="2020-03-18T13:01:16.419" v="710" actId="20577"/>
          <ac:spMkLst>
            <pc:docMk/>
            <pc:sldMk cId="384747079" sldId="1979422066"/>
            <ac:spMk id="3" creationId="{EE8E76EB-840B-E54E-B908-17C65FD01311}"/>
          </ac:spMkLst>
        </pc:spChg>
        <pc:spChg chg="mod">
          <ac:chgData name="Frank Tan (qutan)" userId="1cc8c1fc-bfb1-4b23-ae96-de603ddcbe90" providerId="ADAL" clId="{4AD5E795-8F90-F04B-94B0-3DD4CA04D5EE}" dt="2020-03-18T13:01:30.085" v="716" actId="20577"/>
          <ac:spMkLst>
            <pc:docMk/>
            <pc:sldMk cId="384747079" sldId="1979422066"/>
            <ac:spMk id="4" creationId="{4156F823-2A78-D24D-925F-540E1478DFFE}"/>
          </ac:spMkLst>
        </pc:spChg>
        <pc:spChg chg="add mod">
          <ac:chgData name="Frank Tan (qutan)" userId="1cc8c1fc-bfb1-4b23-ae96-de603ddcbe90" providerId="ADAL" clId="{4AD5E795-8F90-F04B-94B0-3DD4CA04D5EE}" dt="2020-03-18T13:01:45.914" v="719" actId="1076"/>
          <ac:spMkLst>
            <pc:docMk/>
            <pc:sldMk cId="384747079" sldId="1979422066"/>
            <ac:spMk id="5" creationId="{7A03BBE0-82D1-D648-B588-ECAEAE363DED}"/>
          </ac:spMkLst>
        </pc:spChg>
        <pc:spChg chg="del">
          <ac:chgData name="Frank Tan (qutan)" userId="1cc8c1fc-bfb1-4b23-ae96-de603ddcbe90" providerId="ADAL" clId="{4AD5E795-8F90-F04B-94B0-3DD4CA04D5EE}" dt="2020-03-18T13:01:42.258" v="717" actId="478"/>
          <ac:spMkLst>
            <pc:docMk/>
            <pc:sldMk cId="384747079" sldId="1979422066"/>
            <ac:spMk id="10" creationId="{31480021-8375-D748-9A8C-BC87A94FB984}"/>
          </ac:spMkLst>
        </pc:spChg>
      </pc:sldChg>
      <pc:sldChg chg="add del">
        <pc:chgData name="Frank Tan (qutan)" userId="1cc8c1fc-bfb1-4b23-ae96-de603ddcbe90" providerId="ADAL" clId="{4AD5E795-8F90-F04B-94B0-3DD4CA04D5EE}" dt="2020-03-18T13:01:10.942" v="702"/>
        <pc:sldMkLst>
          <pc:docMk/>
          <pc:sldMk cId="2170031436" sldId="1979422066"/>
        </pc:sldMkLst>
      </pc:sldChg>
      <pc:sldChg chg="modSp add modTransition">
        <pc:chgData name="Frank Tan (qutan)" userId="1cc8c1fc-bfb1-4b23-ae96-de603ddcbe90" providerId="ADAL" clId="{4AD5E795-8F90-F04B-94B0-3DD4CA04D5EE}" dt="2020-03-19T06:34:18.273" v="1553" actId="14100"/>
        <pc:sldMkLst>
          <pc:docMk/>
          <pc:sldMk cId="4286904183" sldId="1979422067"/>
        </pc:sldMkLst>
        <pc:spChg chg="mod">
          <ac:chgData name="Frank Tan (qutan)" userId="1cc8c1fc-bfb1-4b23-ae96-de603ddcbe90" providerId="ADAL" clId="{4AD5E795-8F90-F04B-94B0-3DD4CA04D5EE}" dt="2020-03-19T06:34:18.273" v="1553" actId="14100"/>
          <ac:spMkLst>
            <pc:docMk/>
            <pc:sldMk cId="4286904183" sldId="1979422067"/>
            <ac:spMk id="2" creationId="{FBA75749-7975-7A41-AC85-97FC14F95C8B}"/>
          </ac:spMkLst>
        </pc:spChg>
      </pc:sldChg>
      <pc:sldChg chg="addSp modSp add modTransition">
        <pc:chgData name="Frank Tan (qutan)" userId="1cc8c1fc-bfb1-4b23-ae96-de603ddcbe90" providerId="ADAL" clId="{4AD5E795-8F90-F04B-94B0-3DD4CA04D5EE}" dt="2020-03-19T06:02:08.087" v="1534"/>
        <pc:sldMkLst>
          <pc:docMk/>
          <pc:sldMk cId="643696468" sldId="1979422068"/>
        </pc:sldMkLst>
        <pc:spChg chg="mod">
          <ac:chgData name="Frank Tan (qutan)" userId="1cc8c1fc-bfb1-4b23-ae96-de603ddcbe90" providerId="ADAL" clId="{4AD5E795-8F90-F04B-94B0-3DD4CA04D5EE}" dt="2020-03-18T14:13:23.818" v="816" actId="14100"/>
          <ac:spMkLst>
            <pc:docMk/>
            <pc:sldMk cId="643696468" sldId="1979422068"/>
            <ac:spMk id="2" creationId="{4C2A757F-1448-F74A-A415-BF5C552F88C9}"/>
          </ac:spMkLst>
        </pc:spChg>
        <pc:spChg chg="mod">
          <ac:chgData name="Frank Tan (qutan)" userId="1cc8c1fc-bfb1-4b23-ae96-de603ddcbe90" providerId="ADAL" clId="{4AD5E795-8F90-F04B-94B0-3DD4CA04D5EE}" dt="2020-03-18T14:13:10.378" v="814"/>
          <ac:spMkLst>
            <pc:docMk/>
            <pc:sldMk cId="643696468" sldId="1979422068"/>
            <ac:spMk id="3" creationId="{0FB427E1-19C4-B04B-829A-D1749F249BAB}"/>
          </ac:spMkLst>
        </pc:spChg>
        <pc:spChg chg="add mod">
          <ac:chgData name="Frank Tan (qutan)" userId="1cc8c1fc-bfb1-4b23-ae96-de603ddcbe90" providerId="ADAL" clId="{4AD5E795-8F90-F04B-94B0-3DD4CA04D5EE}" dt="2020-03-18T14:13:41.983" v="819" actId="14100"/>
          <ac:spMkLst>
            <pc:docMk/>
            <pc:sldMk cId="643696468" sldId="1979422068"/>
            <ac:spMk id="4" creationId="{901FB8E9-D8C4-7D43-9472-05545564CA98}"/>
          </ac:spMkLst>
        </pc:spChg>
      </pc:sldChg>
      <pc:sldChg chg="modSp add modTransition">
        <pc:chgData name="Frank Tan (qutan)" userId="1cc8c1fc-bfb1-4b23-ae96-de603ddcbe90" providerId="ADAL" clId="{4AD5E795-8F90-F04B-94B0-3DD4CA04D5EE}" dt="2020-03-19T06:02:08.087" v="1534"/>
        <pc:sldMkLst>
          <pc:docMk/>
          <pc:sldMk cId="497592510" sldId="1979422069"/>
        </pc:sldMkLst>
        <pc:spChg chg="mod">
          <ac:chgData name="Frank Tan (qutan)" userId="1cc8c1fc-bfb1-4b23-ae96-de603ddcbe90" providerId="ADAL" clId="{4AD5E795-8F90-F04B-94B0-3DD4CA04D5EE}" dt="2020-03-18T14:02:13.082" v="756" actId="20577"/>
          <ac:spMkLst>
            <pc:docMk/>
            <pc:sldMk cId="497592510" sldId="1979422069"/>
            <ac:spMk id="2" creationId="{984150D9-0E54-F747-8AE8-39B862DA6732}"/>
          </ac:spMkLst>
        </pc:spChg>
      </pc:sldChg>
      <pc:sldChg chg="addSp modSp add modTransition">
        <pc:chgData name="Frank Tan (qutan)" userId="1cc8c1fc-bfb1-4b23-ae96-de603ddcbe90" providerId="ADAL" clId="{4AD5E795-8F90-F04B-94B0-3DD4CA04D5EE}" dt="2020-03-19T06:02:08.087" v="1534"/>
        <pc:sldMkLst>
          <pc:docMk/>
          <pc:sldMk cId="2875427863" sldId="1979422070"/>
        </pc:sldMkLst>
        <pc:spChg chg="mod">
          <ac:chgData name="Frank Tan (qutan)" userId="1cc8c1fc-bfb1-4b23-ae96-de603ddcbe90" providerId="ADAL" clId="{4AD5E795-8F90-F04B-94B0-3DD4CA04D5EE}" dt="2020-03-18T14:07:33.351" v="772" actId="14100"/>
          <ac:spMkLst>
            <pc:docMk/>
            <pc:sldMk cId="2875427863" sldId="1979422070"/>
            <ac:spMk id="2" creationId="{B9C9E49D-348D-DE4D-B36B-DD66DD5D35F0}"/>
          </ac:spMkLst>
        </pc:spChg>
        <pc:spChg chg="mod">
          <ac:chgData name="Frank Tan (qutan)" userId="1cc8c1fc-bfb1-4b23-ae96-de603ddcbe90" providerId="ADAL" clId="{4AD5E795-8F90-F04B-94B0-3DD4CA04D5EE}" dt="2020-03-18T14:03:31.083" v="758"/>
          <ac:spMkLst>
            <pc:docMk/>
            <pc:sldMk cId="2875427863" sldId="1979422070"/>
            <ac:spMk id="3" creationId="{9AC7ABB3-4336-4646-83B7-2CE918B4EC9F}"/>
          </ac:spMkLst>
        </pc:spChg>
        <pc:spChg chg="add mod">
          <ac:chgData name="Frank Tan (qutan)" userId="1cc8c1fc-bfb1-4b23-ae96-de603ddcbe90" providerId="ADAL" clId="{4AD5E795-8F90-F04B-94B0-3DD4CA04D5EE}" dt="2020-03-18T14:08:17.492" v="774" actId="1076"/>
          <ac:spMkLst>
            <pc:docMk/>
            <pc:sldMk cId="2875427863" sldId="1979422070"/>
            <ac:spMk id="4" creationId="{9D99F2C4-0390-CA4D-8C89-AA489795FBCC}"/>
          </ac:spMkLst>
        </pc:spChg>
      </pc:sldChg>
      <pc:sldChg chg="addSp modSp add modTransition">
        <pc:chgData name="Frank Tan (qutan)" userId="1cc8c1fc-bfb1-4b23-ae96-de603ddcbe90" providerId="ADAL" clId="{4AD5E795-8F90-F04B-94B0-3DD4CA04D5EE}" dt="2020-03-19T06:02:08.087" v="1534"/>
        <pc:sldMkLst>
          <pc:docMk/>
          <pc:sldMk cId="1643834166" sldId="1979422071"/>
        </pc:sldMkLst>
        <pc:spChg chg="mod">
          <ac:chgData name="Frank Tan (qutan)" userId="1cc8c1fc-bfb1-4b23-ae96-de603ddcbe90" providerId="ADAL" clId="{4AD5E795-8F90-F04B-94B0-3DD4CA04D5EE}" dt="2020-03-18T14:09:11.873" v="783" actId="14100"/>
          <ac:spMkLst>
            <pc:docMk/>
            <pc:sldMk cId="1643834166" sldId="1979422071"/>
            <ac:spMk id="2" creationId="{9CF080E0-87DB-654E-B0DF-028E7DFF0389}"/>
          </ac:spMkLst>
        </pc:spChg>
        <pc:spChg chg="mod">
          <ac:chgData name="Frank Tan (qutan)" userId="1cc8c1fc-bfb1-4b23-ae96-de603ddcbe90" providerId="ADAL" clId="{4AD5E795-8F90-F04B-94B0-3DD4CA04D5EE}" dt="2020-03-18T14:08:39.201" v="776"/>
          <ac:spMkLst>
            <pc:docMk/>
            <pc:sldMk cId="1643834166" sldId="1979422071"/>
            <ac:spMk id="3" creationId="{74402131-BC98-7B45-B0B3-B290AF4407E6}"/>
          </ac:spMkLst>
        </pc:spChg>
        <pc:picChg chg="add mod">
          <ac:chgData name="Frank Tan (qutan)" userId="1cc8c1fc-bfb1-4b23-ae96-de603ddcbe90" providerId="ADAL" clId="{4AD5E795-8F90-F04B-94B0-3DD4CA04D5EE}" dt="2020-03-18T14:10:16.563" v="786" actId="1076"/>
          <ac:picMkLst>
            <pc:docMk/>
            <pc:sldMk cId="1643834166" sldId="1979422071"/>
            <ac:picMk id="4" creationId="{57CFA519-F5FA-1544-BF89-5B6069362061}"/>
          </ac:picMkLst>
        </pc:picChg>
      </pc:sldChg>
      <pc:sldChg chg="modSp add modTransition">
        <pc:chgData name="Frank Tan (qutan)" userId="1cc8c1fc-bfb1-4b23-ae96-de603ddcbe90" providerId="ADAL" clId="{4AD5E795-8F90-F04B-94B0-3DD4CA04D5EE}" dt="2020-03-19T06:02:08.087" v="1534"/>
        <pc:sldMkLst>
          <pc:docMk/>
          <pc:sldMk cId="1279232681" sldId="1979422072"/>
        </pc:sldMkLst>
        <pc:spChg chg="mod">
          <ac:chgData name="Frank Tan (qutan)" userId="1cc8c1fc-bfb1-4b23-ae96-de603ddcbe90" providerId="ADAL" clId="{4AD5E795-8F90-F04B-94B0-3DD4CA04D5EE}" dt="2020-03-18T14:11:52.270" v="794" actId="20577"/>
          <ac:spMkLst>
            <pc:docMk/>
            <pc:sldMk cId="1279232681" sldId="1979422072"/>
            <ac:spMk id="2" creationId="{B1D0CE90-ABCE-BD49-9F9C-771DD42FF825}"/>
          </ac:spMkLst>
        </pc:spChg>
      </pc:sldChg>
      <pc:sldChg chg="addSp modSp add modTransition">
        <pc:chgData name="Frank Tan (qutan)" userId="1cc8c1fc-bfb1-4b23-ae96-de603ddcbe90" providerId="ADAL" clId="{4AD5E795-8F90-F04B-94B0-3DD4CA04D5EE}" dt="2020-03-19T06:02:08.087" v="1534"/>
        <pc:sldMkLst>
          <pc:docMk/>
          <pc:sldMk cId="1692646442" sldId="1979422073"/>
        </pc:sldMkLst>
        <pc:spChg chg="mod">
          <ac:chgData name="Frank Tan (qutan)" userId="1cc8c1fc-bfb1-4b23-ae96-de603ddcbe90" providerId="ADAL" clId="{4AD5E795-8F90-F04B-94B0-3DD4CA04D5EE}" dt="2020-03-18T14:12:44.736" v="812" actId="14100"/>
          <ac:spMkLst>
            <pc:docMk/>
            <pc:sldMk cId="1692646442" sldId="1979422073"/>
            <ac:spMk id="2" creationId="{AC45345A-C14F-7B48-A796-57CED6319981}"/>
          </ac:spMkLst>
        </pc:spChg>
        <pc:spChg chg="mod">
          <ac:chgData name="Frank Tan (qutan)" userId="1cc8c1fc-bfb1-4b23-ae96-de603ddcbe90" providerId="ADAL" clId="{4AD5E795-8F90-F04B-94B0-3DD4CA04D5EE}" dt="2020-03-18T14:12:10.251" v="799" actId="20577"/>
          <ac:spMkLst>
            <pc:docMk/>
            <pc:sldMk cId="1692646442" sldId="1979422073"/>
            <ac:spMk id="3" creationId="{6AFEFB98-A7D1-2E4A-B554-4D77C2F1C8E0}"/>
          </ac:spMkLst>
        </pc:spChg>
        <pc:spChg chg="add">
          <ac:chgData name="Frank Tan (qutan)" userId="1cc8c1fc-bfb1-4b23-ae96-de603ddcbe90" providerId="ADAL" clId="{4AD5E795-8F90-F04B-94B0-3DD4CA04D5EE}" dt="2020-03-18T14:12:56.412" v="813"/>
          <ac:spMkLst>
            <pc:docMk/>
            <pc:sldMk cId="1692646442" sldId="1979422073"/>
            <ac:spMk id="4" creationId="{5DEB248E-B310-6C4B-A661-09D354B8332D}"/>
          </ac:spMkLst>
        </pc:spChg>
      </pc:sldChg>
      <pc:sldChg chg="modSp add modTransition">
        <pc:chgData name="Frank Tan (qutan)" userId="1cc8c1fc-bfb1-4b23-ae96-de603ddcbe90" providerId="ADAL" clId="{4AD5E795-8F90-F04B-94B0-3DD4CA04D5EE}" dt="2020-03-19T06:02:08.087" v="1534"/>
        <pc:sldMkLst>
          <pc:docMk/>
          <pc:sldMk cId="3764922151" sldId="1979422074"/>
        </pc:sldMkLst>
        <pc:spChg chg="mod">
          <ac:chgData name="Frank Tan (qutan)" userId="1cc8c1fc-bfb1-4b23-ae96-de603ddcbe90" providerId="ADAL" clId="{4AD5E795-8F90-F04B-94B0-3DD4CA04D5EE}" dt="2020-03-18T14:14:41.967" v="828" actId="20577"/>
          <ac:spMkLst>
            <pc:docMk/>
            <pc:sldMk cId="3764922151" sldId="1979422074"/>
            <ac:spMk id="2" creationId="{9A13B99B-FCA2-8F41-BC04-7A0122C5CF01}"/>
          </ac:spMkLst>
        </pc:spChg>
      </pc:sldChg>
      <pc:sldChg chg="addSp modSp add modTransition">
        <pc:chgData name="Frank Tan (qutan)" userId="1cc8c1fc-bfb1-4b23-ae96-de603ddcbe90" providerId="ADAL" clId="{4AD5E795-8F90-F04B-94B0-3DD4CA04D5EE}" dt="2020-03-19T06:02:08.087" v="1534"/>
        <pc:sldMkLst>
          <pc:docMk/>
          <pc:sldMk cId="2843516520" sldId="1979422075"/>
        </pc:sldMkLst>
        <pc:spChg chg="mod">
          <ac:chgData name="Frank Tan (qutan)" userId="1cc8c1fc-bfb1-4b23-ae96-de603ddcbe90" providerId="ADAL" clId="{4AD5E795-8F90-F04B-94B0-3DD4CA04D5EE}" dt="2020-03-18T14:15:37.753" v="845" actId="14100"/>
          <ac:spMkLst>
            <pc:docMk/>
            <pc:sldMk cId="2843516520" sldId="1979422075"/>
            <ac:spMk id="2" creationId="{3720898E-195B-2F42-B027-098219477E78}"/>
          </ac:spMkLst>
        </pc:spChg>
        <pc:spChg chg="mod">
          <ac:chgData name="Frank Tan (qutan)" userId="1cc8c1fc-bfb1-4b23-ae96-de603ddcbe90" providerId="ADAL" clId="{4AD5E795-8F90-F04B-94B0-3DD4CA04D5EE}" dt="2020-03-18T14:14:59.618" v="830"/>
          <ac:spMkLst>
            <pc:docMk/>
            <pc:sldMk cId="2843516520" sldId="1979422075"/>
            <ac:spMk id="3" creationId="{F8FD320E-B8B5-1749-93E8-B5BD48119FF7}"/>
          </ac:spMkLst>
        </pc:spChg>
        <pc:spChg chg="add mod">
          <ac:chgData name="Frank Tan (qutan)" userId="1cc8c1fc-bfb1-4b23-ae96-de603ddcbe90" providerId="ADAL" clId="{4AD5E795-8F90-F04B-94B0-3DD4CA04D5EE}" dt="2020-03-18T14:15:49.839" v="847" actId="1076"/>
          <ac:spMkLst>
            <pc:docMk/>
            <pc:sldMk cId="2843516520" sldId="1979422075"/>
            <ac:spMk id="4" creationId="{3AE4187C-397D-A546-9183-7A053B07AC16}"/>
          </ac:spMkLst>
        </pc:spChg>
      </pc:sldChg>
      <pc:sldChg chg="addSp modSp add modTransition">
        <pc:chgData name="Frank Tan (qutan)" userId="1cc8c1fc-bfb1-4b23-ae96-de603ddcbe90" providerId="ADAL" clId="{4AD5E795-8F90-F04B-94B0-3DD4CA04D5EE}" dt="2020-03-19T06:02:08.087" v="1534"/>
        <pc:sldMkLst>
          <pc:docMk/>
          <pc:sldMk cId="4262144059" sldId="1979422076"/>
        </pc:sldMkLst>
        <pc:spChg chg="mod">
          <ac:chgData name="Frank Tan (qutan)" userId="1cc8c1fc-bfb1-4b23-ae96-de603ddcbe90" providerId="ADAL" clId="{4AD5E795-8F90-F04B-94B0-3DD4CA04D5EE}" dt="2020-03-18T14:17:05.819" v="853" actId="20577"/>
          <ac:spMkLst>
            <pc:docMk/>
            <pc:sldMk cId="4262144059" sldId="1979422076"/>
            <ac:spMk id="2" creationId="{ABA1FC73-CED1-A546-A972-E0C12E27EA55}"/>
          </ac:spMkLst>
        </pc:spChg>
        <pc:spChg chg="mod">
          <ac:chgData name="Frank Tan (qutan)" userId="1cc8c1fc-bfb1-4b23-ae96-de603ddcbe90" providerId="ADAL" clId="{4AD5E795-8F90-F04B-94B0-3DD4CA04D5EE}" dt="2020-03-18T14:16:41.130" v="849"/>
          <ac:spMkLst>
            <pc:docMk/>
            <pc:sldMk cId="4262144059" sldId="1979422076"/>
            <ac:spMk id="3" creationId="{518977D9-D80D-5D42-A1D2-E2D4441EB483}"/>
          </ac:spMkLst>
        </pc:spChg>
        <pc:spChg chg="add">
          <ac:chgData name="Frank Tan (qutan)" userId="1cc8c1fc-bfb1-4b23-ae96-de603ddcbe90" providerId="ADAL" clId="{4AD5E795-8F90-F04B-94B0-3DD4CA04D5EE}" dt="2020-03-18T14:17:13.997" v="854"/>
          <ac:spMkLst>
            <pc:docMk/>
            <pc:sldMk cId="4262144059" sldId="1979422076"/>
            <ac:spMk id="4" creationId="{EB0F92BE-FFD4-9A47-9B2F-5C96918597E8}"/>
          </ac:spMkLst>
        </pc:spChg>
      </pc:sldChg>
      <pc:sldChg chg="addSp modSp add modTransition">
        <pc:chgData name="Frank Tan (qutan)" userId="1cc8c1fc-bfb1-4b23-ae96-de603ddcbe90" providerId="ADAL" clId="{4AD5E795-8F90-F04B-94B0-3DD4CA04D5EE}" dt="2020-03-19T06:02:08.087" v="1534"/>
        <pc:sldMkLst>
          <pc:docMk/>
          <pc:sldMk cId="1369103171" sldId="1979422077"/>
        </pc:sldMkLst>
        <pc:spChg chg="mod">
          <ac:chgData name="Frank Tan (qutan)" userId="1cc8c1fc-bfb1-4b23-ae96-de603ddcbe90" providerId="ADAL" clId="{4AD5E795-8F90-F04B-94B0-3DD4CA04D5EE}" dt="2020-03-18T14:20:45.583" v="867" actId="14100"/>
          <ac:spMkLst>
            <pc:docMk/>
            <pc:sldMk cId="1369103171" sldId="1979422077"/>
            <ac:spMk id="2" creationId="{99F20F40-0278-3744-AB53-ABDBC0243367}"/>
          </ac:spMkLst>
        </pc:spChg>
        <pc:spChg chg="mod">
          <ac:chgData name="Frank Tan (qutan)" userId="1cc8c1fc-bfb1-4b23-ae96-de603ddcbe90" providerId="ADAL" clId="{4AD5E795-8F90-F04B-94B0-3DD4CA04D5EE}" dt="2020-03-18T14:20:35.328" v="864"/>
          <ac:spMkLst>
            <pc:docMk/>
            <pc:sldMk cId="1369103171" sldId="1979422077"/>
            <ac:spMk id="3" creationId="{A0801393-906D-B04F-BB1C-190B0922CF09}"/>
          </ac:spMkLst>
        </pc:spChg>
        <pc:spChg chg="add">
          <ac:chgData name="Frank Tan (qutan)" userId="1cc8c1fc-bfb1-4b23-ae96-de603ddcbe90" providerId="ADAL" clId="{4AD5E795-8F90-F04B-94B0-3DD4CA04D5EE}" dt="2020-03-18T14:20:50.743" v="868"/>
          <ac:spMkLst>
            <pc:docMk/>
            <pc:sldMk cId="1369103171" sldId="1979422077"/>
            <ac:spMk id="4" creationId="{3C653680-447D-FA4A-A7EF-6AE99345F7E8}"/>
          </ac:spMkLst>
        </pc:spChg>
      </pc:sldChg>
      <pc:sldChg chg="modSp add modTransition">
        <pc:chgData name="Frank Tan (qutan)" userId="1cc8c1fc-bfb1-4b23-ae96-de603ddcbe90" providerId="ADAL" clId="{4AD5E795-8F90-F04B-94B0-3DD4CA04D5EE}" dt="2020-03-19T06:02:08.087" v="1534"/>
        <pc:sldMkLst>
          <pc:docMk/>
          <pc:sldMk cId="3246534070" sldId="1979422078"/>
        </pc:sldMkLst>
        <pc:spChg chg="mod">
          <ac:chgData name="Frank Tan (qutan)" userId="1cc8c1fc-bfb1-4b23-ae96-de603ddcbe90" providerId="ADAL" clId="{4AD5E795-8F90-F04B-94B0-3DD4CA04D5EE}" dt="2020-03-18T15:03:49.862" v="958" actId="20577"/>
          <ac:spMkLst>
            <pc:docMk/>
            <pc:sldMk cId="3246534070" sldId="1979422078"/>
            <ac:spMk id="2" creationId="{BC62B5D0-5592-AA48-8591-501F5858303C}"/>
          </ac:spMkLst>
        </pc:spChg>
      </pc:sldChg>
      <pc:sldChg chg="addSp delSp modSp add modTransition">
        <pc:chgData name="Frank Tan (qutan)" userId="1cc8c1fc-bfb1-4b23-ae96-de603ddcbe90" providerId="ADAL" clId="{4AD5E795-8F90-F04B-94B0-3DD4CA04D5EE}" dt="2020-03-19T06:02:08.087" v="1534"/>
        <pc:sldMkLst>
          <pc:docMk/>
          <pc:sldMk cId="2274135863" sldId="1979422079"/>
        </pc:sldMkLst>
        <pc:spChg chg="add del mod">
          <ac:chgData name="Frank Tan (qutan)" userId="1cc8c1fc-bfb1-4b23-ae96-de603ddcbe90" providerId="ADAL" clId="{4AD5E795-8F90-F04B-94B0-3DD4CA04D5EE}" dt="2020-03-18T15:05:16.896" v="971" actId="478"/>
          <ac:spMkLst>
            <pc:docMk/>
            <pc:sldMk cId="2274135863" sldId="1979422079"/>
            <ac:spMk id="2" creationId="{159AF6F0-0B26-C748-8F37-059D3DCEE774}"/>
          </ac:spMkLst>
        </pc:spChg>
        <pc:spChg chg="mod">
          <ac:chgData name="Frank Tan (qutan)" userId="1cc8c1fc-bfb1-4b23-ae96-de603ddcbe90" providerId="ADAL" clId="{4AD5E795-8F90-F04B-94B0-3DD4CA04D5EE}" dt="2020-03-18T15:07:03.422" v="986"/>
          <ac:spMkLst>
            <pc:docMk/>
            <pc:sldMk cId="2274135863" sldId="1979422079"/>
            <ac:spMk id="3" creationId="{BA7CD0C5-7D4B-744A-A5A5-0CC01071BCBA}"/>
          </ac:spMkLst>
        </pc:spChg>
        <pc:spChg chg="add del mod">
          <ac:chgData name="Frank Tan (qutan)" userId="1cc8c1fc-bfb1-4b23-ae96-de603ddcbe90" providerId="ADAL" clId="{4AD5E795-8F90-F04B-94B0-3DD4CA04D5EE}" dt="2020-03-18T15:05:04.506" v="968"/>
          <ac:spMkLst>
            <pc:docMk/>
            <pc:sldMk cId="2274135863" sldId="1979422079"/>
            <ac:spMk id="4" creationId="{7CE4F242-532F-CA4B-BDE9-D5CC7FFB2BA9}"/>
          </ac:spMkLst>
        </pc:spChg>
        <pc:spChg chg="add mod">
          <ac:chgData name="Frank Tan (qutan)" userId="1cc8c1fc-bfb1-4b23-ae96-de603ddcbe90" providerId="ADAL" clId="{4AD5E795-8F90-F04B-94B0-3DD4CA04D5EE}" dt="2020-03-18T15:07:17.670" v="989" actId="14100"/>
          <ac:spMkLst>
            <pc:docMk/>
            <pc:sldMk cId="2274135863" sldId="1979422079"/>
            <ac:spMk id="5" creationId="{C774CBC6-CAE6-5842-8FB7-27D83D597D32}"/>
          </ac:spMkLst>
        </pc:spChg>
        <pc:spChg chg="add del mod">
          <ac:chgData name="Frank Tan (qutan)" userId="1cc8c1fc-bfb1-4b23-ae96-de603ddcbe90" providerId="ADAL" clId="{4AD5E795-8F90-F04B-94B0-3DD4CA04D5EE}" dt="2020-03-18T15:05:34.609" v="973" actId="478"/>
          <ac:spMkLst>
            <pc:docMk/>
            <pc:sldMk cId="2274135863" sldId="1979422079"/>
            <ac:spMk id="6" creationId="{F4A304DE-6C53-884A-97DC-F40C111970D6}"/>
          </ac:spMkLst>
        </pc:spChg>
        <pc:spChg chg="add del mod">
          <ac:chgData name="Frank Tan (qutan)" userId="1cc8c1fc-bfb1-4b23-ae96-de603ddcbe90" providerId="ADAL" clId="{4AD5E795-8F90-F04B-94B0-3DD4CA04D5EE}" dt="2020-03-18T15:05:45.412" v="975"/>
          <ac:spMkLst>
            <pc:docMk/>
            <pc:sldMk cId="2274135863" sldId="1979422079"/>
            <ac:spMk id="7" creationId="{2D033B2E-11F1-0943-B564-AFAC3AD08E3A}"/>
          </ac:spMkLst>
        </pc:spChg>
        <pc:spChg chg="add mod">
          <ac:chgData name="Frank Tan (qutan)" userId="1cc8c1fc-bfb1-4b23-ae96-de603ddcbe90" providerId="ADAL" clId="{4AD5E795-8F90-F04B-94B0-3DD4CA04D5EE}" dt="2020-03-18T15:07:21.545" v="990" actId="14100"/>
          <ac:spMkLst>
            <pc:docMk/>
            <pc:sldMk cId="2274135863" sldId="1979422079"/>
            <ac:spMk id="8" creationId="{7CD12198-C0DB-B143-9774-C0070A24F23F}"/>
          </ac:spMkLst>
        </pc:spChg>
        <pc:spChg chg="add del mod">
          <ac:chgData name="Frank Tan (qutan)" userId="1cc8c1fc-bfb1-4b23-ae96-de603ddcbe90" providerId="ADAL" clId="{4AD5E795-8F90-F04B-94B0-3DD4CA04D5EE}" dt="2020-03-18T15:05:55.373" v="981"/>
          <ac:spMkLst>
            <pc:docMk/>
            <pc:sldMk cId="2274135863" sldId="1979422079"/>
            <ac:spMk id="9" creationId="{B9821393-7694-3D4B-AB62-4191E497E510}"/>
          </ac:spMkLst>
        </pc:spChg>
        <pc:spChg chg="add del mod">
          <ac:chgData name="Frank Tan (qutan)" userId="1cc8c1fc-bfb1-4b23-ae96-de603ddcbe90" providerId="ADAL" clId="{4AD5E795-8F90-F04B-94B0-3DD4CA04D5EE}" dt="2020-03-18T15:05:55.373" v="981"/>
          <ac:spMkLst>
            <pc:docMk/>
            <pc:sldMk cId="2274135863" sldId="1979422079"/>
            <ac:spMk id="10" creationId="{42458DF4-1409-8B46-92B5-B8E3F8113891}"/>
          </ac:spMkLst>
        </pc:spChg>
        <pc:spChg chg="add del mod">
          <ac:chgData name="Frank Tan (qutan)" userId="1cc8c1fc-bfb1-4b23-ae96-de603ddcbe90" providerId="ADAL" clId="{4AD5E795-8F90-F04B-94B0-3DD4CA04D5EE}" dt="2020-03-18T15:07:13.598" v="987"/>
          <ac:spMkLst>
            <pc:docMk/>
            <pc:sldMk cId="2274135863" sldId="1979422079"/>
            <ac:spMk id="11" creationId="{8F2C248F-74A8-CC4A-A4FA-97778364F92D}"/>
          </ac:spMkLst>
        </pc:spChg>
        <pc:spChg chg="add del mod">
          <ac:chgData name="Frank Tan (qutan)" userId="1cc8c1fc-bfb1-4b23-ae96-de603ddcbe90" providerId="ADAL" clId="{4AD5E795-8F90-F04B-94B0-3DD4CA04D5EE}" dt="2020-03-18T15:07:13.598" v="987"/>
          <ac:spMkLst>
            <pc:docMk/>
            <pc:sldMk cId="2274135863" sldId="1979422079"/>
            <ac:spMk id="12" creationId="{305D69A1-44D3-E144-B443-5CDF654838A9}"/>
          </ac:spMkLst>
        </pc:spChg>
      </pc:sldChg>
      <pc:sldChg chg="addSp modSp add modTransition">
        <pc:chgData name="Frank Tan (qutan)" userId="1cc8c1fc-bfb1-4b23-ae96-de603ddcbe90" providerId="ADAL" clId="{4AD5E795-8F90-F04B-94B0-3DD4CA04D5EE}" dt="2020-03-19T06:02:08.087" v="1534"/>
        <pc:sldMkLst>
          <pc:docMk/>
          <pc:sldMk cId="1765688242" sldId="1979422080"/>
        </pc:sldMkLst>
        <pc:spChg chg="mod">
          <ac:chgData name="Frank Tan (qutan)" userId="1cc8c1fc-bfb1-4b23-ae96-de603ddcbe90" providerId="ADAL" clId="{4AD5E795-8F90-F04B-94B0-3DD4CA04D5EE}" dt="2020-03-18T15:08:09.428" v="1007" actId="14100"/>
          <ac:spMkLst>
            <pc:docMk/>
            <pc:sldMk cId="1765688242" sldId="1979422080"/>
            <ac:spMk id="2" creationId="{A35A580C-CB3E-684E-B901-5A7DBC48CBF1}"/>
          </ac:spMkLst>
        </pc:spChg>
        <pc:spChg chg="mod">
          <ac:chgData name="Frank Tan (qutan)" userId="1cc8c1fc-bfb1-4b23-ae96-de603ddcbe90" providerId="ADAL" clId="{4AD5E795-8F90-F04B-94B0-3DD4CA04D5EE}" dt="2020-03-18T15:07:35.986" v="992"/>
          <ac:spMkLst>
            <pc:docMk/>
            <pc:sldMk cId="1765688242" sldId="1979422080"/>
            <ac:spMk id="3" creationId="{D8B25A73-B975-DA4A-9521-DD8C11DC4827}"/>
          </ac:spMkLst>
        </pc:spChg>
        <pc:spChg chg="add">
          <ac:chgData name="Frank Tan (qutan)" userId="1cc8c1fc-bfb1-4b23-ae96-de603ddcbe90" providerId="ADAL" clId="{4AD5E795-8F90-F04B-94B0-3DD4CA04D5EE}" dt="2020-03-18T15:08:14.193" v="1008"/>
          <ac:spMkLst>
            <pc:docMk/>
            <pc:sldMk cId="1765688242" sldId="1979422080"/>
            <ac:spMk id="4" creationId="{505EC94F-5EE7-F841-A827-623523B9DA6F}"/>
          </ac:spMkLst>
        </pc:spChg>
      </pc:sldChg>
      <pc:sldChg chg="addSp modSp add modTransition">
        <pc:chgData name="Frank Tan (qutan)" userId="1cc8c1fc-bfb1-4b23-ae96-de603ddcbe90" providerId="ADAL" clId="{4AD5E795-8F90-F04B-94B0-3DD4CA04D5EE}" dt="2020-03-19T06:02:08.087" v="1534"/>
        <pc:sldMkLst>
          <pc:docMk/>
          <pc:sldMk cId="1310601295" sldId="1979422081"/>
        </pc:sldMkLst>
        <pc:spChg chg="mod">
          <ac:chgData name="Frank Tan (qutan)" userId="1cc8c1fc-bfb1-4b23-ae96-de603ddcbe90" providerId="ADAL" clId="{4AD5E795-8F90-F04B-94B0-3DD4CA04D5EE}" dt="2020-03-18T15:10:39.339" v="1019" actId="14100"/>
          <ac:spMkLst>
            <pc:docMk/>
            <pc:sldMk cId="1310601295" sldId="1979422081"/>
            <ac:spMk id="2" creationId="{97B20BC9-92BC-2242-83D0-89FA66542EE9}"/>
          </ac:spMkLst>
        </pc:spChg>
        <pc:spChg chg="mod">
          <ac:chgData name="Frank Tan (qutan)" userId="1cc8c1fc-bfb1-4b23-ae96-de603ddcbe90" providerId="ADAL" clId="{4AD5E795-8F90-F04B-94B0-3DD4CA04D5EE}" dt="2020-03-18T15:09:47.475" v="1010"/>
          <ac:spMkLst>
            <pc:docMk/>
            <pc:sldMk cId="1310601295" sldId="1979422081"/>
            <ac:spMk id="3" creationId="{9F1BADC4-DB84-D14D-9306-D5E97F0A0AF4}"/>
          </ac:spMkLst>
        </pc:spChg>
        <pc:spChg chg="add mod">
          <ac:chgData name="Frank Tan (qutan)" userId="1cc8c1fc-bfb1-4b23-ae96-de603ddcbe90" providerId="ADAL" clId="{4AD5E795-8F90-F04B-94B0-3DD4CA04D5EE}" dt="2020-03-18T15:10:41.364" v="1020" actId="1076"/>
          <ac:spMkLst>
            <pc:docMk/>
            <pc:sldMk cId="1310601295" sldId="1979422081"/>
            <ac:spMk id="4" creationId="{F054F874-77FC-C042-A3BF-DF4FCF58022B}"/>
          </ac:spMkLst>
        </pc:spChg>
      </pc:sldChg>
      <pc:sldChg chg="addSp modSp add modTransition">
        <pc:chgData name="Frank Tan (qutan)" userId="1cc8c1fc-bfb1-4b23-ae96-de603ddcbe90" providerId="ADAL" clId="{4AD5E795-8F90-F04B-94B0-3DD4CA04D5EE}" dt="2020-03-19T06:02:08.087" v="1534"/>
        <pc:sldMkLst>
          <pc:docMk/>
          <pc:sldMk cId="2130463344" sldId="1979422082"/>
        </pc:sldMkLst>
        <pc:spChg chg="mod">
          <ac:chgData name="Frank Tan (qutan)" userId="1cc8c1fc-bfb1-4b23-ae96-de603ddcbe90" providerId="ADAL" clId="{4AD5E795-8F90-F04B-94B0-3DD4CA04D5EE}" dt="2020-03-18T15:12:58.880" v="1038" actId="14100"/>
          <ac:spMkLst>
            <pc:docMk/>
            <pc:sldMk cId="2130463344" sldId="1979422082"/>
            <ac:spMk id="2" creationId="{AA5CA61F-CE22-BB4D-BA9E-4A1A8C6FCB6D}"/>
          </ac:spMkLst>
        </pc:spChg>
        <pc:spChg chg="mod">
          <ac:chgData name="Frank Tan (qutan)" userId="1cc8c1fc-bfb1-4b23-ae96-de603ddcbe90" providerId="ADAL" clId="{4AD5E795-8F90-F04B-94B0-3DD4CA04D5EE}" dt="2020-03-18T15:11:36.253" v="1024" actId="20577"/>
          <ac:spMkLst>
            <pc:docMk/>
            <pc:sldMk cId="2130463344" sldId="1979422082"/>
            <ac:spMk id="3" creationId="{66D787CF-32D0-9A4C-B352-732199D84EB1}"/>
          </ac:spMkLst>
        </pc:spChg>
        <pc:spChg chg="add mod">
          <ac:chgData name="Frank Tan (qutan)" userId="1cc8c1fc-bfb1-4b23-ae96-de603ddcbe90" providerId="ADAL" clId="{4AD5E795-8F90-F04B-94B0-3DD4CA04D5EE}" dt="2020-03-18T15:13:09.113" v="1041" actId="1076"/>
          <ac:spMkLst>
            <pc:docMk/>
            <pc:sldMk cId="2130463344" sldId="1979422082"/>
            <ac:spMk id="4" creationId="{9629C3F4-9782-1848-883E-643805AD610B}"/>
          </ac:spMkLst>
        </pc:spChg>
      </pc:sldChg>
      <pc:sldChg chg="delSp modSp add modTransition">
        <pc:chgData name="Frank Tan (qutan)" userId="1cc8c1fc-bfb1-4b23-ae96-de603ddcbe90" providerId="ADAL" clId="{4AD5E795-8F90-F04B-94B0-3DD4CA04D5EE}" dt="2020-03-19T06:02:08.087" v="1534"/>
        <pc:sldMkLst>
          <pc:docMk/>
          <pc:sldMk cId="3048045440" sldId="1979422083"/>
        </pc:sldMkLst>
        <pc:spChg chg="del">
          <ac:chgData name="Frank Tan (qutan)" userId="1cc8c1fc-bfb1-4b23-ae96-de603ddcbe90" providerId="ADAL" clId="{4AD5E795-8F90-F04B-94B0-3DD4CA04D5EE}" dt="2020-03-18T15:15:36.661" v="1047"/>
          <ac:spMkLst>
            <pc:docMk/>
            <pc:sldMk cId="3048045440" sldId="1979422083"/>
            <ac:spMk id="2" creationId="{805A39F2-7755-304B-9B5D-6F03A082298A}"/>
          </ac:spMkLst>
        </pc:spChg>
        <pc:spChg chg="mod">
          <ac:chgData name="Frank Tan (qutan)" userId="1cc8c1fc-bfb1-4b23-ae96-de603ddcbe90" providerId="ADAL" clId="{4AD5E795-8F90-F04B-94B0-3DD4CA04D5EE}" dt="2020-03-18T15:14:11.273" v="1044" actId="108"/>
          <ac:spMkLst>
            <pc:docMk/>
            <pc:sldMk cId="3048045440" sldId="1979422083"/>
            <ac:spMk id="3" creationId="{6E2E9A49-CAC4-414C-83A0-7AC276EA6B0F}"/>
          </ac:spMkLst>
        </pc:spChg>
      </pc:sldChg>
      <pc:sldChg chg="addSp delSp modSp add del">
        <pc:chgData name="Frank Tan (qutan)" userId="1cc8c1fc-bfb1-4b23-ae96-de603ddcbe90" providerId="ADAL" clId="{4AD5E795-8F90-F04B-94B0-3DD4CA04D5EE}" dt="2020-03-18T15:25:06.678" v="1198" actId="2696"/>
        <pc:sldMkLst>
          <pc:docMk/>
          <pc:sldMk cId="3894860204" sldId="1979422084"/>
        </pc:sldMkLst>
        <pc:spChg chg="del mod">
          <ac:chgData name="Frank Tan (qutan)" userId="1cc8c1fc-bfb1-4b23-ae96-de603ddcbe90" providerId="ADAL" clId="{4AD5E795-8F90-F04B-94B0-3DD4CA04D5EE}" dt="2020-03-18T15:24:47.380" v="1195" actId="478"/>
          <ac:spMkLst>
            <pc:docMk/>
            <pc:sldMk cId="3894860204" sldId="1979422084"/>
            <ac:spMk id="2" creationId="{CF9BFC18-C33F-9949-9B5F-EA901AF8D411}"/>
          </ac:spMkLst>
        </pc:spChg>
        <pc:spChg chg="mod">
          <ac:chgData name="Frank Tan (qutan)" userId="1cc8c1fc-bfb1-4b23-ae96-de603ddcbe90" providerId="ADAL" clId="{4AD5E795-8F90-F04B-94B0-3DD4CA04D5EE}" dt="2020-03-18T15:24:34.825" v="1189"/>
          <ac:spMkLst>
            <pc:docMk/>
            <pc:sldMk cId="3894860204" sldId="1979422084"/>
            <ac:spMk id="3" creationId="{BD2A74BE-8C68-B749-B3D3-F8E0E3F743DE}"/>
          </ac:spMkLst>
        </pc:spChg>
        <pc:spChg chg="add del mod">
          <ac:chgData name="Frank Tan (qutan)" userId="1cc8c1fc-bfb1-4b23-ae96-de603ddcbe90" providerId="ADAL" clId="{4AD5E795-8F90-F04B-94B0-3DD4CA04D5EE}" dt="2020-03-18T15:24:49.991" v="1196" actId="478"/>
          <ac:spMkLst>
            <pc:docMk/>
            <pc:sldMk cId="3894860204" sldId="1979422084"/>
            <ac:spMk id="5" creationId="{7585490D-051C-7F4C-8C27-BFE92AC5C129}"/>
          </ac:spMkLst>
        </pc:spChg>
      </pc:sldChg>
      <pc:sldChg chg="modSp add modTransition">
        <pc:chgData name="Frank Tan (qutan)" userId="1cc8c1fc-bfb1-4b23-ae96-de603ddcbe90" providerId="ADAL" clId="{4AD5E795-8F90-F04B-94B0-3DD4CA04D5EE}" dt="2020-03-19T06:02:08.087" v="1534"/>
        <pc:sldMkLst>
          <pc:docMk/>
          <pc:sldMk cId="1786794299" sldId="1979422085"/>
        </pc:sldMkLst>
        <pc:spChg chg="mod">
          <ac:chgData name="Frank Tan (qutan)" userId="1cc8c1fc-bfb1-4b23-ae96-de603ddcbe90" providerId="ADAL" clId="{4AD5E795-8F90-F04B-94B0-3DD4CA04D5EE}" dt="2020-03-18T15:25:36.773" v="1210" actId="207"/>
          <ac:spMkLst>
            <pc:docMk/>
            <pc:sldMk cId="1786794299" sldId="1979422085"/>
            <ac:spMk id="2" creationId="{437AB501-A619-DD47-81EB-D21BD6AC6CB9}"/>
          </ac:spMkLst>
        </pc:spChg>
        <pc:spChg chg="mod">
          <ac:chgData name="Frank Tan (qutan)" userId="1cc8c1fc-bfb1-4b23-ae96-de603ddcbe90" providerId="ADAL" clId="{4AD5E795-8F90-F04B-94B0-3DD4CA04D5EE}" dt="2020-03-18T15:25:09.668" v="1199"/>
          <ac:spMkLst>
            <pc:docMk/>
            <pc:sldMk cId="1786794299" sldId="1979422085"/>
            <ac:spMk id="3" creationId="{9289627C-57F0-274D-9C1D-34F5783AD886}"/>
          </ac:spMkLst>
        </pc:spChg>
      </pc:sldChg>
      <pc:sldChg chg="addSp modSp add modTransition">
        <pc:chgData name="Frank Tan (qutan)" userId="1cc8c1fc-bfb1-4b23-ae96-de603ddcbe90" providerId="ADAL" clId="{4AD5E795-8F90-F04B-94B0-3DD4CA04D5EE}" dt="2020-03-19T06:02:08.087" v="1534"/>
        <pc:sldMkLst>
          <pc:docMk/>
          <pc:sldMk cId="823605868" sldId="1979422086"/>
        </pc:sldMkLst>
        <pc:spChg chg="mod">
          <ac:chgData name="Frank Tan (qutan)" userId="1cc8c1fc-bfb1-4b23-ae96-de603ddcbe90" providerId="ADAL" clId="{4AD5E795-8F90-F04B-94B0-3DD4CA04D5EE}" dt="2020-03-18T15:27:37.721" v="1222" actId="14100"/>
          <ac:spMkLst>
            <pc:docMk/>
            <pc:sldMk cId="823605868" sldId="1979422086"/>
            <ac:spMk id="2" creationId="{4E5DB3DF-C696-D847-B60F-A7F78D792070}"/>
          </ac:spMkLst>
        </pc:spChg>
        <pc:spChg chg="mod">
          <ac:chgData name="Frank Tan (qutan)" userId="1cc8c1fc-bfb1-4b23-ae96-de603ddcbe90" providerId="ADAL" clId="{4AD5E795-8F90-F04B-94B0-3DD4CA04D5EE}" dt="2020-03-18T15:27:15.717" v="1214" actId="20577"/>
          <ac:spMkLst>
            <pc:docMk/>
            <pc:sldMk cId="823605868" sldId="1979422086"/>
            <ac:spMk id="3" creationId="{777515EF-CAD3-474C-9934-7D0C1F6C635B}"/>
          </ac:spMkLst>
        </pc:spChg>
        <pc:spChg chg="add mod">
          <ac:chgData name="Frank Tan (qutan)" userId="1cc8c1fc-bfb1-4b23-ae96-de603ddcbe90" providerId="ADAL" clId="{4AD5E795-8F90-F04B-94B0-3DD4CA04D5EE}" dt="2020-03-18T15:27:48.799" v="1224" actId="1076"/>
          <ac:spMkLst>
            <pc:docMk/>
            <pc:sldMk cId="823605868" sldId="1979422086"/>
            <ac:spMk id="4" creationId="{73712BDE-D35B-C746-8991-1CE20EF31206}"/>
          </ac:spMkLst>
        </pc:spChg>
        <pc:spChg chg="add mod">
          <ac:chgData name="Frank Tan (qutan)" userId="1cc8c1fc-bfb1-4b23-ae96-de603ddcbe90" providerId="ADAL" clId="{4AD5E795-8F90-F04B-94B0-3DD4CA04D5EE}" dt="2020-03-18T15:31:06.167" v="1244"/>
          <ac:spMkLst>
            <pc:docMk/>
            <pc:sldMk cId="823605868" sldId="1979422086"/>
            <ac:spMk id="5" creationId="{3CCD6F95-EED7-FE4F-B2E5-CBF62A43F8D0}"/>
          </ac:spMkLst>
        </pc:spChg>
      </pc:sldChg>
      <pc:sldChg chg="addSp delSp modSp add modTransition">
        <pc:chgData name="Frank Tan (qutan)" userId="1cc8c1fc-bfb1-4b23-ae96-de603ddcbe90" providerId="ADAL" clId="{4AD5E795-8F90-F04B-94B0-3DD4CA04D5EE}" dt="2020-03-19T06:02:08.087" v="1534"/>
        <pc:sldMkLst>
          <pc:docMk/>
          <pc:sldMk cId="4157689948" sldId="1979422087"/>
        </pc:sldMkLst>
        <pc:spChg chg="mod">
          <ac:chgData name="Frank Tan (qutan)" userId="1cc8c1fc-bfb1-4b23-ae96-de603ddcbe90" providerId="ADAL" clId="{4AD5E795-8F90-F04B-94B0-3DD4CA04D5EE}" dt="2020-03-18T15:29:03.988" v="1238" actId="20577"/>
          <ac:spMkLst>
            <pc:docMk/>
            <pc:sldMk cId="4157689948" sldId="1979422087"/>
            <ac:spMk id="2" creationId="{4E5DB3DF-C696-D847-B60F-A7F78D792070}"/>
          </ac:spMkLst>
        </pc:spChg>
        <pc:spChg chg="mod">
          <ac:chgData name="Frank Tan (qutan)" userId="1cc8c1fc-bfb1-4b23-ae96-de603ddcbe90" providerId="ADAL" clId="{4AD5E795-8F90-F04B-94B0-3DD4CA04D5EE}" dt="2020-03-18T15:28:28.789" v="1231"/>
          <ac:spMkLst>
            <pc:docMk/>
            <pc:sldMk cId="4157689948" sldId="1979422087"/>
            <ac:spMk id="3" creationId="{777515EF-CAD3-474C-9934-7D0C1F6C635B}"/>
          </ac:spMkLst>
        </pc:spChg>
        <pc:spChg chg="del">
          <ac:chgData name="Frank Tan (qutan)" userId="1cc8c1fc-bfb1-4b23-ae96-de603ddcbe90" providerId="ADAL" clId="{4AD5E795-8F90-F04B-94B0-3DD4CA04D5EE}" dt="2020-03-18T15:32:42.862" v="1258" actId="478"/>
          <ac:spMkLst>
            <pc:docMk/>
            <pc:sldMk cId="4157689948" sldId="1979422087"/>
            <ac:spMk id="4" creationId="{73712BDE-D35B-C746-8991-1CE20EF31206}"/>
          </ac:spMkLst>
        </pc:spChg>
        <pc:spChg chg="mod">
          <ac:chgData name="Frank Tan (qutan)" userId="1cc8c1fc-bfb1-4b23-ae96-de603ddcbe90" providerId="ADAL" clId="{4AD5E795-8F90-F04B-94B0-3DD4CA04D5EE}" dt="2020-03-18T15:30:15.043" v="1243"/>
          <ac:spMkLst>
            <pc:docMk/>
            <pc:sldMk cId="4157689948" sldId="1979422087"/>
            <ac:spMk id="5" creationId="{3CCD6F95-EED7-FE4F-B2E5-CBF62A43F8D0}"/>
          </ac:spMkLst>
        </pc:spChg>
        <pc:spChg chg="add mod">
          <ac:chgData name="Frank Tan (qutan)" userId="1cc8c1fc-bfb1-4b23-ae96-de603ddcbe90" providerId="ADAL" clId="{4AD5E795-8F90-F04B-94B0-3DD4CA04D5EE}" dt="2020-03-18T15:32:45.370" v="1259" actId="1076"/>
          <ac:spMkLst>
            <pc:docMk/>
            <pc:sldMk cId="4157689948" sldId="1979422087"/>
            <ac:spMk id="6" creationId="{AC07B961-3CF6-734A-9E26-3AB1C63C3FE2}"/>
          </ac:spMkLst>
        </pc:spChg>
      </pc:sldChg>
      <pc:sldChg chg="addSp delSp modSp add modTransition">
        <pc:chgData name="Frank Tan (qutan)" userId="1cc8c1fc-bfb1-4b23-ae96-de603ddcbe90" providerId="ADAL" clId="{4AD5E795-8F90-F04B-94B0-3DD4CA04D5EE}" dt="2020-03-19T06:02:08.087" v="1534"/>
        <pc:sldMkLst>
          <pc:docMk/>
          <pc:sldMk cId="4080419148" sldId="1979422088"/>
        </pc:sldMkLst>
        <pc:spChg chg="mod">
          <ac:chgData name="Frank Tan (qutan)" userId="1cc8c1fc-bfb1-4b23-ae96-de603ddcbe90" providerId="ADAL" clId="{4AD5E795-8F90-F04B-94B0-3DD4CA04D5EE}" dt="2020-03-18T15:32:17.733" v="1253" actId="20577"/>
          <ac:spMkLst>
            <pc:docMk/>
            <pc:sldMk cId="4080419148" sldId="1979422088"/>
            <ac:spMk id="2" creationId="{4E5DB3DF-C696-D847-B60F-A7F78D792070}"/>
          </ac:spMkLst>
        </pc:spChg>
        <pc:spChg chg="mod">
          <ac:chgData name="Frank Tan (qutan)" userId="1cc8c1fc-bfb1-4b23-ae96-de603ddcbe90" providerId="ADAL" clId="{4AD5E795-8F90-F04B-94B0-3DD4CA04D5EE}" dt="2020-03-18T15:31:41.814" v="1246"/>
          <ac:spMkLst>
            <pc:docMk/>
            <pc:sldMk cId="4080419148" sldId="1979422088"/>
            <ac:spMk id="3" creationId="{777515EF-CAD3-474C-9934-7D0C1F6C635B}"/>
          </ac:spMkLst>
        </pc:spChg>
        <pc:spChg chg="del">
          <ac:chgData name="Frank Tan (qutan)" userId="1cc8c1fc-bfb1-4b23-ae96-de603ddcbe90" providerId="ADAL" clId="{4AD5E795-8F90-F04B-94B0-3DD4CA04D5EE}" dt="2020-03-18T15:32:59.097" v="1260" actId="478"/>
          <ac:spMkLst>
            <pc:docMk/>
            <pc:sldMk cId="4080419148" sldId="1979422088"/>
            <ac:spMk id="4" creationId="{73712BDE-D35B-C746-8991-1CE20EF31206}"/>
          </ac:spMkLst>
        </pc:spChg>
        <pc:spChg chg="mod">
          <ac:chgData name="Frank Tan (qutan)" userId="1cc8c1fc-bfb1-4b23-ae96-de603ddcbe90" providerId="ADAL" clId="{4AD5E795-8F90-F04B-94B0-3DD4CA04D5EE}" dt="2020-03-18T15:33:08.175" v="1263" actId="1076"/>
          <ac:spMkLst>
            <pc:docMk/>
            <pc:sldMk cId="4080419148" sldId="1979422088"/>
            <ac:spMk id="5" creationId="{3CCD6F95-EED7-FE4F-B2E5-CBF62A43F8D0}"/>
          </ac:spMkLst>
        </pc:spChg>
        <pc:spChg chg="add">
          <ac:chgData name="Frank Tan (qutan)" userId="1cc8c1fc-bfb1-4b23-ae96-de603ddcbe90" providerId="ADAL" clId="{4AD5E795-8F90-F04B-94B0-3DD4CA04D5EE}" dt="2020-03-18T15:32:59.645" v="1261"/>
          <ac:spMkLst>
            <pc:docMk/>
            <pc:sldMk cId="4080419148" sldId="1979422088"/>
            <ac:spMk id="6" creationId="{77328613-F3A4-BA4B-8E0B-2E85D98C29E3}"/>
          </ac:spMkLst>
        </pc:spChg>
      </pc:sldChg>
      <pc:sldChg chg="addSp delSp modSp add modTransition">
        <pc:chgData name="Frank Tan (qutan)" userId="1cc8c1fc-bfb1-4b23-ae96-de603ddcbe90" providerId="ADAL" clId="{4AD5E795-8F90-F04B-94B0-3DD4CA04D5EE}" dt="2020-03-19T06:02:08.087" v="1534"/>
        <pc:sldMkLst>
          <pc:docMk/>
          <pc:sldMk cId="1989111262" sldId="1979422089"/>
        </pc:sldMkLst>
        <pc:spChg chg="del">
          <ac:chgData name="Frank Tan (qutan)" userId="1cc8c1fc-bfb1-4b23-ae96-de603ddcbe90" providerId="ADAL" clId="{4AD5E795-8F90-F04B-94B0-3DD4CA04D5EE}" dt="2020-03-18T15:46:18.699" v="1288" actId="478"/>
          <ac:spMkLst>
            <pc:docMk/>
            <pc:sldMk cId="1989111262" sldId="1979422089"/>
            <ac:spMk id="3" creationId="{00000000-0000-0000-0000-000000000000}"/>
          </ac:spMkLst>
        </pc:spChg>
        <pc:spChg chg="add mod">
          <ac:chgData name="Frank Tan (qutan)" userId="1cc8c1fc-bfb1-4b23-ae96-de603ddcbe90" providerId="ADAL" clId="{4AD5E795-8F90-F04B-94B0-3DD4CA04D5EE}" dt="2020-03-18T16:11:32.361" v="1294" actId="1076"/>
          <ac:spMkLst>
            <pc:docMk/>
            <pc:sldMk cId="1989111262" sldId="1979422089"/>
            <ac:spMk id="6" creationId="{CE5AC3DD-71F5-0042-9F06-2BE1B862260E}"/>
          </ac:spMkLst>
        </pc:spChg>
      </pc:sldChg>
      <pc:sldChg chg="addSp delSp modSp add modTransition">
        <pc:chgData name="Frank Tan (qutan)" userId="1cc8c1fc-bfb1-4b23-ae96-de603ddcbe90" providerId="ADAL" clId="{4AD5E795-8F90-F04B-94B0-3DD4CA04D5EE}" dt="2020-03-19T06:02:08.087" v="1534"/>
        <pc:sldMkLst>
          <pc:docMk/>
          <pc:sldMk cId="2845390144" sldId="1979422090"/>
        </pc:sldMkLst>
        <pc:spChg chg="del mod">
          <ac:chgData name="Frank Tan (qutan)" userId="1cc8c1fc-bfb1-4b23-ae96-de603ddcbe90" providerId="ADAL" clId="{4AD5E795-8F90-F04B-94B0-3DD4CA04D5EE}" dt="2020-03-18T15:43:01.453" v="1271" actId="478"/>
          <ac:spMkLst>
            <pc:docMk/>
            <pc:sldMk cId="2845390144" sldId="1979422090"/>
            <ac:spMk id="3" creationId="{00000000-0000-0000-0000-000000000000}"/>
          </ac:spMkLst>
        </pc:spChg>
        <pc:spChg chg="add mod">
          <ac:chgData name="Frank Tan (qutan)" userId="1cc8c1fc-bfb1-4b23-ae96-de603ddcbe90" providerId="ADAL" clId="{4AD5E795-8F90-F04B-94B0-3DD4CA04D5EE}" dt="2020-03-19T05:29:06.218" v="1515" actId="20577"/>
          <ac:spMkLst>
            <pc:docMk/>
            <pc:sldMk cId="2845390144" sldId="1979422090"/>
            <ac:spMk id="6" creationId="{82903AD9-A585-0F4C-9E5A-26F1FA22FCEE}"/>
          </ac:spMkLst>
        </pc:spChg>
      </pc:sldChg>
      <pc:sldChg chg="addSp modSp add modTransition">
        <pc:chgData name="Frank Tan (qutan)" userId="1cc8c1fc-bfb1-4b23-ae96-de603ddcbe90" providerId="ADAL" clId="{4AD5E795-8F90-F04B-94B0-3DD4CA04D5EE}" dt="2020-03-19T06:02:08.087" v="1534"/>
        <pc:sldMkLst>
          <pc:docMk/>
          <pc:sldMk cId="2514453777" sldId="1979422091"/>
        </pc:sldMkLst>
        <pc:spChg chg="add mod">
          <ac:chgData name="Frank Tan (qutan)" userId="1cc8c1fc-bfb1-4b23-ae96-de603ddcbe90" providerId="ADAL" clId="{4AD5E795-8F90-F04B-94B0-3DD4CA04D5EE}" dt="2020-03-19T06:01:34.642" v="1530" actId="208"/>
          <ac:spMkLst>
            <pc:docMk/>
            <pc:sldMk cId="2514453777" sldId="1979422091"/>
            <ac:spMk id="5" creationId="{5EC37A40-0461-F447-ADE4-7604B1B10313}"/>
          </ac:spMkLst>
        </pc:spChg>
        <pc:spChg chg="add mod">
          <ac:chgData name="Frank Tan (qutan)" userId="1cc8c1fc-bfb1-4b23-ae96-de603ddcbe90" providerId="ADAL" clId="{4AD5E795-8F90-F04B-94B0-3DD4CA04D5EE}" dt="2020-03-19T06:01:57.736" v="1533" actId="14100"/>
          <ac:spMkLst>
            <pc:docMk/>
            <pc:sldMk cId="2514453777" sldId="1979422091"/>
            <ac:spMk id="6" creationId="{7B0A17DE-5155-5D44-9DC5-ABA337C482E7}"/>
          </ac:spMkLst>
        </pc:spChg>
        <pc:picChg chg="add">
          <ac:chgData name="Frank Tan (qutan)" userId="1cc8c1fc-bfb1-4b23-ae96-de603ddcbe90" providerId="ADAL" clId="{4AD5E795-8F90-F04B-94B0-3DD4CA04D5EE}" dt="2020-03-19T06:01:14.300" v="1527"/>
          <ac:picMkLst>
            <pc:docMk/>
            <pc:sldMk cId="2514453777" sldId="1979422091"/>
            <ac:picMk id="4" creationId="{D57AD10A-D006-6943-9D5D-4C72AE67F03F}"/>
          </ac:picMkLst>
        </pc:picChg>
      </pc:sldChg>
      <pc:sldChg chg="add">
        <pc:chgData name="Frank Tan (qutan)" userId="1cc8c1fc-bfb1-4b23-ae96-de603ddcbe90" providerId="ADAL" clId="{4AD5E795-8F90-F04B-94B0-3DD4CA04D5EE}" dt="2020-03-19T06:14:26.927" v="1538"/>
        <pc:sldMkLst>
          <pc:docMk/>
          <pc:sldMk cId="4294362570" sldId="1979422092"/>
        </pc:sldMkLst>
      </pc:sldChg>
      <pc:sldChg chg="add">
        <pc:chgData name="Frank Tan (qutan)" userId="1cc8c1fc-bfb1-4b23-ae96-de603ddcbe90" providerId="ADAL" clId="{4AD5E795-8F90-F04B-94B0-3DD4CA04D5EE}" dt="2020-03-19T07:25:18.714" v="1682"/>
        <pc:sldMkLst>
          <pc:docMk/>
          <pc:sldMk cId="1117168735" sldId="1979422093"/>
        </pc:sldMkLst>
      </pc:sldChg>
      <pc:sldChg chg="addSp modSp add del modTransition">
        <pc:chgData name="Frank Tan (qutan)" userId="1cc8c1fc-bfb1-4b23-ae96-de603ddcbe90" providerId="ADAL" clId="{4AD5E795-8F90-F04B-94B0-3DD4CA04D5EE}" dt="2020-03-19T07:25:15.111" v="1681" actId="2696"/>
        <pc:sldMkLst>
          <pc:docMk/>
          <pc:sldMk cId="1804899211" sldId="1979422093"/>
        </pc:sldMkLst>
        <pc:spChg chg="add mod">
          <ac:chgData name="Frank Tan (qutan)" userId="1cc8c1fc-bfb1-4b23-ae96-de603ddcbe90" providerId="ADAL" clId="{4AD5E795-8F90-F04B-94B0-3DD4CA04D5EE}" dt="2020-03-19T06:39:58.091" v="1568" actId="20577"/>
          <ac:spMkLst>
            <pc:docMk/>
            <pc:sldMk cId="1804899211" sldId="1979422093"/>
            <ac:spMk id="2" creationId="{37FA97A2-5585-DC42-9D65-5B753AE249E2}"/>
          </ac:spMkLst>
        </pc:spChg>
        <pc:spChg chg="add mod">
          <ac:chgData name="Frank Tan (qutan)" userId="1cc8c1fc-bfb1-4b23-ae96-de603ddcbe90" providerId="ADAL" clId="{4AD5E795-8F90-F04B-94B0-3DD4CA04D5EE}" dt="2020-03-19T06:40:45.495" v="1661" actId="20577"/>
          <ac:spMkLst>
            <pc:docMk/>
            <pc:sldMk cId="1804899211" sldId="1979422093"/>
            <ac:spMk id="3" creationId="{F01C4CF1-2A5A-4D4E-8566-D32001D3C0DA}"/>
          </ac:spMkLst>
        </pc:spChg>
      </pc:sldChg>
      <pc:sldMasterChg chg="delSldLayout">
        <pc:chgData name="Frank Tan (qutan)" userId="1cc8c1fc-bfb1-4b23-ae96-de603ddcbe90" providerId="ADAL" clId="{4AD5E795-8F90-F04B-94B0-3DD4CA04D5EE}" dt="2020-03-18T02:06:58.248" v="158" actId="2696"/>
        <pc:sldMasterMkLst>
          <pc:docMk/>
          <pc:sldMasterMk cId="1403481807" sldId="2147483688"/>
        </pc:sldMasterMkLst>
        <pc:sldLayoutChg chg="del">
          <pc:chgData name="Frank Tan (qutan)" userId="1cc8c1fc-bfb1-4b23-ae96-de603ddcbe90" providerId="ADAL" clId="{4AD5E795-8F90-F04B-94B0-3DD4CA04D5EE}" dt="2020-03-18T02:06:58.248" v="158" actId="2696"/>
          <pc:sldLayoutMkLst>
            <pc:docMk/>
            <pc:sldMasterMk cId="1403481807" sldId="2147483688"/>
            <pc:sldLayoutMk cId="3227222335" sldId="214748376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77BBD6A-5025-3E44-AE99-6D16A571530E}" type="datetimeFigureOut">
              <a:rPr lang="en-CN" smtClean="0"/>
              <a:t>2020/4/15</a:t>
            </a:fld>
            <a:endParaRPr lang="en-C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9ED3A9-7A2F-4542-AE59-9DA6D5992865}" type="slidenum">
              <a:rPr lang="en-CN" smtClean="0"/>
              <a:t>‹#›</a:t>
            </a:fld>
            <a:endParaRPr lang="en-CN"/>
          </a:p>
        </p:txBody>
      </p:sp>
    </p:spTree>
    <p:extLst>
      <p:ext uri="{BB962C8B-B14F-4D97-AF65-F5344CB8AC3E}">
        <p14:creationId xmlns:p14="http://schemas.microsoft.com/office/powerpoint/2010/main" val="2576071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4.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45.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46.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br>
              <a:rPr lang="en-US" sz="1200" b="0" kern="1200" dirty="0">
                <a:solidFill>
                  <a:schemeClr val="tx1"/>
                </a:solidFill>
                <a:effectLst/>
                <a:latin typeface="+mn-lt"/>
                <a:ea typeface="+mn-ea"/>
                <a:cs typeface="+mn-cs"/>
              </a:rPr>
            </a:br>
            <a:r>
              <a:rPr lang="en-US" sz="1200" b="1" kern="1200" dirty="0" err="1">
                <a:solidFill>
                  <a:schemeClr val="tx1"/>
                </a:solidFill>
                <a:effectLst/>
                <a:latin typeface="+mn-lt"/>
                <a:ea typeface="+mn-ea"/>
                <a:cs typeface="+mn-cs"/>
              </a:rPr>
              <a:t>ios_facts</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he `</a:t>
            </a:r>
            <a:r>
              <a:rPr lang="en-US" sz="1200" b="0" kern="1200" dirty="0" err="1">
                <a:solidFill>
                  <a:schemeClr val="tx1"/>
                </a:solidFill>
                <a:effectLst/>
                <a:latin typeface="+mn-lt"/>
                <a:ea typeface="+mn-ea"/>
                <a:cs typeface="+mn-cs"/>
              </a:rPr>
              <a:t>ios_facts</a:t>
            </a:r>
            <a:r>
              <a:rPr lang="en-US" sz="1200" b="0" kern="1200" dirty="0">
                <a:solidFill>
                  <a:schemeClr val="tx1"/>
                </a:solidFill>
                <a:effectLst/>
                <a:latin typeface="+mn-lt"/>
                <a:ea typeface="+mn-ea"/>
                <a:cs typeface="+mn-cs"/>
              </a:rPr>
              <a:t>` module gathers basic facts about the remote IOS device it is connecting to. This information can in turn be used as a variable or in a conditional statement later in the playbook. The data this module collects will be stored as variables with the prefix `</a:t>
            </a:r>
            <a:r>
              <a:rPr lang="en-US" sz="1200" b="0" kern="1200" dirty="0" err="1">
                <a:solidFill>
                  <a:schemeClr val="tx1"/>
                </a:solidFill>
                <a:effectLst/>
                <a:latin typeface="+mn-lt"/>
                <a:ea typeface="+mn-ea"/>
                <a:cs typeface="+mn-cs"/>
              </a:rPr>
              <a:t>ansible_net</a:t>
            </a:r>
            <a:r>
              <a:rPr lang="en-US" sz="1200" b="0" kern="1200" dirty="0">
                <a:solidFill>
                  <a:schemeClr val="tx1"/>
                </a:solidFill>
                <a:effectLst/>
                <a:latin typeface="+mn-lt"/>
                <a:ea typeface="+mn-ea"/>
                <a:cs typeface="+mn-cs"/>
              </a:rPr>
              <a:t>_`.</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 name: Sample IOS show version for Ansible 2.5</a:t>
            </a:r>
          </a:p>
          <a:p>
            <a:r>
              <a:rPr lang="en-US" sz="1200" b="0" kern="1200" dirty="0">
                <a:solidFill>
                  <a:schemeClr val="tx1"/>
                </a:solidFill>
                <a:effectLst/>
                <a:latin typeface="+mn-lt"/>
                <a:ea typeface="+mn-ea"/>
                <a:cs typeface="+mn-cs"/>
              </a:rPr>
              <a:t>hosts: </a:t>
            </a:r>
            <a:r>
              <a:rPr lang="en-US" sz="1200" b="0" kern="1200" dirty="0" err="1">
                <a:solidFill>
                  <a:schemeClr val="tx1"/>
                </a:solidFill>
                <a:effectLst/>
                <a:latin typeface="+mn-lt"/>
                <a:ea typeface="+mn-ea"/>
                <a:cs typeface="+mn-cs"/>
              </a:rPr>
              <a:t>iosxe</a:t>
            </a:r>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gather_facts</a:t>
            </a:r>
            <a:r>
              <a:rPr lang="en-US" sz="1200" b="0" kern="1200" dirty="0">
                <a:solidFill>
                  <a:schemeClr val="tx1"/>
                </a:solidFill>
                <a:effectLst/>
                <a:latin typeface="+mn-lt"/>
                <a:ea typeface="+mn-ea"/>
                <a:cs typeface="+mn-cs"/>
              </a:rPr>
              <a:t>: no</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ask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name: GATHERING FACTS</a:t>
            </a:r>
          </a:p>
          <a:p>
            <a:r>
              <a:rPr lang="en-US" sz="1200" b="0" kern="1200" dirty="0" err="1">
                <a:solidFill>
                  <a:schemeClr val="tx1"/>
                </a:solidFill>
                <a:effectLst/>
                <a:latin typeface="+mn-lt"/>
                <a:ea typeface="+mn-ea"/>
                <a:cs typeface="+mn-cs"/>
              </a:rPr>
              <a:t>ios_facts</a:t>
            </a:r>
            <a:r>
              <a:rPr lang="en-US" sz="1200" b="0" kern="1200" dirty="0">
                <a:solidFill>
                  <a:schemeClr val="tx1"/>
                </a:solidFill>
                <a:effectLst/>
                <a:latin typeface="+mn-lt"/>
                <a:ea typeface="+mn-ea"/>
                <a:cs typeface="+mn-cs"/>
              </a:rPr>
              <a:t>:</a:t>
            </a:r>
          </a:p>
          <a:p>
            <a:r>
              <a:rPr lang="en-US" sz="1200" b="0" kern="1200" dirty="0" err="1">
                <a:solidFill>
                  <a:schemeClr val="tx1"/>
                </a:solidFill>
                <a:effectLst/>
                <a:latin typeface="+mn-lt"/>
                <a:ea typeface="+mn-ea"/>
                <a:cs typeface="+mn-cs"/>
              </a:rPr>
              <a:t>gather_subset</a:t>
            </a:r>
            <a:r>
              <a:rPr lang="en-US" sz="1200" b="0" kern="1200" dirty="0">
                <a:solidFill>
                  <a:schemeClr val="tx1"/>
                </a:solidFill>
                <a:effectLst/>
                <a:latin typeface="+mn-lt"/>
                <a:ea typeface="+mn-ea"/>
                <a:cs typeface="+mn-cs"/>
              </a:rPr>
              <a:t>: hardware</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name: Devices without version 16.08.01a</a:t>
            </a:r>
          </a:p>
          <a:p>
            <a:r>
              <a:rPr lang="en-US" sz="1200" b="0" kern="1200" dirty="0">
                <a:solidFill>
                  <a:schemeClr val="tx1"/>
                </a:solidFill>
                <a:effectLst/>
                <a:latin typeface="+mn-lt"/>
                <a:ea typeface="+mn-ea"/>
                <a:cs typeface="+mn-cs"/>
              </a:rPr>
              <a:t>debug:</a:t>
            </a:r>
          </a:p>
          <a:p>
            <a:r>
              <a:rPr lang="en-US" sz="1200" b="0" kern="1200" dirty="0" err="1">
                <a:solidFill>
                  <a:schemeClr val="tx1"/>
                </a:solidFill>
                <a:effectLst/>
                <a:latin typeface="+mn-lt"/>
                <a:ea typeface="+mn-ea"/>
                <a:cs typeface="+mn-cs"/>
              </a:rPr>
              <a:t>var</a:t>
            </a:r>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ansible_net_version</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when: </a:t>
            </a:r>
            <a:r>
              <a:rPr lang="en-US" sz="1200" b="0" kern="1200" dirty="0" err="1">
                <a:solidFill>
                  <a:schemeClr val="tx1"/>
                </a:solidFill>
                <a:effectLst/>
                <a:latin typeface="+mn-lt"/>
                <a:ea typeface="+mn-ea"/>
                <a:cs typeface="+mn-cs"/>
              </a:rPr>
              <a:t>ansible_net_version</a:t>
            </a:r>
            <a:r>
              <a:rPr lang="en-US" sz="1200" b="0" kern="1200" dirty="0">
                <a:solidFill>
                  <a:schemeClr val="tx1"/>
                </a:solidFill>
                <a:effectLst/>
                <a:latin typeface="+mn-lt"/>
                <a:ea typeface="+mn-ea"/>
                <a:cs typeface="+mn-cs"/>
              </a:rPr>
              <a:t> != "16.08.01a"</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In this play, we gather the version of each device. We then check the `</a:t>
            </a:r>
            <a:r>
              <a:rPr lang="en-US" sz="1200" b="0" kern="1200" dirty="0" err="1">
                <a:solidFill>
                  <a:schemeClr val="tx1"/>
                </a:solidFill>
                <a:effectLst/>
                <a:latin typeface="+mn-lt"/>
                <a:ea typeface="+mn-ea"/>
                <a:cs typeface="+mn-cs"/>
              </a:rPr>
              <a:t>ansible_net_version</a:t>
            </a:r>
            <a:r>
              <a:rPr lang="en-US" sz="1200" b="0" kern="1200" dirty="0">
                <a:solidFill>
                  <a:schemeClr val="tx1"/>
                </a:solidFill>
                <a:effectLst/>
                <a:latin typeface="+mn-lt"/>
                <a:ea typeface="+mn-ea"/>
                <a:cs typeface="+mn-cs"/>
              </a:rPr>
              <a:t>` variable, which was set by `</a:t>
            </a:r>
            <a:r>
              <a:rPr lang="en-US" sz="1200" b="0" kern="1200" dirty="0" err="1">
                <a:solidFill>
                  <a:schemeClr val="tx1"/>
                </a:solidFill>
                <a:effectLst/>
                <a:latin typeface="+mn-lt"/>
                <a:ea typeface="+mn-ea"/>
                <a:cs typeface="+mn-cs"/>
              </a:rPr>
              <a:t>ios_facts</a:t>
            </a:r>
            <a:r>
              <a:rPr lang="en-US" sz="1200" b="0" kern="1200" dirty="0">
                <a:solidFill>
                  <a:schemeClr val="tx1"/>
                </a:solidFill>
                <a:effectLst/>
                <a:latin typeface="+mn-lt"/>
                <a:ea typeface="+mn-ea"/>
                <a:cs typeface="+mn-cs"/>
              </a:rPr>
              <a:t>`, and if it is not equal to `16.08.01a` we print out the current running version.</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aking it a step at a time, we start our play with a single `-` to define the beginning of a play.</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Next, we tell the play to execute against all hosts in group `</a:t>
            </a:r>
            <a:r>
              <a:rPr lang="en-US" sz="1200" b="0" kern="1200" dirty="0" err="1">
                <a:solidFill>
                  <a:schemeClr val="tx1"/>
                </a:solidFill>
                <a:effectLst/>
                <a:latin typeface="+mn-lt"/>
                <a:ea typeface="+mn-ea"/>
                <a:cs typeface="+mn-cs"/>
              </a:rPr>
              <a:t>iosxe</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hosts: </a:t>
            </a:r>
            <a:r>
              <a:rPr lang="en-US" sz="1200" b="0" kern="1200" dirty="0" err="1">
                <a:solidFill>
                  <a:schemeClr val="tx1"/>
                </a:solidFill>
                <a:effectLst/>
                <a:latin typeface="+mn-lt"/>
                <a:ea typeface="+mn-ea"/>
                <a:cs typeface="+mn-cs"/>
              </a:rPr>
              <a:t>iosxe</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We then tell it we will be running a set of `tasks:`.</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asks:</a:t>
            </a:r>
          </a:p>
          <a:p>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Our first task is calling the `</a:t>
            </a:r>
            <a:r>
              <a:rPr lang="en-US" sz="1200" b="0" kern="1200" dirty="0" err="1">
                <a:solidFill>
                  <a:schemeClr val="tx1"/>
                </a:solidFill>
                <a:effectLst/>
                <a:latin typeface="+mn-lt"/>
                <a:ea typeface="+mn-ea"/>
                <a:cs typeface="+mn-cs"/>
              </a:rPr>
              <a:t>ios_facts</a:t>
            </a:r>
            <a:r>
              <a:rPr lang="en-US" sz="1200" b="0" kern="1200" dirty="0">
                <a:solidFill>
                  <a:schemeClr val="tx1"/>
                </a:solidFill>
                <a:effectLst/>
                <a:latin typeface="+mn-lt"/>
                <a:ea typeface="+mn-ea"/>
                <a:cs typeface="+mn-cs"/>
              </a:rPr>
              <a:t>` module that is included in Ansible by default:</a:t>
            </a: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ios_facts</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We then tell it to only gather hardware details about each platform:</a:t>
            </a: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gather_subset</a:t>
            </a:r>
            <a:r>
              <a:rPr lang="en-US" sz="1200" b="0" kern="1200" dirty="0">
                <a:solidFill>
                  <a:schemeClr val="tx1"/>
                </a:solidFill>
                <a:effectLst/>
                <a:latin typeface="+mn-lt"/>
                <a:ea typeface="+mn-ea"/>
                <a:cs typeface="+mn-cs"/>
              </a:rPr>
              <a:t>: hardware</a:t>
            </a:r>
          </a:p>
          <a:p>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At this point, the `</a:t>
            </a:r>
            <a:r>
              <a:rPr lang="en-US" sz="1200" b="0" kern="1200" dirty="0" err="1">
                <a:solidFill>
                  <a:schemeClr val="tx1"/>
                </a:solidFill>
                <a:effectLst/>
                <a:latin typeface="+mn-lt"/>
                <a:ea typeface="+mn-ea"/>
                <a:cs typeface="+mn-cs"/>
              </a:rPr>
              <a:t>ios_facts</a:t>
            </a:r>
            <a:r>
              <a:rPr lang="en-US" sz="1200" b="0" kern="1200" dirty="0">
                <a:solidFill>
                  <a:schemeClr val="tx1"/>
                </a:solidFill>
                <a:effectLst/>
                <a:latin typeface="+mn-lt"/>
                <a:ea typeface="+mn-ea"/>
                <a:cs typeface="+mn-cs"/>
              </a:rPr>
              <a:t>` module will save all of the hardware details about the platform into variables that can be referenced by other task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Next we call the `debug` module, which is also included in Ansible by default and is often used for logging output to the console:</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debug:</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nd with the `debug` module we will print out the IOS version we learned from `</a:t>
            </a:r>
            <a:r>
              <a:rPr lang="en-US" sz="1200" b="0" kern="1200" dirty="0" err="1">
                <a:solidFill>
                  <a:schemeClr val="tx1"/>
                </a:solidFill>
                <a:effectLst/>
                <a:latin typeface="+mn-lt"/>
                <a:ea typeface="+mn-ea"/>
                <a:cs typeface="+mn-cs"/>
              </a:rPr>
              <a:t>ios_facts</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var</a:t>
            </a:r>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ansible_net_version</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But, with the `when` condition, we are choosing to execute this debug output only when the detected version is not `16.08.01a`:</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when: </a:t>
            </a:r>
            <a:r>
              <a:rPr lang="en-US" sz="1200" b="0" kern="1200" dirty="0" err="1">
                <a:solidFill>
                  <a:schemeClr val="tx1"/>
                </a:solidFill>
                <a:effectLst/>
                <a:latin typeface="+mn-lt"/>
                <a:ea typeface="+mn-ea"/>
                <a:cs typeface="+mn-cs"/>
              </a:rPr>
              <a:t>ansible_net_version</a:t>
            </a:r>
            <a:r>
              <a:rPr lang="en-US" sz="1200" b="0" kern="1200" dirty="0">
                <a:solidFill>
                  <a:schemeClr val="tx1"/>
                </a:solidFill>
                <a:effectLst/>
                <a:latin typeface="+mn-lt"/>
                <a:ea typeface="+mn-ea"/>
                <a:cs typeface="+mn-cs"/>
              </a:rPr>
              <a:t> != "16.08.01a"</a:t>
            </a:r>
          </a:p>
          <a:p>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0273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r>
              <a:rPr lang="en-US" sz="1200" b="1" kern="1200" dirty="0" err="1">
                <a:solidFill>
                  <a:schemeClr val="tx1"/>
                </a:solidFill>
                <a:effectLst/>
                <a:latin typeface="+mn-lt"/>
                <a:ea typeface="+mn-ea"/>
                <a:cs typeface="+mn-cs"/>
              </a:rPr>
              <a:t>ios_command</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he `</a:t>
            </a:r>
            <a:r>
              <a:rPr lang="en-US" sz="1200" b="0" kern="1200" dirty="0" err="1">
                <a:solidFill>
                  <a:schemeClr val="tx1"/>
                </a:solidFill>
                <a:effectLst/>
                <a:latin typeface="+mn-lt"/>
                <a:ea typeface="+mn-ea"/>
                <a:cs typeface="+mn-cs"/>
              </a:rPr>
              <a:t>ios_command</a:t>
            </a:r>
            <a:r>
              <a:rPr lang="en-US" sz="1200" b="0" kern="1200" dirty="0">
                <a:solidFill>
                  <a:schemeClr val="tx1"/>
                </a:solidFill>
                <a:effectLst/>
                <a:latin typeface="+mn-lt"/>
                <a:ea typeface="+mn-ea"/>
                <a:cs typeface="+mn-cs"/>
              </a:rPr>
              <a:t>` module is designed to send arbitrary commands to an IOS device and retrieve the response. This module is commonly used to gather output from `show` commands and store it in variables.</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 name: run show version and check to see if output contains IOS</a:t>
            </a:r>
          </a:p>
          <a:p>
            <a:r>
              <a:rPr lang="en-US" sz="1200" b="0" kern="1200" dirty="0" err="1">
                <a:solidFill>
                  <a:schemeClr val="tx1"/>
                </a:solidFill>
                <a:effectLst/>
                <a:latin typeface="+mn-lt"/>
                <a:ea typeface="+mn-ea"/>
                <a:cs typeface="+mn-cs"/>
              </a:rPr>
              <a:t>ios_command</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commands: show version</a:t>
            </a:r>
          </a:p>
          <a:p>
            <a:r>
              <a:rPr lang="en-US" sz="1200" b="0" kern="1200" dirty="0" err="1">
                <a:solidFill>
                  <a:schemeClr val="tx1"/>
                </a:solidFill>
                <a:effectLst/>
                <a:latin typeface="+mn-lt"/>
                <a:ea typeface="+mn-ea"/>
                <a:cs typeface="+mn-cs"/>
              </a:rPr>
              <a:t>wait_for</a:t>
            </a:r>
            <a:r>
              <a:rPr lang="en-US" sz="1200" b="0" kern="1200" dirty="0">
                <a:solidFill>
                  <a:schemeClr val="tx1"/>
                </a:solidFill>
                <a:effectLst/>
                <a:latin typeface="+mn-lt"/>
                <a:ea typeface="+mn-ea"/>
                <a:cs typeface="+mn-cs"/>
              </a:rPr>
              <a:t>: result[0] contains IOS</a:t>
            </a:r>
          </a:p>
          <a:p>
            <a:r>
              <a:rPr lang="en-US" sz="1200" b="0" kern="1200" dirty="0">
                <a:solidFill>
                  <a:schemeClr val="tx1"/>
                </a:solidFill>
                <a:effectLst/>
                <a:latin typeface="+mn-lt"/>
                <a:ea typeface="+mn-ea"/>
                <a:cs typeface="+mn-cs"/>
              </a:rPr>
              <a:t>register: </a:t>
            </a:r>
            <a:r>
              <a:rPr lang="en-US" sz="1200" b="0" kern="1200" dirty="0" err="1">
                <a:solidFill>
                  <a:schemeClr val="tx1"/>
                </a:solidFill>
                <a:effectLst/>
                <a:latin typeface="+mn-lt"/>
                <a:ea typeface="+mn-ea"/>
                <a:cs typeface="+mn-cs"/>
              </a:rPr>
              <a:t>myver</a:t>
            </a:r>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debug:</a:t>
            </a:r>
          </a:p>
          <a:p>
            <a:r>
              <a:rPr lang="en-US" sz="1200" b="0" kern="1200" dirty="0" err="1">
                <a:solidFill>
                  <a:schemeClr val="tx1"/>
                </a:solidFill>
                <a:effectLst/>
                <a:latin typeface="+mn-lt"/>
                <a:ea typeface="+mn-ea"/>
                <a:cs typeface="+mn-cs"/>
              </a:rPr>
              <a:t>var</a:t>
            </a:r>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myver</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In this example we run a `show version`, store the output as `</a:t>
            </a:r>
            <a:r>
              <a:rPr lang="en-US" sz="1200" b="0" kern="1200" dirty="0" err="1">
                <a:solidFill>
                  <a:schemeClr val="tx1"/>
                </a:solidFill>
                <a:effectLst/>
                <a:latin typeface="+mn-lt"/>
                <a:ea typeface="+mn-ea"/>
                <a:cs typeface="+mn-cs"/>
              </a:rPr>
              <a:t>myvar</a:t>
            </a:r>
            <a:r>
              <a:rPr lang="en-US" sz="1200" b="0" kern="1200" dirty="0">
                <a:solidFill>
                  <a:schemeClr val="tx1"/>
                </a:solidFill>
                <a:effectLst/>
                <a:latin typeface="+mn-lt"/>
                <a:ea typeface="+mn-ea"/>
                <a:cs typeface="+mn-cs"/>
              </a:rPr>
              <a:t>`, and print the output. Once it is stored in a variable, we could also reference the contents of the variable in future play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It is worth noting, as you will see in subsequent labs, the output of this module is a representation of the multi-line CLI output. Because it is not a native data structure, it can be more difficult to work with than the output of something like `</a:t>
            </a:r>
            <a:r>
              <a:rPr lang="en-US" sz="1200" b="0" kern="1200" dirty="0" err="1">
                <a:solidFill>
                  <a:schemeClr val="tx1"/>
                </a:solidFill>
                <a:effectLst/>
                <a:latin typeface="+mn-lt"/>
                <a:ea typeface="+mn-ea"/>
                <a:cs typeface="+mn-cs"/>
              </a:rPr>
              <a:t>ios_facts</a:t>
            </a:r>
            <a:r>
              <a:rPr lang="en-US" sz="1200" b="0" kern="1200" dirty="0">
                <a:solidFill>
                  <a:schemeClr val="tx1"/>
                </a:solidFill>
                <a:effectLst/>
                <a:latin typeface="+mn-lt"/>
                <a:ea typeface="+mn-ea"/>
                <a:cs typeface="+mn-cs"/>
              </a:rPr>
              <a:t>`, which returns much of the same information as individual variables such as `</a:t>
            </a:r>
            <a:r>
              <a:rPr lang="en-US" sz="1200" b="0" kern="1200" dirty="0" err="1">
                <a:solidFill>
                  <a:schemeClr val="tx1"/>
                </a:solidFill>
                <a:effectLst/>
                <a:latin typeface="+mn-lt"/>
                <a:ea typeface="+mn-ea"/>
                <a:cs typeface="+mn-cs"/>
              </a:rPr>
              <a:t>ansible_net_version</a:t>
            </a:r>
            <a:r>
              <a:rPr lang="en-US" sz="1200" b="0" kern="1200" dirty="0">
                <a:solidFill>
                  <a:schemeClr val="tx1"/>
                </a:solidFill>
                <a:effectLst/>
                <a:latin typeface="+mn-lt"/>
                <a:ea typeface="+mn-ea"/>
                <a:cs typeface="+mn-cs"/>
              </a:rPr>
              <a:t>`.</a:t>
            </a:r>
          </a:p>
          <a:p>
            <a:br>
              <a:rPr lang="en-US" sz="1200" b="0" kern="1200" dirty="0">
                <a:solidFill>
                  <a:schemeClr val="tx1"/>
                </a:solidFill>
                <a:effectLst/>
                <a:latin typeface="+mn-lt"/>
                <a:ea typeface="+mn-ea"/>
                <a:cs typeface="+mn-cs"/>
              </a:rPr>
            </a:br>
            <a:br>
              <a:rPr lang="en-US" sz="1200" b="0" kern="1200" dirty="0">
                <a:solidFill>
                  <a:schemeClr val="tx1"/>
                </a:solidFill>
                <a:effectLst/>
                <a:latin typeface="+mn-lt"/>
                <a:ea typeface="+mn-ea"/>
                <a:cs typeface="+mn-cs"/>
              </a:rPr>
            </a:b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2439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r>
              <a:rPr lang="en-US" sz="1200" b="1" kern="1200" dirty="0" err="1">
                <a:solidFill>
                  <a:schemeClr val="tx1"/>
                </a:solidFill>
                <a:effectLst/>
                <a:latin typeface="+mn-lt"/>
                <a:ea typeface="+mn-ea"/>
                <a:cs typeface="+mn-cs"/>
              </a:rPr>
              <a:t>ios_config</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asks:</a:t>
            </a:r>
          </a:p>
          <a:p>
            <a:r>
              <a:rPr lang="en-US" sz="1200" b="0" kern="1200" dirty="0">
                <a:solidFill>
                  <a:schemeClr val="tx1"/>
                </a:solidFill>
                <a:effectLst/>
                <a:latin typeface="+mn-lt"/>
                <a:ea typeface="+mn-ea"/>
                <a:cs typeface="+mn-cs"/>
              </a:rPr>
              <a:t>- name: Base config template</a:t>
            </a:r>
          </a:p>
          <a:p>
            <a:r>
              <a:rPr lang="en-US" sz="1200" b="0" kern="1200" dirty="0" err="1">
                <a:solidFill>
                  <a:schemeClr val="tx1"/>
                </a:solidFill>
                <a:effectLst/>
                <a:latin typeface="+mn-lt"/>
                <a:ea typeface="+mn-ea"/>
                <a:cs typeface="+mn-cs"/>
              </a:rPr>
              <a:t>ios_config</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lines:</a:t>
            </a:r>
          </a:p>
          <a:p>
            <a:r>
              <a:rPr lang="en-US" sz="1200" b="0" kern="1200" dirty="0">
                <a:solidFill>
                  <a:schemeClr val="tx1"/>
                </a:solidFill>
                <a:effectLst/>
                <a:latin typeface="+mn-lt"/>
                <a:ea typeface="+mn-ea"/>
                <a:cs typeface="+mn-cs"/>
              </a:rPr>
              <a:t>- logging buffered 10240</a:t>
            </a:r>
          </a:p>
          <a:p>
            <a:r>
              <a:rPr lang="en-US" sz="1200" b="0" kern="1200" dirty="0">
                <a:solidFill>
                  <a:schemeClr val="tx1"/>
                </a:solidFill>
                <a:effectLst/>
                <a:latin typeface="+mn-lt"/>
                <a:ea typeface="+mn-ea"/>
                <a:cs typeface="+mn-cs"/>
              </a:rPr>
              <a:t>- service timestamps debug datetime </a:t>
            </a:r>
            <a:r>
              <a:rPr lang="en-US" sz="1200" b="0" kern="1200" dirty="0" err="1">
                <a:solidFill>
                  <a:schemeClr val="tx1"/>
                </a:solidFill>
                <a:effectLst/>
                <a:latin typeface="+mn-lt"/>
                <a:ea typeface="+mn-ea"/>
                <a:cs typeface="+mn-cs"/>
              </a:rPr>
              <a:t>msec</a:t>
            </a:r>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localtime</a:t>
            </a:r>
            <a:r>
              <a:rPr lang="en-US" sz="1200" b="0" kern="1200" dirty="0">
                <a:solidFill>
                  <a:schemeClr val="tx1"/>
                </a:solidFill>
                <a:effectLst/>
                <a:latin typeface="+mn-lt"/>
                <a:ea typeface="+mn-ea"/>
                <a:cs typeface="+mn-cs"/>
              </a:rPr>
              <a:t> show-</a:t>
            </a:r>
            <a:r>
              <a:rPr lang="en-US" sz="1200" b="0" kern="1200" dirty="0" err="1">
                <a:solidFill>
                  <a:schemeClr val="tx1"/>
                </a:solidFill>
                <a:effectLst/>
                <a:latin typeface="+mn-lt"/>
                <a:ea typeface="+mn-ea"/>
                <a:cs typeface="+mn-cs"/>
              </a:rPr>
              <a:t>timezone</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 service timestamps log datetime </a:t>
            </a:r>
            <a:r>
              <a:rPr lang="en-US" sz="1200" b="0" kern="1200" dirty="0" err="1">
                <a:solidFill>
                  <a:schemeClr val="tx1"/>
                </a:solidFill>
                <a:effectLst/>
                <a:latin typeface="+mn-lt"/>
                <a:ea typeface="+mn-ea"/>
                <a:cs typeface="+mn-cs"/>
              </a:rPr>
              <a:t>msec</a:t>
            </a:r>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localtime</a:t>
            </a:r>
            <a:r>
              <a:rPr lang="en-US" sz="1200" b="0" kern="1200" dirty="0">
                <a:solidFill>
                  <a:schemeClr val="tx1"/>
                </a:solidFill>
                <a:effectLst/>
                <a:latin typeface="+mn-lt"/>
                <a:ea typeface="+mn-ea"/>
                <a:cs typeface="+mn-cs"/>
              </a:rPr>
              <a:t> show-</a:t>
            </a:r>
            <a:r>
              <a:rPr lang="en-US" sz="1200" b="0" kern="1200" dirty="0" err="1">
                <a:solidFill>
                  <a:schemeClr val="tx1"/>
                </a:solidFill>
                <a:effectLst/>
                <a:latin typeface="+mn-lt"/>
                <a:ea typeface="+mn-ea"/>
                <a:cs typeface="+mn-cs"/>
              </a:rPr>
              <a:t>timezone</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In this example we use the `</a:t>
            </a:r>
            <a:r>
              <a:rPr lang="en-US" sz="1200" b="0" kern="1200" dirty="0" err="1">
                <a:solidFill>
                  <a:schemeClr val="tx1"/>
                </a:solidFill>
                <a:effectLst/>
                <a:latin typeface="+mn-lt"/>
                <a:ea typeface="+mn-ea"/>
                <a:cs typeface="+mn-cs"/>
              </a:rPr>
              <a:t>ios_config</a:t>
            </a:r>
            <a:r>
              <a:rPr lang="en-US" sz="1200" b="0" kern="1200" dirty="0">
                <a:solidFill>
                  <a:schemeClr val="tx1"/>
                </a:solidFill>
                <a:effectLst/>
                <a:latin typeface="+mn-lt"/>
                <a:ea typeface="+mn-ea"/>
                <a:cs typeface="+mn-cs"/>
              </a:rPr>
              <a:t>` module to apply several config commands to the device. The `</a:t>
            </a:r>
            <a:r>
              <a:rPr lang="en-US" sz="1200" b="0" kern="1200" dirty="0" err="1">
                <a:solidFill>
                  <a:schemeClr val="tx1"/>
                </a:solidFill>
                <a:effectLst/>
                <a:latin typeface="+mn-lt"/>
                <a:ea typeface="+mn-ea"/>
                <a:cs typeface="+mn-cs"/>
              </a:rPr>
              <a:t>ios_config</a:t>
            </a:r>
            <a:r>
              <a:rPr lang="en-US" sz="1200" b="0" kern="1200" dirty="0">
                <a:solidFill>
                  <a:schemeClr val="tx1"/>
                </a:solidFill>
                <a:effectLst/>
                <a:latin typeface="+mn-lt"/>
                <a:ea typeface="+mn-ea"/>
                <a:cs typeface="+mn-cs"/>
              </a:rPr>
              <a:t>` module is idempotent for many, but not all commands. As a result, it is generally best to choose a more specific module if it is available. A good example would be `</a:t>
            </a:r>
            <a:r>
              <a:rPr lang="en-US" sz="1200" b="0" kern="1200" dirty="0" err="1">
                <a:solidFill>
                  <a:schemeClr val="tx1"/>
                </a:solidFill>
                <a:effectLst/>
                <a:latin typeface="+mn-lt"/>
                <a:ea typeface="+mn-ea"/>
                <a:cs typeface="+mn-cs"/>
              </a:rPr>
              <a:t>ios_user</a:t>
            </a:r>
            <a:r>
              <a:rPr lang="en-US" sz="1200" b="0" kern="1200" dirty="0">
                <a:solidFill>
                  <a:schemeClr val="tx1"/>
                </a:solidFill>
                <a:effectLst/>
                <a:latin typeface="+mn-lt"/>
                <a:ea typeface="+mn-ea"/>
                <a:cs typeface="+mn-cs"/>
              </a:rPr>
              <a:t>` instead of creating users with `</a:t>
            </a:r>
            <a:r>
              <a:rPr lang="en-US" sz="1200" b="0" kern="1200" dirty="0" err="1">
                <a:solidFill>
                  <a:schemeClr val="tx1"/>
                </a:solidFill>
                <a:effectLst/>
                <a:latin typeface="+mn-lt"/>
                <a:ea typeface="+mn-ea"/>
                <a:cs typeface="+mn-cs"/>
              </a:rPr>
              <a:t>ios_config</a:t>
            </a:r>
            <a:r>
              <a:rPr lang="en-US" sz="1200" b="0" kern="1200" dirty="0">
                <a:solidFill>
                  <a:schemeClr val="tx1"/>
                </a:solidFill>
                <a:effectLst/>
                <a:latin typeface="+mn-lt"/>
                <a:ea typeface="+mn-ea"/>
                <a:cs typeface="+mn-cs"/>
              </a:rPr>
              <a:t>`.</a:t>
            </a:r>
          </a:p>
          <a:p>
            <a:br>
              <a:rPr lang="en-US" sz="1200" b="0" kern="1200" dirty="0">
                <a:solidFill>
                  <a:schemeClr val="tx1"/>
                </a:solidFill>
                <a:effectLst/>
                <a:latin typeface="+mn-lt"/>
                <a:ea typeface="+mn-ea"/>
                <a:cs typeface="+mn-cs"/>
              </a:rPr>
            </a:b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7663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r>
              <a:rPr lang="en-US" sz="1200" b="1" kern="1200" dirty="0" err="1">
                <a:solidFill>
                  <a:schemeClr val="tx1"/>
                </a:solidFill>
                <a:effectLst/>
                <a:latin typeface="+mn-lt"/>
                <a:ea typeface="+mn-ea"/>
                <a:cs typeface="+mn-cs"/>
              </a:rPr>
              <a:t>ios_vrf</a:t>
            </a:r>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vars.yml</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local_vrfs</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 red</a:t>
            </a:r>
          </a:p>
          <a:p>
            <a:r>
              <a:rPr lang="en-US" sz="1200" b="0" kern="1200" dirty="0">
                <a:solidFill>
                  <a:schemeClr val="tx1"/>
                </a:solidFill>
                <a:effectLst/>
                <a:latin typeface="+mn-lt"/>
                <a:ea typeface="+mn-ea"/>
                <a:cs typeface="+mn-cs"/>
              </a:rPr>
              <a:t>- blue</a:t>
            </a:r>
          </a:p>
          <a:p>
            <a:r>
              <a:rPr lang="en-US" sz="1200" b="0" kern="1200" dirty="0">
                <a:solidFill>
                  <a:schemeClr val="tx1"/>
                </a:solidFill>
                <a:effectLst/>
                <a:latin typeface="+mn-lt"/>
                <a:ea typeface="+mn-ea"/>
                <a:cs typeface="+mn-cs"/>
              </a:rPr>
              <a:t>- green</a:t>
            </a:r>
          </a:p>
          <a:p>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As you can see, we start by setting up a `</a:t>
            </a:r>
            <a:r>
              <a:rPr lang="en-US" sz="1200" b="0" kern="1200" dirty="0" err="1">
                <a:solidFill>
                  <a:schemeClr val="tx1"/>
                </a:solidFill>
                <a:effectLst/>
                <a:latin typeface="+mn-lt"/>
                <a:ea typeface="+mn-ea"/>
                <a:cs typeface="+mn-cs"/>
              </a:rPr>
              <a:t>local_vrfs</a:t>
            </a:r>
            <a:r>
              <a:rPr lang="en-US" sz="1200" b="0" kern="1200" dirty="0">
                <a:solidFill>
                  <a:schemeClr val="tx1"/>
                </a:solidFill>
                <a:effectLst/>
                <a:latin typeface="+mn-lt"/>
                <a:ea typeface="+mn-ea"/>
                <a:cs typeface="+mn-cs"/>
              </a:rPr>
              <a:t>` list that currently has 3 VRFs defined in it. This definition could be whatever is most reusable, whether that is a global variable file, a group variable file, or a host variable file.</a:t>
            </a:r>
          </a:p>
          <a:p>
            <a:br>
              <a:rPr lang="en-US" sz="1200" b="0" kern="1200" dirty="0">
                <a:solidFill>
                  <a:schemeClr val="tx1"/>
                </a:solidFill>
                <a:effectLst/>
                <a:latin typeface="+mn-lt"/>
                <a:ea typeface="+mn-ea"/>
                <a:cs typeface="+mn-cs"/>
              </a:rPr>
            </a:br>
            <a:r>
              <a:rPr lang="en-US" sz="1200" b="0" kern="1200" dirty="0" err="1">
                <a:solidFill>
                  <a:schemeClr val="tx1"/>
                </a:solidFill>
                <a:effectLst/>
                <a:latin typeface="+mn-lt"/>
                <a:ea typeface="+mn-ea"/>
                <a:cs typeface="+mn-cs"/>
              </a:rPr>
              <a:t>vrfs.yml</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ask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name: Confirm all VRFs exist</a:t>
            </a:r>
          </a:p>
          <a:p>
            <a:r>
              <a:rPr lang="en-US" sz="1200" b="0" kern="1200" dirty="0" err="1">
                <a:solidFill>
                  <a:schemeClr val="tx1"/>
                </a:solidFill>
                <a:effectLst/>
                <a:latin typeface="+mn-lt"/>
                <a:ea typeface="+mn-ea"/>
                <a:cs typeface="+mn-cs"/>
              </a:rPr>
              <a:t>ios_vrf</a:t>
            </a:r>
            <a:r>
              <a:rPr lang="en-US" sz="1200" b="0" kern="1200" dirty="0">
                <a:solidFill>
                  <a:schemeClr val="tx1"/>
                </a:solidFill>
                <a:effectLst/>
                <a:latin typeface="+mn-lt"/>
                <a:ea typeface="+mn-ea"/>
                <a:cs typeface="+mn-cs"/>
              </a:rPr>
              <a:t>:</a:t>
            </a:r>
          </a:p>
          <a:p>
            <a:r>
              <a:rPr lang="en-US" sz="1200" b="0" kern="1200" dirty="0" err="1">
                <a:solidFill>
                  <a:schemeClr val="tx1"/>
                </a:solidFill>
                <a:effectLst/>
                <a:latin typeface="+mn-lt"/>
                <a:ea typeface="+mn-ea"/>
                <a:cs typeface="+mn-cs"/>
              </a:rPr>
              <a:t>vrfs</a:t>
            </a:r>
            <a:r>
              <a:rPr lang="en-US" sz="1200" b="0" kern="1200" dirty="0">
                <a:solidFill>
                  <a:schemeClr val="tx1"/>
                </a:solidFill>
                <a:effectLst/>
                <a:latin typeface="+mn-lt"/>
                <a:ea typeface="+mn-ea"/>
                <a:cs typeface="+mn-cs"/>
              </a:rPr>
              <a:t>: "{{ </a:t>
            </a:r>
            <a:r>
              <a:rPr lang="en-US" sz="1200" b="0" kern="1200" dirty="0" err="1">
                <a:solidFill>
                  <a:schemeClr val="tx1"/>
                </a:solidFill>
                <a:effectLst/>
                <a:latin typeface="+mn-lt"/>
                <a:ea typeface="+mn-ea"/>
                <a:cs typeface="+mn-cs"/>
              </a:rPr>
              <a:t>local_vrfs</a:t>
            </a:r>
            <a:r>
              <a:rPr lang="en-US" sz="1200" b="0" kern="1200" dirty="0">
                <a:solidFill>
                  <a:schemeClr val="tx1"/>
                </a:solidFill>
                <a:effectLst/>
                <a:latin typeface="+mn-lt"/>
                <a:ea typeface="+mn-ea"/>
                <a:cs typeface="+mn-cs"/>
              </a:rPr>
              <a:t> }}"</a:t>
            </a:r>
          </a:p>
          <a:p>
            <a:r>
              <a:rPr lang="en-US" sz="1200" b="0" kern="1200" dirty="0">
                <a:solidFill>
                  <a:schemeClr val="tx1"/>
                </a:solidFill>
                <a:effectLst/>
                <a:latin typeface="+mn-lt"/>
                <a:ea typeface="+mn-ea"/>
                <a:cs typeface="+mn-cs"/>
              </a:rPr>
              <a:t>state: present</a:t>
            </a:r>
          </a:p>
          <a:p>
            <a:r>
              <a:rPr lang="en-US" sz="1200" b="0" kern="1200" dirty="0">
                <a:solidFill>
                  <a:schemeClr val="tx1"/>
                </a:solidFill>
                <a:effectLst/>
                <a:latin typeface="+mn-lt"/>
                <a:ea typeface="+mn-ea"/>
                <a:cs typeface="+mn-cs"/>
              </a:rPr>
              <a:t>purge: yes</a:t>
            </a:r>
          </a:p>
          <a:p>
            <a:r>
              <a:rPr lang="en-US" sz="1200" b="0" kern="1200" dirty="0" err="1">
                <a:solidFill>
                  <a:schemeClr val="tx1"/>
                </a:solidFill>
                <a:effectLst/>
                <a:latin typeface="+mn-lt"/>
                <a:ea typeface="+mn-ea"/>
                <a:cs typeface="+mn-cs"/>
              </a:rPr>
              <a:t>check_mode</a:t>
            </a:r>
            <a:r>
              <a:rPr lang="en-US" sz="1200" b="0" kern="1200" dirty="0">
                <a:solidFill>
                  <a:schemeClr val="tx1"/>
                </a:solidFill>
                <a:effectLst/>
                <a:latin typeface="+mn-lt"/>
                <a:ea typeface="+mn-ea"/>
                <a:cs typeface="+mn-cs"/>
              </a:rPr>
              <a:t>: yes</a:t>
            </a:r>
          </a:p>
          <a:p>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In this example we are using the `</a:t>
            </a:r>
            <a:r>
              <a:rPr lang="en-US" sz="1200" b="0" kern="1200" dirty="0" err="1">
                <a:solidFill>
                  <a:schemeClr val="tx1"/>
                </a:solidFill>
                <a:effectLst/>
                <a:latin typeface="+mn-lt"/>
                <a:ea typeface="+mn-ea"/>
                <a:cs typeface="+mn-cs"/>
              </a:rPr>
              <a:t>ios_vrf</a:t>
            </a:r>
            <a:r>
              <a:rPr lang="en-US" sz="1200" b="0" kern="1200" dirty="0">
                <a:solidFill>
                  <a:schemeClr val="tx1"/>
                </a:solidFill>
                <a:effectLst/>
                <a:latin typeface="+mn-lt"/>
                <a:ea typeface="+mn-ea"/>
                <a:cs typeface="+mn-cs"/>
              </a:rPr>
              <a:t>` module to declare which VRFs we want to exist on the router. Because we use the optional `purge: yes` parameter, the `</a:t>
            </a:r>
            <a:r>
              <a:rPr lang="en-US" sz="1200" b="0" kern="1200" dirty="0" err="1">
                <a:solidFill>
                  <a:schemeClr val="tx1"/>
                </a:solidFill>
                <a:effectLst/>
                <a:latin typeface="+mn-lt"/>
                <a:ea typeface="+mn-ea"/>
                <a:cs typeface="+mn-cs"/>
              </a:rPr>
              <a:t>ios_vrf</a:t>
            </a:r>
            <a:r>
              <a:rPr lang="en-US" sz="1200" b="0" kern="1200" dirty="0">
                <a:solidFill>
                  <a:schemeClr val="tx1"/>
                </a:solidFill>
                <a:effectLst/>
                <a:latin typeface="+mn-lt"/>
                <a:ea typeface="+mn-ea"/>
                <a:cs typeface="+mn-cs"/>
              </a:rPr>
              <a:t>` module will delete any additional VRFs from the device that are not included in ``{{ </a:t>
            </a:r>
            <a:r>
              <a:rPr lang="en-US" sz="1200" b="0" kern="1200" dirty="0" err="1">
                <a:solidFill>
                  <a:schemeClr val="tx1"/>
                </a:solidFill>
                <a:effectLst/>
                <a:latin typeface="+mn-lt"/>
                <a:ea typeface="+mn-ea"/>
                <a:cs typeface="+mn-cs"/>
              </a:rPr>
              <a:t>local_vrfs</a:t>
            </a:r>
            <a:r>
              <a:rPr lang="en-US" sz="1200" b="0" kern="1200" dirty="0">
                <a:solidFill>
                  <a:schemeClr val="tx1"/>
                </a:solidFill>
                <a:effectLst/>
                <a:latin typeface="+mn-lt"/>
                <a:ea typeface="+mn-ea"/>
                <a:cs typeface="+mn-cs"/>
              </a:rPr>
              <a:t> }}`` address defined in our variable file.</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vrfs</a:t>
            </a:r>
            <a:r>
              <a:rPr lang="en-US" sz="1200" b="0" kern="1200" dirty="0">
                <a:solidFill>
                  <a:schemeClr val="tx1"/>
                </a:solidFill>
                <a:effectLst/>
                <a:latin typeface="+mn-lt"/>
                <a:ea typeface="+mn-ea"/>
                <a:cs typeface="+mn-cs"/>
              </a:rPr>
              <a:t>: "{{ </a:t>
            </a:r>
            <a:r>
              <a:rPr lang="en-US" sz="1200" b="0" kern="1200" dirty="0" err="1">
                <a:solidFill>
                  <a:schemeClr val="tx1"/>
                </a:solidFill>
                <a:effectLst/>
                <a:latin typeface="+mn-lt"/>
                <a:ea typeface="+mn-ea"/>
                <a:cs typeface="+mn-cs"/>
              </a:rPr>
              <a:t>local_vrfs</a:t>
            </a:r>
            <a:r>
              <a:rPr lang="en-US" sz="1200" b="0" kern="1200" dirty="0">
                <a:solidFill>
                  <a:schemeClr val="tx1"/>
                </a:solidFill>
                <a:effectLst/>
                <a:latin typeface="+mn-lt"/>
                <a:ea typeface="+mn-ea"/>
                <a:cs typeface="+mn-cs"/>
              </a:rPr>
              <a:t>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Here we pass a list variable that contains a list of VRFs as a parameter to `</a:t>
            </a:r>
            <a:r>
              <a:rPr lang="en-US" sz="1200" b="0" kern="1200" dirty="0" err="1">
                <a:solidFill>
                  <a:schemeClr val="tx1"/>
                </a:solidFill>
                <a:effectLst/>
                <a:latin typeface="+mn-lt"/>
                <a:ea typeface="+mn-ea"/>
                <a:cs typeface="+mn-cs"/>
              </a:rPr>
              <a:t>ios_vrf</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state: present</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his line specifies that we want to ensure these VRFs exist. In contrast, `state: absent` would delete this list of VRFs.</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purge: yes</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We are telling the module that the list of VRFs in `</a:t>
            </a:r>
            <a:r>
              <a:rPr lang="en-US" sz="1200" b="0" kern="1200" dirty="0" err="1">
                <a:solidFill>
                  <a:schemeClr val="tx1"/>
                </a:solidFill>
                <a:effectLst/>
                <a:latin typeface="+mn-lt"/>
                <a:ea typeface="+mn-ea"/>
                <a:cs typeface="+mn-cs"/>
              </a:rPr>
              <a:t>local_vrfs</a:t>
            </a:r>
            <a:r>
              <a:rPr lang="en-US" sz="1200" b="0" kern="1200" dirty="0">
                <a:solidFill>
                  <a:schemeClr val="tx1"/>
                </a:solidFill>
                <a:effectLst/>
                <a:latin typeface="+mn-lt"/>
                <a:ea typeface="+mn-ea"/>
                <a:cs typeface="+mn-cs"/>
              </a:rPr>
              <a:t>` should be a complete list, and any additional VRFs that exist on the device should be removed.</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check_mode</a:t>
            </a:r>
            <a:r>
              <a:rPr lang="en-US" sz="1200" b="0" kern="1200" dirty="0">
                <a:solidFill>
                  <a:schemeClr val="tx1"/>
                </a:solidFill>
                <a:effectLst/>
                <a:latin typeface="+mn-lt"/>
                <a:ea typeface="+mn-ea"/>
                <a:cs typeface="+mn-cs"/>
              </a:rPr>
              <a:t>: yes</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his is a useful parameter that tells the task to only evaluate what it would do, without taking action. It is very useful for testing new script changes or just for building a script to audit devices. It behaves similar to the ``-C`` command-line option, but can be specified on individual tasks unlike ``-C``.</a:t>
            </a:r>
          </a:p>
          <a:p>
            <a:br>
              <a:rPr lang="en-US" sz="1200" b="0" kern="1200" dirty="0">
                <a:solidFill>
                  <a:schemeClr val="tx1"/>
                </a:solidFill>
                <a:effectLst/>
                <a:latin typeface="+mn-lt"/>
                <a:ea typeface="+mn-ea"/>
                <a:cs typeface="+mn-cs"/>
              </a:rPr>
            </a:b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31486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r>
              <a:rPr lang="en-US" sz="1200" b="1" kern="1200" dirty="0" err="1">
                <a:solidFill>
                  <a:schemeClr val="tx1"/>
                </a:solidFill>
                <a:effectLst/>
                <a:latin typeface="+mn-lt"/>
                <a:ea typeface="+mn-ea"/>
                <a:cs typeface="+mn-cs"/>
              </a:rPr>
              <a:t>ios_user</a:t>
            </a:r>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err="1">
                <a:solidFill>
                  <a:schemeClr val="tx1"/>
                </a:solidFill>
                <a:effectLst/>
                <a:latin typeface="+mn-lt"/>
                <a:ea typeface="+mn-ea"/>
                <a:cs typeface="+mn-cs"/>
              </a:rPr>
              <a:t>vars.yml</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local_users</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cisco:</a:t>
            </a:r>
          </a:p>
          <a:p>
            <a:r>
              <a:rPr lang="en-US" sz="1200" b="0" kern="1200" dirty="0" err="1">
                <a:solidFill>
                  <a:schemeClr val="tx1"/>
                </a:solidFill>
                <a:effectLst/>
                <a:latin typeface="+mn-lt"/>
                <a:ea typeface="+mn-ea"/>
                <a:cs typeface="+mn-cs"/>
              </a:rPr>
              <a:t>priv</a:t>
            </a:r>
            <a:r>
              <a:rPr lang="en-US" sz="1200" b="0" kern="1200" dirty="0">
                <a:solidFill>
                  <a:schemeClr val="tx1"/>
                </a:solidFill>
                <a:effectLst/>
                <a:latin typeface="+mn-lt"/>
                <a:ea typeface="+mn-ea"/>
                <a:cs typeface="+mn-cs"/>
              </a:rPr>
              <a:t>: 15</a:t>
            </a:r>
          </a:p>
          <a:p>
            <a:r>
              <a:rPr lang="en-US" sz="1200" b="0" kern="1200" dirty="0">
                <a:solidFill>
                  <a:schemeClr val="tx1"/>
                </a:solidFill>
                <a:effectLst/>
                <a:latin typeface="+mn-lt"/>
                <a:ea typeface="+mn-ea"/>
                <a:cs typeface="+mn-cs"/>
              </a:rPr>
              <a:t>password: "{{password}}"</a:t>
            </a:r>
          </a:p>
          <a:p>
            <a:r>
              <a:rPr lang="en-US" sz="1200" b="0" kern="1200" dirty="0">
                <a:solidFill>
                  <a:schemeClr val="tx1"/>
                </a:solidFill>
                <a:effectLst/>
                <a:latin typeface="+mn-lt"/>
                <a:ea typeface="+mn-ea"/>
                <a:cs typeface="+mn-cs"/>
              </a:rPr>
              <a:t>admin:</a:t>
            </a:r>
          </a:p>
          <a:p>
            <a:r>
              <a:rPr lang="en-US" sz="1200" b="0" kern="1200" dirty="0" err="1">
                <a:solidFill>
                  <a:schemeClr val="tx1"/>
                </a:solidFill>
                <a:effectLst/>
                <a:latin typeface="+mn-lt"/>
                <a:ea typeface="+mn-ea"/>
                <a:cs typeface="+mn-cs"/>
              </a:rPr>
              <a:t>priv</a:t>
            </a:r>
            <a:r>
              <a:rPr lang="en-US" sz="1200" b="0" kern="1200" dirty="0">
                <a:solidFill>
                  <a:schemeClr val="tx1"/>
                </a:solidFill>
                <a:effectLst/>
                <a:latin typeface="+mn-lt"/>
                <a:ea typeface="+mn-ea"/>
                <a:cs typeface="+mn-cs"/>
              </a:rPr>
              <a:t>: 15</a:t>
            </a:r>
          </a:p>
          <a:p>
            <a:r>
              <a:rPr lang="en-US" sz="1200" b="0" kern="1200" dirty="0">
                <a:solidFill>
                  <a:schemeClr val="tx1"/>
                </a:solidFill>
                <a:effectLst/>
                <a:latin typeface="+mn-lt"/>
                <a:ea typeface="+mn-ea"/>
                <a:cs typeface="+mn-cs"/>
              </a:rPr>
              <a:t>password: "{{password}}"</a:t>
            </a:r>
          </a:p>
          <a:p>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err="1">
                <a:solidFill>
                  <a:schemeClr val="tx1"/>
                </a:solidFill>
                <a:effectLst/>
                <a:latin typeface="+mn-lt"/>
                <a:ea typeface="+mn-ea"/>
                <a:cs typeface="+mn-cs"/>
              </a:rPr>
              <a:t>users.yml</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ask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name: Configure cisco users</a:t>
            </a:r>
          </a:p>
          <a:p>
            <a:r>
              <a:rPr lang="en-US" sz="1200" b="0" kern="1200" dirty="0" err="1">
                <a:solidFill>
                  <a:schemeClr val="tx1"/>
                </a:solidFill>
                <a:effectLst/>
                <a:latin typeface="+mn-lt"/>
                <a:ea typeface="+mn-ea"/>
                <a:cs typeface="+mn-cs"/>
              </a:rPr>
              <a:t>with_items</a:t>
            </a:r>
            <a:r>
              <a:rPr lang="en-US" sz="1200" b="0" kern="1200" dirty="0">
                <a:solidFill>
                  <a:schemeClr val="tx1"/>
                </a:solidFill>
                <a:effectLst/>
                <a:latin typeface="+mn-lt"/>
                <a:ea typeface="+mn-ea"/>
                <a:cs typeface="+mn-cs"/>
              </a:rPr>
              <a:t>: "{{ </a:t>
            </a:r>
            <a:r>
              <a:rPr lang="en-US" sz="1200" b="0" kern="1200" dirty="0" err="1">
                <a:solidFill>
                  <a:schemeClr val="tx1"/>
                </a:solidFill>
                <a:effectLst/>
                <a:latin typeface="+mn-lt"/>
                <a:ea typeface="+mn-ea"/>
                <a:cs typeface="+mn-cs"/>
              </a:rPr>
              <a:t>local_users</a:t>
            </a:r>
            <a:r>
              <a:rPr lang="en-US" sz="1200" b="0" kern="1200" dirty="0">
                <a:solidFill>
                  <a:schemeClr val="tx1"/>
                </a:solidFill>
                <a:effectLst/>
                <a:latin typeface="+mn-lt"/>
                <a:ea typeface="+mn-ea"/>
                <a:cs typeface="+mn-cs"/>
              </a:rPr>
              <a:t> }}"</a:t>
            </a:r>
          </a:p>
          <a:p>
            <a:r>
              <a:rPr lang="en-US" sz="1200" b="0" kern="1200" dirty="0" err="1">
                <a:solidFill>
                  <a:schemeClr val="tx1"/>
                </a:solidFill>
                <a:effectLst/>
                <a:latin typeface="+mn-lt"/>
                <a:ea typeface="+mn-ea"/>
                <a:cs typeface="+mn-cs"/>
              </a:rPr>
              <a:t>ios_user</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name: "{{item}}"</a:t>
            </a:r>
          </a:p>
          <a:p>
            <a:r>
              <a:rPr lang="en-US" sz="1200" b="0" kern="1200" dirty="0">
                <a:solidFill>
                  <a:schemeClr val="tx1"/>
                </a:solidFill>
                <a:effectLst/>
                <a:latin typeface="+mn-lt"/>
                <a:ea typeface="+mn-ea"/>
                <a:cs typeface="+mn-cs"/>
              </a:rPr>
              <a:t>privilege: "{{ </a:t>
            </a:r>
            <a:r>
              <a:rPr lang="en-US" sz="1200" b="0" kern="1200" dirty="0" err="1">
                <a:solidFill>
                  <a:schemeClr val="tx1"/>
                </a:solidFill>
                <a:effectLst/>
                <a:latin typeface="+mn-lt"/>
                <a:ea typeface="+mn-ea"/>
                <a:cs typeface="+mn-cs"/>
              </a:rPr>
              <a:t>item.priv</a:t>
            </a:r>
            <a:r>
              <a:rPr lang="en-US" sz="1200" b="0" kern="1200" dirty="0">
                <a:solidFill>
                  <a:schemeClr val="tx1"/>
                </a:solidFill>
                <a:effectLst/>
                <a:latin typeface="+mn-lt"/>
                <a:ea typeface="+mn-ea"/>
                <a:cs typeface="+mn-cs"/>
              </a:rPr>
              <a:t> | default(15) }}"</a:t>
            </a:r>
          </a:p>
          <a:p>
            <a:r>
              <a:rPr lang="en-US" sz="1200" b="0" kern="1200" dirty="0" err="1">
                <a:solidFill>
                  <a:schemeClr val="tx1"/>
                </a:solidFill>
                <a:effectLst/>
                <a:latin typeface="+mn-lt"/>
                <a:ea typeface="+mn-ea"/>
                <a:cs typeface="+mn-cs"/>
              </a:rPr>
              <a:t>configured_password</a:t>
            </a:r>
            <a:r>
              <a:rPr lang="en-US" sz="1200" b="0" kern="1200" dirty="0">
                <a:solidFill>
                  <a:schemeClr val="tx1"/>
                </a:solidFill>
                <a:effectLst/>
                <a:latin typeface="+mn-lt"/>
                <a:ea typeface="+mn-ea"/>
                <a:cs typeface="+mn-cs"/>
              </a:rPr>
              <a:t>: "{{ </a:t>
            </a:r>
            <a:r>
              <a:rPr lang="en-US" sz="1200" b="0" kern="1200" dirty="0" err="1">
                <a:solidFill>
                  <a:schemeClr val="tx1"/>
                </a:solidFill>
                <a:effectLst/>
                <a:latin typeface="+mn-lt"/>
                <a:ea typeface="+mn-ea"/>
                <a:cs typeface="+mn-cs"/>
              </a:rPr>
              <a:t>item.password</a:t>
            </a:r>
            <a:r>
              <a:rPr lang="en-US" sz="1200" b="0" kern="1200" dirty="0">
                <a:solidFill>
                  <a:schemeClr val="tx1"/>
                </a:solidFill>
                <a:effectLst/>
                <a:latin typeface="+mn-lt"/>
                <a:ea typeface="+mn-ea"/>
                <a:cs typeface="+mn-cs"/>
              </a:rPr>
              <a:t> | default('password') }}"</a:t>
            </a:r>
          </a:p>
          <a:p>
            <a:r>
              <a:rPr lang="en-US" sz="1200" b="0" kern="1200" dirty="0">
                <a:solidFill>
                  <a:schemeClr val="tx1"/>
                </a:solidFill>
                <a:effectLst/>
                <a:latin typeface="+mn-lt"/>
                <a:ea typeface="+mn-ea"/>
                <a:cs typeface="+mn-cs"/>
              </a:rPr>
              <a:t>state: present</a:t>
            </a:r>
          </a:p>
          <a:p>
            <a:endParaRPr lang="en-US" sz="1200" b="0" kern="1200" dirty="0">
              <a:solidFill>
                <a:schemeClr val="tx1"/>
              </a:solidFill>
              <a:effectLst/>
              <a:latin typeface="+mn-lt"/>
              <a:ea typeface="+mn-ea"/>
              <a:cs typeface="+mn-cs"/>
            </a:endParaRP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In this example, we leverage a variable named `{{</a:t>
            </a:r>
            <a:r>
              <a:rPr lang="en-US" sz="1200" b="0" kern="1200" dirty="0" err="1">
                <a:solidFill>
                  <a:schemeClr val="tx1"/>
                </a:solidFill>
                <a:effectLst/>
                <a:latin typeface="+mn-lt"/>
                <a:ea typeface="+mn-ea"/>
                <a:cs typeface="+mn-cs"/>
              </a:rPr>
              <a:t>local_users</a:t>
            </a:r>
            <a:r>
              <a:rPr lang="en-US" sz="1200" b="0" kern="1200" dirty="0">
                <a:solidFill>
                  <a:schemeClr val="tx1"/>
                </a:solidFill>
                <a:effectLst/>
                <a:latin typeface="+mn-lt"/>
                <a:ea typeface="+mn-ea"/>
                <a:cs typeface="+mn-cs"/>
              </a:rPr>
              <a:t>}}` created in a group variable file. The play loops through all users within the list and creates a user with the correct privilege and password. If not specified, privilege defaults to `15` and password to `password`.</a:t>
            </a:r>
          </a:p>
          <a:p>
            <a:br>
              <a:rPr lang="en-US" sz="1200" b="0" kern="1200" dirty="0">
                <a:solidFill>
                  <a:schemeClr val="tx1"/>
                </a:solidFill>
                <a:effectLst/>
                <a:latin typeface="+mn-lt"/>
                <a:ea typeface="+mn-ea"/>
                <a:cs typeface="+mn-cs"/>
              </a:rPr>
            </a:b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8617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br>
              <a:rPr lang="en-US" sz="1200" b="0" kern="1200" dirty="0">
                <a:solidFill>
                  <a:schemeClr val="tx1"/>
                </a:solidFill>
                <a:effectLst/>
                <a:latin typeface="+mn-lt"/>
                <a:ea typeface="+mn-ea"/>
                <a:cs typeface="+mn-cs"/>
              </a:rPr>
            </a:br>
            <a:r>
              <a:rPr lang="en-US" sz="1200" b="1" kern="1200" dirty="0" err="1">
                <a:solidFill>
                  <a:schemeClr val="tx1"/>
                </a:solidFill>
                <a:effectLst/>
                <a:latin typeface="+mn-lt"/>
                <a:ea typeface="+mn-ea"/>
                <a:cs typeface="+mn-cs"/>
              </a:rPr>
              <a:t>netconf_config</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he last module we will cover, `</a:t>
            </a:r>
            <a:r>
              <a:rPr lang="en-US" sz="1200" b="0" kern="1200" dirty="0" err="1">
                <a:solidFill>
                  <a:schemeClr val="tx1"/>
                </a:solidFill>
                <a:effectLst/>
                <a:latin typeface="+mn-lt"/>
                <a:ea typeface="+mn-ea"/>
                <a:cs typeface="+mn-cs"/>
              </a:rPr>
              <a:t>netconf_config</a:t>
            </a:r>
            <a:r>
              <a:rPr lang="en-US" sz="1200" b="0" kern="1200" dirty="0">
                <a:solidFill>
                  <a:schemeClr val="tx1"/>
                </a:solidFill>
                <a:effectLst/>
                <a:latin typeface="+mn-lt"/>
                <a:ea typeface="+mn-ea"/>
                <a:cs typeface="+mn-cs"/>
              </a:rPr>
              <a:t>`, is unique in that it is not specific to one platform. The `</a:t>
            </a:r>
            <a:r>
              <a:rPr lang="en-US" sz="1200" b="0" kern="1200" dirty="0" err="1">
                <a:solidFill>
                  <a:schemeClr val="tx1"/>
                </a:solidFill>
                <a:effectLst/>
                <a:latin typeface="+mn-lt"/>
                <a:ea typeface="+mn-ea"/>
                <a:cs typeface="+mn-cs"/>
              </a:rPr>
              <a:t>netconf_config</a:t>
            </a:r>
            <a:r>
              <a:rPr lang="en-US" sz="1200" b="0" kern="1200" dirty="0">
                <a:solidFill>
                  <a:schemeClr val="tx1"/>
                </a:solidFill>
                <a:effectLst/>
                <a:latin typeface="+mn-lt"/>
                <a:ea typeface="+mn-ea"/>
                <a:cs typeface="+mn-cs"/>
              </a:rPr>
              <a:t>` module can talk to any NETCONF-capable device, allowing for more universal tasks across multiple platforms. In the following example, we use NETCONF to define an NTP server on a router.</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 name: NETCONF create NTP server</a:t>
            </a:r>
          </a:p>
          <a:p>
            <a:r>
              <a:rPr lang="en-US" sz="1200" b="0" kern="1200" dirty="0">
                <a:solidFill>
                  <a:schemeClr val="tx1"/>
                </a:solidFill>
                <a:effectLst/>
                <a:latin typeface="+mn-lt"/>
                <a:ea typeface="+mn-ea"/>
                <a:cs typeface="+mn-cs"/>
              </a:rPr>
              <a:t>hosts: </a:t>
            </a:r>
            <a:r>
              <a:rPr lang="en-US" sz="1200" b="0" kern="1200" dirty="0" err="1">
                <a:solidFill>
                  <a:schemeClr val="tx1"/>
                </a:solidFill>
                <a:effectLst/>
                <a:latin typeface="+mn-lt"/>
                <a:ea typeface="+mn-ea"/>
                <a:cs typeface="+mn-cs"/>
              </a:rPr>
              <a:t>iosxe</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connection: local</a:t>
            </a:r>
          </a:p>
          <a:p>
            <a:r>
              <a:rPr lang="en-US" sz="1200" b="0" kern="1200" dirty="0" err="1">
                <a:solidFill>
                  <a:schemeClr val="tx1"/>
                </a:solidFill>
                <a:effectLst/>
                <a:latin typeface="+mn-lt"/>
                <a:ea typeface="+mn-ea"/>
                <a:cs typeface="+mn-cs"/>
              </a:rPr>
              <a:t>gather_facts</a:t>
            </a:r>
            <a:r>
              <a:rPr lang="en-US" sz="1200" b="0" kern="1200" dirty="0">
                <a:solidFill>
                  <a:schemeClr val="tx1"/>
                </a:solidFill>
                <a:effectLst/>
                <a:latin typeface="+mn-lt"/>
                <a:ea typeface="+mn-ea"/>
                <a:cs typeface="+mn-cs"/>
              </a:rPr>
              <a:t>: False</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tasks:</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set_fact</a:t>
            </a:r>
            <a:r>
              <a:rPr lang="en-US" sz="1200" b="0" kern="1200" dirty="0">
                <a:solidFill>
                  <a:schemeClr val="tx1"/>
                </a:solidFill>
                <a:effectLst/>
                <a:latin typeface="+mn-lt"/>
                <a:ea typeface="+mn-ea"/>
                <a:cs typeface="+mn-cs"/>
              </a:rPr>
              <a:t>:</a:t>
            </a:r>
          </a:p>
          <a:p>
            <a:r>
              <a:rPr lang="en-US" sz="1200" b="0" kern="1200" dirty="0" err="1">
                <a:solidFill>
                  <a:schemeClr val="tx1"/>
                </a:solidFill>
                <a:effectLst/>
                <a:latin typeface="+mn-lt"/>
                <a:ea typeface="+mn-ea"/>
                <a:cs typeface="+mn-cs"/>
              </a:rPr>
              <a:t>ansible_connection</a:t>
            </a:r>
            <a:r>
              <a:rPr lang="en-US" sz="1200" b="0" kern="1200" dirty="0">
                <a:solidFill>
                  <a:schemeClr val="tx1"/>
                </a:solidFill>
                <a:effectLst/>
                <a:latin typeface="+mn-lt"/>
                <a:ea typeface="+mn-ea"/>
                <a:cs typeface="+mn-cs"/>
              </a:rPr>
              <a:t>: local</a:t>
            </a:r>
          </a:p>
          <a:p>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 name: Define NTP server 10.111.{{</a:t>
            </a:r>
            <a:r>
              <a:rPr lang="en-US" sz="1200" b="0" kern="1200" dirty="0" err="1">
                <a:solidFill>
                  <a:schemeClr val="tx1"/>
                </a:solidFill>
                <a:effectLst/>
                <a:latin typeface="+mn-lt"/>
                <a:ea typeface="+mn-ea"/>
                <a:cs typeface="+mn-cs"/>
              </a:rPr>
              <a:t>pod_number</a:t>
            </a:r>
            <a:r>
              <a:rPr lang="en-US" sz="1200" b="0" kern="1200" dirty="0">
                <a:solidFill>
                  <a:schemeClr val="tx1"/>
                </a:solidFill>
                <a:effectLst/>
                <a:latin typeface="+mn-lt"/>
                <a:ea typeface="+mn-ea"/>
                <a:cs typeface="+mn-cs"/>
              </a:rPr>
              <a:t>}}.66 with NETCONF</a:t>
            </a:r>
          </a:p>
          <a:p>
            <a:r>
              <a:rPr lang="en-US" sz="1200" b="0" kern="1200" dirty="0" err="1">
                <a:solidFill>
                  <a:schemeClr val="tx1"/>
                </a:solidFill>
                <a:effectLst/>
                <a:latin typeface="+mn-lt"/>
                <a:ea typeface="+mn-ea"/>
                <a:cs typeface="+mn-cs"/>
              </a:rPr>
              <a:t>netconf_config</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host: "{{</a:t>
            </a:r>
            <a:r>
              <a:rPr lang="en-US" sz="1200" b="0" kern="1200" dirty="0" err="1">
                <a:solidFill>
                  <a:schemeClr val="tx1"/>
                </a:solidFill>
                <a:effectLst/>
                <a:latin typeface="+mn-lt"/>
                <a:ea typeface="+mn-ea"/>
                <a:cs typeface="+mn-cs"/>
              </a:rPr>
              <a:t>inventory_hostname</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port: "{{</a:t>
            </a:r>
            <a:r>
              <a:rPr lang="en-US" sz="1200" b="0" kern="1200" dirty="0" err="1">
                <a:solidFill>
                  <a:schemeClr val="tx1"/>
                </a:solidFill>
                <a:effectLst/>
                <a:latin typeface="+mn-lt"/>
                <a:ea typeface="+mn-ea"/>
                <a:cs typeface="+mn-cs"/>
              </a:rPr>
              <a:t>netconf_port</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username: "{{</a:t>
            </a:r>
            <a:r>
              <a:rPr lang="en-US" sz="1200" b="0" kern="1200" dirty="0" err="1">
                <a:solidFill>
                  <a:schemeClr val="tx1"/>
                </a:solidFill>
                <a:effectLst/>
                <a:latin typeface="+mn-lt"/>
                <a:ea typeface="+mn-ea"/>
                <a:cs typeface="+mn-cs"/>
              </a:rPr>
              <a:t>ansible_user</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password: "{{</a:t>
            </a:r>
            <a:r>
              <a:rPr lang="en-US" sz="1200" b="0" kern="1200" dirty="0" err="1">
                <a:solidFill>
                  <a:schemeClr val="tx1"/>
                </a:solidFill>
                <a:effectLst/>
                <a:latin typeface="+mn-lt"/>
                <a:ea typeface="+mn-ea"/>
                <a:cs typeface="+mn-cs"/>
              </a:rPr>
              <a:t>ansible_password</a:t>
            </a:r>
            <a:r>
              <a:rPr lang="en-US" sz="1200" b="0" kern="1200" dirty="0">
                <a:solidFill>
                  <a:schemeClr val="tx1"/>
                </a:solidFill>
                <a:effectLst/>
                <a:latin typeface="+mn-lt"/>
                <a:ea typeface="+mn-ea"/>
                <a:cs typeface="+mn-cs"/>
              </a:rPr>
              <a:t>}}"</a:t>
            </a:r>
          </a:p>
          <a:p>
            <a:r>
              <a:rPr lang="en-US" sz="1200" b="0" kern="1200" dirty="0" err="1">
                <a:solidFill>
                  <a:schemeClr val="tx1"/>
                </a:solidFill>
                <a:effectLst/>
                <a:latin typeface="+mn-lt"/>
                <a:ea typeface="+mn-ea"/>
                <a:cs typeface="+mn-cs"/>
              </a:rPr>
              <a:t>hostkey_verify</a:t>
            </a:r>
            <a:r>
              <a:rPr lang="en-US" sz="1200" b="0" kern="1200" dirty="0">
                <a:solidFill>
                  <a:schemeClr val="tx1"/>
                </a:solidFill>
                <a:effectLst/>
                <a:latin typeface="+mn-lt"/>
                <a:ea typeface="+mn-ea"/>
                <a:cs typeface="+mn-cs"/>
              </a:rPr>
              <a:t>: False</a:t>
            </a:r>
          </a:p>
          <a:p>
            <a:r>
              <a:rPr lang="en-US" sz="1200" b="0" kern="1200" dirty="0">
                <a:solidFill>
                  <a:schemeClr val="tx1"/>
                </a:solidFill>
                <a:effectLst/>
                <a:latin typeface="+mn-lt"/>
                <a:ea typeface="+mn-ea"/>
                <a:cs typeface="+mn-cs"/>
              </a:rPr>
              <a:t>xml: |</a:t>
            </a:r>
          </a:p>
          <a:p>
            <a:r>
              <a:rPr lang="en-US" sz="1200" b="0" kern="1200" dirty="0">
                <a:solidFill>
                  <a:schemeClr val="tx1"/>
                </a:solidFill>
                <a:effectLst/>
                <a:latin typeface="+mn-lt"/>
                <a:ea typeface="+mn-ea"/>
                <a:cs typeface="+mn-cs"/>
              </a:rPr>
              <a:t>&lt;config </a:t>
            </a:r>
            <a:r>
              <a:rPr lang="en-US" sz="1200" b="0" kern="1200" dirty="0" err="1">
                <a:solidFill>
                  <a:schemeClr val="tx1"/>
                </a:solidFill>
                <a:effectLst/>
                <a:latin typeface="+mn-lt"/>
                <a:ea typeface="+mn-ea"/>
                <a:cs typeface="+mn-cs"/>
              </a:rPr>
              <a:t>xmlns:xc</a:t>
            </a:r>
            <a:r>
              <a:rPr lang="en-US" sz="1200" b="0" kern="1200" dirty="0">
                <a:solidFill>
                  <a:schemeClr val="tx1"/>
                </a:solidFill>
                <a:effectLst/>
                <a:latin typeface="+mn-lt"/>
                <a:ea typeface="+mn-ea"/>
                <a:cs typeface="+mn-cs"/>
              </a:rPr>
              <a:t>="urn:ietf:params:xml:ns:netconf:base:1.0"&gt;</a:t>
            </a:r>
          </a:p>
          <a:p>
            <a:r>
              <a:rPr lang="en-US" sz="1200" b="0" kern="1200" dirty="0">
                <a:solidFill>
                  <a:schemeClr val="tx1"/>
                </a:solidFill>
                <a:effectLst/>
                <a:latin typeface="+mn-lt"/>
                <a:ea typeface="+mn-ea"/>
                <a:cs typeface="+mn-cs"/>
              </a:rPr>
              <a:t>&lt;native </a:t>
            </a:r>
            <a:r>
              <a:rPr lang="en-US" sz="1200" b="0" kern="1200" dirty="0" err="1">
                <a:solidFill>
                  <a:schemeClr val="tx1"/>
                </a:solidFill>
                <a:effectLst/>
                <a:latin typeface="+mn-lt"/>
                <a:ea typeface="+mn-ea"/>
                <a:cs typeface="+mn-cs"/>
              </a:rPr>
              <a:t>xmlns</a:t>
            </a:r>
            <a:r>
              <a:rPr lang="en-US" sz="1200" b="0" kern="1200" dirty="0">
                <a:solidFill>
                  <a:schemeClr val="tx1"/>
                </a:solidFill>
                <a:effectLst/>
                <a:latin typeface="+mn-lt"/>
                <a:ea typeface="+mn-ea"/>
                <a:cs typeface="+mn-cs"/>
              </a:rPr>
              <a:t>="http://</a:t>
            </a:r>
            <a:r>
              <a:rPr lang="en-US" sz="1200" b="0" kern="1200" dirty="0" err="1">
                <a:solidFill>
                  <a:schemeClr val="tx1"/>
                </a:solidFill>
                <a:effectLst/>
                <a:latin typeface="+mn-lt"/>
                <a:ea typeface="+mn-ea"/>
                <a:cs typeface="+mn-cs"/>
              </a:rPr>
              <a:t>cisco.com</a:t>
            </a:r>
            <a:r>
              <a:rPr lang="en-US" sz="1200" b="0" kern="1200" dirty="0">
                <a:solidFill>
                  <a:schemeClr val="tx1"/>
                </a:solidFill>
                <a:effectLst/>
                <a:latin typeface="+mn-lt"/>
                <a:ea typeface="+mn-ea"/>
                <a:cs typeface="+mn-cs"/>
              </a:rPr>
              <a:t>/ns/yang/Cisco-IOS-XE-native" </a:t>
            </a:r>
            <a:r>
              <a:rPr lang="en-US" sz="1200" b="0" kern="1200" dirty="0" err="1">
                <a:solidFill>
                  <a:schemeClr val="tx1"/>
                </a:solidFill>
                <a:effectLst/>
                <a:latin typeface="+mn-lt"/>
                <a:ea typeface="+mn-ea"/>
                <a:cs typeface="+mn-cs"/>
              </a:rPr>
              <a:t>xmlns:nc</a:t>
            </a:r>
            <a:r>
              <a:rPr lang="en-US" sz="1200" b="0" kern="1200" dirty="0">
                <a:solidFill>
                  <a:schemeClr val="tx1"/>
                </a:solidFill>
                <a:effectLst/>
                <a:latin typeface="+mn-lt"/>
                <a:ea typeface="+mn-ea"/>
                <a:cs typeface="+mn-cs"/>
              </a:rPr>
              <a:t>="urn:ietf:params:xml:ns:netconf:base:1.0"&gt;</a:t>
            </a:r>
          </a:p>
          <a:p>
            <a:r>
              <a:rPr lang="en-US" sz="1200" b="0" kern="1200" dirty="0">
                <a:solidFill>
                  <a:schemeClr val="tx1"/>
                </a:solidFill>
                <a:effectLst/>
                <a:latin typeface="+mn-lt"/>
                <a:ea typeface="+mn-ea"/>
                <a:cs typeface="+mn-cs"/>
              </a:rPr>
              <a:t>&lt;</a:t>
            </a:r>
            <a:r>
              <a:rPr lang="en-US" sz="1200" b="0" kern="1200" dirty="0" err="1">
                <a:solidFill>
                  <a:schemeClr val="tx1"/>
                </a:solidFill>
                <a:effectLst/>
                <a:latin typeface="+mn-lt"/>
                <a:ea typeface="+mn-ea"/>
                <a:cs typeface="+mn-cs"/>
              </a:rPr>
              <a:t>ntp</a:t>
            </a:r>
            <a:r>
              <a:rPr lang="en-US" sz="1200" b="0" kern="1200" dirty="0">
                <a:solidFill>
                  <a:schemeClr val="tx1"/>
                </a:solidFill>
                <a:effectLst/>
                <a:latin typeface="+mn-lt"/>
                <a:ea typeface="+mn-ea"/>
                <a:cs typeface="+mn-cs"/>
              </a:rPr>
              <a:t>&gt;</a:t>
            </a:r>
          </a:p>
          <a:p>
            <a:r>
              <a:rPr lang="en-US" sz="1200" b="0" kern="1200" dirty="0">
                <a:solidFill>
                  <a:schemeClr val="tx1"/>
                </a:solidFill>
                <a:effectLst/>
                <a:latin typeface="+mn-lt"/>
                <a:ea typeface="+mn-ea"/>
                <a:cs typeface="+mn-cs"/>
              </a:rPr>
              <a:t>&lt;server </a:t>
            </a:r>
            <a:r>
              <a:rPr lang="en-US" sz="1200" b="0" kern="1200" dirty="0" err="1">
                <a:solidFill>
                  <a:schemeClr val="tx1"/>
                </a:solidFill>
                <a:effectLst/>
                <a:latin typeface="+mn-lt"/>
                <a:ea typeface="+mn-ea"/>
                <a:cs typeface="+mn-cs"/>
              </a:rPr>
              <a:t>xmlns</a:t>
            </a:r>
            <a:r>
              <a:rPr lang="en-US" sz="1200" b="0" kern="1200" dirty="0">
                <a:solidFill>
                  <a:schemeClr val="tx1"/>
                </a:solidFill>
                <a:effectLst/>
                <a:latin typeface="+mn-lt"/>
                <a:ea typeface="+mn-ea"/>
                <a:cs typeface="+mn-cs"/>
              </a:rPr>
              <a:t>="http://</a:t>
            </a:r>
            <a:r>
              <a:rPr lang="en-US" sz="1200" b="0" kern="1200" dirty="0" err="1">
                <a:solidFill>
                  <a:schemeClr val="tx1"/>
                </a:solidFill>
                <a:effectLst/>
                <a:latin typeface="+mn-lt"/>
                <a:ea typeface="+mn-ea"/>
                <a:cs typeface="+mn-cs"/>
              </a:rPr>
              <a:t>cisco.com</a:t>
            </a:r>
            <a:r>
              <a:rPr lang="en-US" sz="1200" b="0" kern="1200" dirty="0">
                <a:solidFill>
                  <a:schemeClr val="tx1"/>
                </a:solidFill>
                <a:effectLst/>
                <a:latin typeface="+mn-lt"/>
                <a:ea typeface="+mn-ea"/>
                <a:cs typeface="+mn-cs"/>
              </a:rPr>
              <a:t>/ns/yang/Cisco-IOS-XE-</a:t>
            </a:r>
            <a:r>
              <a:rPr lang="en-US" sz="1200" b="0" kern="1200" dirty="0" err="1">
                <a:solidFill>
                  <a:schemeClr val="tx1"/>
                </a:solidFill>
                <a:effectLst/>
                <a:latin typeface="+mn-lt"/>
                <a:ea typeface="+mn-ea"/>
                <a:cs typeface="+mn-cs"/>
              </a:rPr>
              <a:t>ntp</a:t>
            </a:r>
            <a:r>
              <a:rPr lang="en-US" sz="1200" b="0" kern="1200" dirty="0">
                <a:solidFill>
                  <a:schemeClr val="tx1"/>
                </a:solidFill>
                <a:effectLst/>
                <a:latin typeface="+mn-lt"/>
                <a:ea typeface="+mn-ea"/>
                <a:cs typeface="+mn-cs"/>
              </a:rPr>
              <a:t>"&gt;</a:t>
            </a:r>
          </a:p>
          <a:p>
            <a:r>
              <a:rPr lang="en-US" sz="1200" b="0" kern="1200" dirty="0">
                <a:solidFill>
                  <a:schemeClr val="tx1"/>
                </a:solidFill>
                <a:effectLst/>
                <a:latin typeface="+mn-lt"/>
                <a:ea typeface="+mn-ea"/>
                <a:cs typeface="+mn-cs"/>
              </a:rPr>
              <a:t>&lt;server-list&gt;</a:t>
            </a:r>
          </a:p>
          <a:p>
            <a:r>
              <a:rPr lang="en-US" sz="1200" b="0" kern="1200" dirty="0">
                <a:solidFill>
                  <a:schemeClr val="tx1"/>
                </a:solidFill>
                <a:effectLst/>
                <a:latin typeface="+mn-lt"/>
                <a:ea typeface="+mn-ea"/>
                <a:cs typeface="+mn-cs"/>
              </a:rPr>
              <a:t>&lt;</a:t>
            </a:r>
            <a:r>
              <a:rPr lang="en-US" sz="1200" b="0" kern="1200" dirty="0" err="1">
                <a:solidFill>
                  <a:schemeClr val="tx1"/>
                </a:solidFill>
                <a:effectLst/>
                <a:latin typeface="+mn-lt"/>
                <a:ea typeface="+mn-ea"/>
                <a:cs typeface="+mn-cs"/>
              </a:rPr>
              <a:t>ip</a:t>
            </a:r>
            <a:r>
              <a:rPr lang="en-US" sz="1200" b="0" kern="1200" dirty="0">
                <a:solidFill>
                  <a:schemeClr val="tx1"/>
                </a:solidFill>
                <a:effectLst/>
                <a:latin typeface="+mn-lt"/>
                <a:ea typeface="+mn-ea"/>
                <a:cs typeface="+mn-cs"/>
              </a:rPr>
              <a:t>-address&gt;10.111.{{</a:t>
            </a:r>
            <a:r>
              <a:rPr lang="en-US" sz="1200" b="0" kern="1200" dirty="0" err="1">
                <a:solidFill>
                  <a:schemeClr val="tx1"/>
                </a:solidFill>
                <a:effectLst/>
                <a:latin typeface="+mn-lt"/>
                <a:ea typeface="+mn-ea"/>
                <a:cs typeface="+mn-cs"/>
              </a:rPr>
              <a:t>pod_number</a:t>
            </a:r>
            <a:r>
              <a:rPr lang="en-US" sz="1200" b="0" kern="1200" dirty="0">
                <a:solidFill>
                  <a:schemeClr val="tx1"/>
                </a:solidFill>
                <a:effectLst/>
                <a:latin typeface="+mn-lt"/>
                <a:ea typeface="+mn-ea"/>
                <a:cs typeface="+mn-cs"/>
              </a:rPr>
              <a:t>}}.66&lt;/</a:t>
            </a:r>
            <a:r>
              <a:rPr lang="en-US" sz="1200" b="0" kern="1200" dirty="0" err="1">
                <a:solidFill>
                  <a:schemeClr val="tx1"/>
                </a:solidFill>
                <a:effectLst/>
                <a:latin typeface="+mn-lt"/>
                <a:ea typeface="+mn-ea"/>
                <a:cs typeface="+mn-cs"/>
              </a:rPr>
              <a:t>ip</a:t>
            </a:r>
            <a:r>
              <a:rPr lang="en-US" sz="1200" b="0" kern="1200" dirty="0">
                <a:solidFill>
                  <a:schemeClr val="tx1"/>
                </a:solidFill>
                <a:effectLst/>
                <a:latin typeface="+mn-lt"/>
                <a:ea typeface="+mn-ea"/>
                <a:cs typeface="+mn-cs"/>
              </a:rPr>
              <a:t>-address&gt;</a:t>
            </a:r>
          </a:p>
          <a:p>
            <a:r>
              <a:rPr lang="en-US" sz="1200" b="0" kern="1200" dirty="0">
                <a:solidFill>
                  <a:schemeClr val="tx1"/>
                </a:solidFill>
                <a:effectLst/>
                <a:latin typeface="+mn-lt"/>
                <a:ea typeface="+mn-ea"/>
                <a:cs typeface="+mn-cs"/>
              </a:rPr>
              <a:t>&lt;/server-list&gt;</a:t>
            </a:r>
          </a:p>
          <a:p>
            <a:r>
              <a:rPr lang="en-US" sz="1200" b="0" kern="1200" dirty="0">
                <a:solidFill>
                  <a:schemeClr val="tx1"/>
                </a:solidFill>
                <a:effectLst/>
                <a:latin typeface="+mn-lt"/>
                <a:ea typeface="+mn-ea"/>
                <a:cs typeface="+mn-cs"/>
              </a:rPr>
              <a:t>&lt;/server&gt;</a:t>
            </a:r>
          </a:p>
          <a:p>
            <a:r>
              <a:rPr lang="en-US" sz="1200" b="0" kern="1200" dirty="0">
                <a:solidFill>
                  <a:schemeClr val="tx1"/>
                </a:solidFill>
                <a:effectLst/>
                <a:latin typeface="+mn-lt"/>
                <a:ea typeface="+mn-ea"/>
                <a:cs typeface="+mn-cs"/>
              </a:rPr>
              <a:t>&lt;/</a:t>
            </a:r>
            <a:r>
              <a:rPr lang="en-US" sz="1200" b="0" kern="1200" dirty="0" err="1">
                <a:solidFill>
                  <a:schemeClr val="tx1"/>
                </a:solidFill>
                <a:effectLst/>
                <a:latin typeface="+mn-lt"/>
                <a:ea typeface="+mn-ea"/>
                <a:cs typeface="+mn-cs"/>
              </a:rPr>
              <a:t>ntp</a:t>
            </a:r>
            <a:r>
              <a:rPr lang="en-US" sz="1200" b="0" kern="1200" dirty="0">
                <a:solidFill>
                  <a:schemeClr val="tx1"/>
                </a:solidFill>
                <a:effectLst/>
                <a:latin typeface="+mn-lt"/>
                <a:ea typeface="+mn-ea"/>
                <a:cs typeface="+mn-cs"/>
              </a:rPr>
              <a:t>&gt;</a:t>
            </a:r>
          </a:p>
          <a:p>
            <a:r>
              <a:rPr lang="en-US" sz="1200" b="0" kern="1200" dirty="0">
                <a:solidFill>
                  <a:schemeClr val="tx1"/>
                </a:solidFill>
                <a:effectLst/>
                <a:latin typeface="+mn-lt"/>
                <a:ea typeface="+mn-ea"/>
                <a:cs typeface="+mn-cs"/>
              </a:rPr>
              <a:t>&lt;/native&gt;</a:t>
            </a:r>
          </a:p>
          <a:p>
            <a:r>
              <a:rPr lang="en-US" sz="1200" b="0" kern="1200" dirty="0">
                <a:solidFill>
                  <a:schemeClr val="tx1"/>
                </a:solidFill>
                <a:effectLst/>
                <a:latin typeface="+mn-lt"/>
                <a:ea typeface="+mn-ea"/>
                <a:cs typeface="+mn-cs"/>
              </a:rPr>
              <a:t>&lt;/config&gt;</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hosts: </a:t>
            </a:r>
            <a:r>
              <a:rPr lang="en-US" sz="1200" b="0" kern="1200" dirty="0" err="1">
                <a:solidFill>
                  <a:schemeClr val="tx1"/>
                </a:solidFill>
                <a:effectLst/>
                <a:latin typeface="+mn-lt"/>
                <a:ea typeface="+mn-ea"/>
                <a:cs typeface="+mn-cs"/>
              </a:rPr>
              <a:t>iosxe</a:t>
            </a: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connection: local</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s with past examples, we apply this play to the group `</a:t>
            </a:r>
            <a:r>
              <a:rPr lang="en-US" sz="1200" b="0" kern="1200" dirty="0" err="1">
                <a:solidFill>
                  <a:schemeClr val="tx1"/>
                </a:solidFill>
                <a:effectLst/>
                <a:latin typeface="+mn-lt"/>
                <a:ea typeface="+mn-ea"/>
                <a:cs typeface="+mn-cs"/>
              </a:rPr>
              <a:t>iosxe</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 </a:t>
            </a:r>
            <a:r>
              <a:rPr lang="en-US" sz="1200" b="0" kern="1200" dirty="0" err="1">
                <a:solidFill>
                  <a:schemeClr val="tx1"/>
                </a:solidFill>
                <a:effectLst/>
                <a:latin typeface="+mn-lt"/>
                <a:ea typeface="+mn-ea"/>
                <a:cs typeface="+mn-cs"/>
              </a:rPr>
              <a:t>set_fact</a:t>
            </a:r>
            <a:r>
              <a:rPr lang="en-US" sz="1200" b="0" kern="1200" dirty="0">
                <a:solidFill>
                  <a:schemeClr val="tx1"/>
                </a:solidFill>
                <a:effectLst/>
                <a:latin typeface="+mn-lt"/>
                <a:ea typeface="+mn-ea"/>
                <a:cs typeface="+mn-cs"/>
              </a:rPr>
              <a:t>:</a:t>
            </a:r>
          </a:p>
          <a:p>
            <a:r>
              <a:rPr lang="en-US" sz="1200" b="0" kern="1200" dirty="0" err="1">
                <a:solidFill>
                  <a:schemeClr val="tx1"/>
                </a:solidFill>
                <a:effectLst/>
                <a:latin typeface="+mn-lt"/>
                <a:ea typeface="+mn-ea"/>
                <a:cs typeface="+mn-cs"/>
              </a:rPr>
              <a:t>ansible_connection</a:t>
            </a:r>
            <a:r>
              <a:rPr lang="en-US" sz="1200" b="0" kern="1200" dirty="0">
                <a:solidFill>
                  <a:schemeClr val="tx1"/>
                </a:solidFill>
                <a:effectLst/>
                <a:latin typeface="+mn-lt"/>
                <a:ea typeface="+mn-ea"/>
                <a:cs typeface="+mn-cs"/>
              </a:rPr>
              <a:t>: local</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Unlike the `</a:t>
            </a:r>
            <a:r>
              <a:rPr lang="en-US" sz="1200" b="0" kern="1200" dirty="0" err="1">
                <a:solidFill>
                  <a:schemeClr val="tx1"/>
                </a:solidFill>
                <a:effectLst/>
                <a:latin typeface="+mn-lt"/>
                <a:ea typeface="+mn-ea"/>
                <a:cs typeface="+mn-cs"/>
              </a:rPr>
              <a:t>ios</a:t>
            </a:r>
            <a:r>
              <a:rPr lang="en-US" sz="1200" b="0" kern="1200" dirty="0">
                <a:solidFill>
                  <a:schemeClr val="tx1"/>
                </a:solidFill>
                <a:effectLst/>
                <a:latin typeface="+mn-lt"/>
                <a:ea typeface="+mn-ea"/>
                <a:cs typeface="+mn-cs"/>
              </a:rPr>
              <a:t>_` modules which support connection type `</a:t>
            </a:r>
            <a:r>
              <a:rPr lang="en-US" sz="1200" b="0" kern="1200" dirty="0" err="1">
                <a:solidFill>
                  <a:schemeClr val="tx1"/>
                </a:solidFill>
                <a:effectLst/>
                <a:latin typeface="+mn-lt"/>
                <a:ea typeface="+mn-ea"/>
                <a:cs typeface="+mn-cs"/>
              </a:rPr>
              <a:t>network_cli</a:t>
            </a:r>
            <a:r>
              <a:rPr lang="en-US" sz="1200" b="0" kern="1200" dirty="0">
                <a:solidFill>
                  <a:schemeClr val="tx1"/>
                </a:solidFill>
                <a:effectLst/>
                <a:latin typeface="+mn-lt"/>
                <a:ea typeface="+mn-ea"/>
                <a:cs typeface="+mn-cs"/>
              </a:rPr>
              <a:t>`, starting in Ansible 2.5, the `</a:t>
            </a:r>
            <a:r>
              <a:rPr lang="en-US" sz="1200" b="0" kern="1200" dirty="0" err="1">
                <a:solidFill>
                  <a:schemeClr val="tx1"/>
                </a:solidFill>
                <a:effectLst/>
                <a:latin typeface="+mn-lt"/>
                <a:ea typeface="+mn-ea"/>
                <a:cs typeface="+mn-cs"/>
              </a:rPr>
              <a:t>netconf_config</a:t>
            </a:r>
            <a:r>
              <a:rPr lang="en-US" sz="1200" b="0" kern="1200" dirty="0">
                <a:solidFill>
                  <a:schemeClr val="tx1"/>
                </a:solidFill>
                <a:effectLst/>
                <a:latin typeface="+mn-lt"/>
                <a:ea typeface="+mn-ea"/>
                <a:cs typeface="+mn-cs"/>
              </a:rPr>
              <a:t>` module currently relies on setting your </a:t>
            </a:r>
            <a:r>
              <a:rPr lang="en-US" sz="1200" b="0" kern="1200" dirty="0" err="1">
                <a:solidFill>
                  <a:schemeClr val="tx1"/>
                </a:solidFill>
                <a:effectLst/>
                <a:latin typeface="+mn-lt"/>
                <a:ea typeface="+mn-ea"/>
                <a:cs typeface="+mn-cs"/>
              </a:rPr>
              <a:t>ansible_connection</a:t>
            </a:r>
            <a:r>
              <a:rPr lang="en-US" sz="1200" b="0" kern="1200" dirty="0">
                <a:solidFill>
                  <a:schemeClr val="tx1"/>
                </a:solidFill>
                <a:effectLst/>
                <a:latin typeface="+mn-lt"/>
                <a:ea typeface="+mn-ea"/>
                <a:cs typeface="+mn-cs"/>
              </a:rPr>
              <a:t> type to `local`. Because we set type to `</a:t>
            </a:r>
            <a:r>
              <a:rPr lang="en-US" sz="1200" b="0" kern="1200" dirty="0" err="1">
                <a:solidFill>
                  <a:schemeClr val="tx1"/>
                </a:solidFill>
                <a:effectLst/>
                <a:latin typeface="+mn-lt"/>
                <a:ea typeface="+mn-ea"/>
                <a:cs typeface="+mn-cs"/>
              </a:rPr>
              <a:t>network_cli</a:t>
            </a:r>
            <a:r>
              <a:rPr lang="en-US" sz="1200" b="0" kern="1200" dirty="0">
                <a:solidFill>
                  <a:schemeClr val="tx1"/>
                </a:solidFill>
                <a:effectLst/>
                <a:latin typeface="+mn-lt"/>
                <a:ea typeface="+mn-ea"/>
                <a:cs typeface="+mn-cs"/>
              </a:rPr>
              <a:t>` globally, we override that value for this playbook with `</a:t>
            </a:r>
            <a:r>
              <a:rPr lang="en-US" sz="1200" b="0" kern="1200" dirty="0" err="1">
                <a:solidFill>
                  <a:schemeClr val="tx1"/>
                </a:solidFill>
                <a:effectLst/>
                <a:latin typeface="+mn-lt"/>
                <a:ea typeface="+mn-ea"/>
                <a:cs typeface="+mn-cs"/>
              </a:rPr>
              <a:t>set_facts</a:t>
            </a:r>
            <a:r>
              <a:rPr lang="en-US" sz="1200" b="0" kern="1200" dirty="0">
                <a:solidFill>
                  <a:schemeClr val="tx1"/>
                </a:solidFill>
                <a:effectLst/>
                <a:latin typeface="+mn-lt"/>
                <a:ea typeface="+mn-ea"/>
                <a:cs typeface="+mn-cs"/>
              </a:rPr>
              <a:t>`.</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netconf_config</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host: "{{</a:t>
            </a:r>
            <a:r>
              <a:rPr lang="en-US" sz="1200" b="0" kern="1200" dirty="0" err="1">
                <a:solidFill>
                  <a:schemeClr val="tx1"/>
                </a:solidFill>
                <a:effectLst/>
                <a:latin typeface="+mn-lt"/>
                <a:ea typeface="+mn-ea"/>
                <a:cs typeface="+mn-cs"/>
              </a:rPr>
              <a:t>inventory_hostname</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port: "{{</a:t>
            </a:r>
            <a:r>
              <a:rPr lang="en-US" sz="1200" b="0" kern="1200" dirty="0" err="1">
                <a:solidFill>
                  <a:schemeClr val="tx1"/>
                </a:solidFill>
                <a:effectLst/>
                <a:latin typeface="+mn-lt"/>
                <a:ea typeface="+mn-ea"/>
                <a:cs typeface="+mn-cs"/>
              </a:rPr>
              <a:t>netconf_port</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username: "{{</a:t>
            </a:r>
            <a:r>
              <a:rPr lang="en-US" sz="1200" b="0" kern="1200" dirty="0" err="1">
                <a:solidFill>
                  <a:schemeClr val="tx1"/>
                </a:solidFill>
                <a:effectLst/>
                <a:latin typeface="+mn-lt"/>
                <a:ea typeface="+mn-ea"/>
                <a:cs typeface="+mn-cs"/>
              </a:rPr>
              <a:t>ansible_user</a:t>
            </a:r>
            <a:r>
              <a:rPr lang="en-US" sz="1200" b="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password: "{{</a:t>
            </a:r>
            <a:r>
              <a:rPr lang="en-US" sz="1200" b="0" kern="1200" dirty="0" err="1">
                <a:solidFill>
                  <a:schemeClr val="tx1"/>
                </a:solidFill>
                <a:effectLst/>
                <a:latin typeface="+mn-lt"/>
                <a:ea typeface="+mn-ea"/>
                <a:cs typeface="+mn-cs"/>
              </a:rPr>
              <a:t>ansible_password</a:t>
            </a:r>
            <a:r>
              <a:rPr lang="en-US" sz="1200" b="0" kern="1200" dirty="0">
                <a:solidFill>
                  <a:schemeClr val="tx1"/>
                </a:solidFill>
                <a:effectLst/>
                <a:latin typeface="+mn-lt"/>
                <a:ea typeface="+mn-ea"/>
                <a:cs typeface="+mn-cs"/>
              </a:rPr>
              <a:t>}}"</a:t>
            </a:r>
          </a:p>
          <a:p>
            <a:r>
              <a:rPr lang="en-US" sz="1200" b="0" kern="1200" dirty="0" err="1">
                <a:solidFill>
                  <a:schemeClr val="tx1"/>
                </a:solidFill>
                <a:effectLst/>
                <a:latin typeface="+mn-lt"/>
                <a:ea typeface="+mn-ea"/>
                <a:cs typeface="+mn-cs"/>
              </a:rPr>
              <a:t>hostkey_verify</a:t>
            </a:r>
            <a:r>
              <a:rPr lang="en-US" sz="1200" b="0" kern="1200" dirty="0">
                <a:solidFill>
                  <a:schemeClr val="tx1"/>
                </a:solidFill>
                <a:effectLst/>
                <a:latin typeface="+mn-lt"/>
                <a:ea typeface="+mn-ea"/>
                <a:cs typeface="+mn-cs"/>
              </a:rPr>
              <a:t>: False</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Because it is built on SSH connectivity, the `</a:t>
            </a:r>
            <a:r>
              <a:rPr lang="en-US" sz="1200" b="0" kern="1200" dirty="0" err="1">
                <a:solidFill>
                  <a:schemeClr val="tx1"/>
                </a:solidFill>
                <a:effectLst/>
                <a:latin typeface="+mn-lt"/>
                <a:ea typeface="+mn-ea"/>
                <a:cs typeface="+mn-cs"/>
              </a:rPr>
              <a:t>netconf_config</a:t>
            </a:r>
            <a:r>
              <a:rPr lang="en-US" sz="1200" b="0" kern="1200" dirty="0">
                <a:solidFill>
                  <a:schemeClr val="tx1"/>
                </a:solidFill>
                <a:effectLst/>
                <a:latin typeface="+mn-lt"/>
                <a:ea typeface="+mn-ea"/>
                <a:cs typeface="+mn-cs"/>
              </a:rPr>
              <a:t>` module requires that you to specify the host, port, username, and password.</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xml: |</a:t>
            </a:r>
          </a:p>
          <a:p>
            <a:r>
              <a:rPr lang="en-US" sz="1200" b="0" kern="1200" dirty="0">
                <a:solidFill>
                  <a:schemeClr val="tx1"/>
                </a:solidFill>
                <a:effectLst/>
                <a:latin typeface="+mn-lt"/>
                <a:ea typeface="+mn-ea"/>
                <a:cs typeface="+mn-cs"/>
              </a:rPr>
              <a:t>&lt;config </a:t>
            </a:r>
            <a:r>
              <a:rPr lang="en-US" sz="1200" b="0" kern="1200" dirty="0" err="1">
                <a:solidFill>
                  <a:schemeClr val="tx1"/>
                </a:solidFill>
                <a:effectLst/>
                <a:latin typeface="+mn-lt"/>
                <a:ea typeface="+mn-ea"/>
                <a:cs typeface="+mn-cs"/>
              </a:rPr>
              <a:t>xmlns:xc</a:t>
            </a:r>
            <a:r>
              <a:rPr lang="en-US" sz="1200" b="0" kern="1200" dirty="0">
                <a:solidFill>
                  <a:schemeClr val="tx1"/>
                </a:solidFill>
                <a:effectLst/>
                <a:latin typeface="+mn-lt"/>
                <a:ea typeface="+mn-ea"/>
                <a:cs typeface="+mn-cs"/>
              </a:rPr>
              <a:t>="urn:ietf:params:xml:ns:netconf:base:1.0"&gt;</a:t>
            </a:r>
          </a:p>
          <a:p>
            <a:r>
              <a:rPr lang="en-US" sz="1200" b="0" kern="1200" dirty="0">
                <a:solidFill>
                  <a:schemeClr val="tx1"/>
                </a:solidFill>
                <a:effectLst/>
                <a:latin typeface="+mn-lt"/>
                <a:ea typeface="+mn-ea"/>
                <a:cs typeface="+mn-cs"/>
              </a:rPr>
              <a:t>&lt;native </a:t>
            </a:r>
            <a:r>
              <a:rPr lang="en-US" sz="1200" b="0" kern="1200" dirty="0" err="1">
                <a:solidFill>
                  <a:schemeClr val="tx1"/>
                </a:solidFill>
                <a:effectLst/>
                <a:latin typeface="+mn-lt"/>
                <a:ea typeface="+mn-ea"/>
                <a:cs typeface="+mn-cs"/>
              </a:rPr>
              <a:t>xmlns</a:t>
            </a:r>
            <a:r>
              <a:rPr lang="en-US" sz="1200" b="0" kern="1200" dirty="0">
                <a:solidFill>
                  <a:schemeClr val="tx1"/>
                </a:solidFill>
                <a:effectLst/>
                <a:latin typeface="+mn-lt"/>
                <a:ea typeface="+mn-ea"/>
                <a:cs typeface="+mn-cs"/>
              </a:rPr>
              <a:t>="http://</a:t>
            </a:r>
            <a:r>
              <a:rPr lang="en-US" sz="1200" b="0" kern="1200" dirty="0" err="1">
                <a:solidFill>
                  <a:schemeClr val="tx1"/>
                </a:solidFill>
                <a:effectLst/>
                <a:latin typeface="+mn-lt"/>
                <a:ea typeface="+mn-ea"/>
                <a:cs typeface="+mn-cs"/>
              </a:rPr>
              <a:t>cisco.com</a:t>
            </a:r>
            <a:r>
              <a:rPr lang="en-US" sz="1200" b="0" kern="1200" dirty="0">
                <a:solidFill>
                  <a:schemeClr val="tx1"/>
                </a:solidFill>
                <a:effectLst/>
                <a:latin typeface="+mn-lt"/>
                <a:ea typeface="+mn-ea"/>
                <a:cs typeface="+mn-cs"/>
              </a:rPr>
              <a:t>/ns/yang/Cisco-IOS-XE-native" </a:t>
            </a:r>
            <a:r>
              <a:rPr lang="en-US" sz="1200" b="0" kern="1200" dirty="0" err="1">
                <a:solidFill>
                  <a:schemeClr val="tx1"/>
                </a:solidFill>
                <a:effectLst/>
                <a:latin typeface="+mn-lt"/>
                <a:ea typeface="+mn-ea"/>
                <a:cs typeface="+mn-cs"/>
              </a:rPr>
              <a:t>xmlns:nc</a:t>
            </a:r>
            <a:r>
              <a:rPr lang="en-US" sz="1200" b="0" kern="1200" dirty="0">
                <a:solidFill>
                  <a:schemeClr val="tx1"/>
                </a:solidFill>
                <a:effectLst/>
                <a:latin typeface="+mn-lt"/>
                <a:ea typeface="+mn-ea"/>
                <a:cs typeface="+mn-cs"/>
              </a:rPr>
              <a:t>="urn:ietf:params:xml:ns:netconf:base:1.0"&gt;</a:t>
            </a:r>
          </a:p>
          <a:p>
            <a:r>
              <a:rPr lang="en-US" sz="1200" b="0" kern="1200" dirty="0">
                <a:solidFill>
                  <a:schemeClr val="tx1"/>
                </a:solidFill>
                <a:effectLst/>
                <a:latin typeface="+mn-lt"/>
                <a:ea typeface="+mn-ea"/>
                <a:cs typeface="+mn-cs"/>
              </a:rPr>
              <a:t>&lt;</a:t>
            </a:r>
            <a:r>
              <a:rPr lang="en-US" sz="1200" b="0" kern="1200" dirty="0" err="1">
                <a:solidFill>
                  <a:schemeClr val="tx1"/>
                </a:solidFill>
                <a:effectLst/>
                <a:latin typeface="+mn-lt"/>
                <a:ea typeface="+mn-ea"/>
                <a:cs typeface="+mn-cs"/>
              </a:rPr>
              <a:t>ntp</a:t>
            </a:r>
            <a:r>
              <a:rPr lang="en-US" sz="1200" b="0" kern="1200" dirty="0">
                <a:solidFill>
                  <a:schemeClr val="tx1"/>
                </a:solidFill>
                <a:effectLst/>
                <a:latin typeface="+mn-lt"/>
                <a:ea typeface="+mn-ea"/>
                <a:cs typeface="+mn-cs"/>
              </a:rPr>
              <a:t>&gt;</a:t>
            </a:r>
          </a:p>
          <a:p>
            <a:r>
              <a:rPr lang="en-US" sz="1200" b="0" kern="1200" dirty="0">
                <a:solidFill>
                  <a:schemeClr val="tx1"/>
                </a:solidFill>
                <a:effectLst/>
                <a:latin typeface="+mn-lt"/>
                <a:ea typeface="+mn-ea"/>
                <a:cs typeface="+mn-cs"/>
              </a:rPr>
              <a:t>&lt;server </a:t>
            </a:r>
            <a:r>
              <a:rPr lang="en-US" sz="1200" b="0" kern="1200" dirty="0" err="1">
                <a:solidFill>
                  <a:schemeClr val="tx1"/>
                </a:solidFill>
                <a:effectLst/>
                <a:latin typeface="+mn-lt"/>
                <a:ea typeface="+mn-ea"/>
                <a:cs typeface="+mn-cs"/>
              </a:rPr>
              <a:t>xmlns</a:t>
            </a:r>
            <a:r>
              <a:rPr lang="en-US" sz="1200" b="0" kern="1200" dirty="0">
                <a:solidFill>
                  <a:schemeClr val="tx1"/>
                </a:solidFill>
                <a:effectLst/>
                <a:latin typeface="+mn-lt"/>
                <a:ea typeface="+mn-ea"/>
                <a:cs typeface="+mn-cs"/>
              </a:rPr>
              <a:t>="http://</a:t>
            </a:r>
            <a:r>
              <a:rPr lang="en-US" sz="1200" b="0" kern="1200" dirty="0" err="1">
                <a:solidFill>
                  <a:schemeClr val="tx1"/>
                </a:solidFill>
                <a:effectLst/>
                <a:latin typeface="+mn-lt"/>
                <a:ea typeface="+mn-ea"/>
                <a:cs typeface="+mn-cs"/>
              </a:rPr>
              <a:t>cisco.com</a:t>
            </a:r>
            <a:r>
              <a:rPr lang="en-US" sz="1200" b="0" kern="1200" dirty="0">
                <a:solidFill>
                  <a:schemeClr val="tx1"/>
                </a:solidFill>
                <a:effectLst/>
                <a:latin typeface="+mn-lt"/>
                <a:ea typeface="+mn-ea"/>
                <a:cs typeface="+mn-cs"/>
              </a:rPr>
              <a:t>/ns/yang/Cisco-IOS-XE-</a:t>
            </a:r>
            <a:r>
              <a:rPr lang="en-US" sz="1200" b="0" kern="1200" dirty="0" err="1">
                <a:solidFill>
                  <a:schemeClr val="tx1"/>
                </a:solidFill>
                <a:effectLst/>
                <a:latin typeface="+mn-lt"/>
                <a:ea typeface="+mn-ea"/>
                <a:cs typeface="+mn-cs"/>
              </a:rPr>
              <a:t>ntp</a:t>
            </a:r>
            <a:r>
              <a:rPr lang="en-US" sz="1200" b="0" kern="1200" dirty="0">
                <a:solidFill>
                  <a:schemeClr val="tx1"/>
                </a:solidFill>
                <a:effectLst/>
                <a:latin typeface="+mn-lt"/>
                <a:ea typeface="+mn-ea"/>
                <a:cs typeface="+mn-cs"/>
              </a:rPr>
              <a:t>"&gt;</a:t>
            </a:r>
          </a:p>
          <a:p>
            <a:r>
              <a:rPr lang="en-US" sz="1200" b="0" kern="1200" dirty="0">
                <a:solidFill>
                  <a:schemeClr val="tx1"/>
                </a:solidFill>
                <a:effectLst/>
                <a:latin typeface="+mn-lt"/>
                <a:ea typeface="+mn-ea"/>
                <a:cs typeface="+mn-cs"/>
              </a:rPr>
              <a:t>&lt;server-list&gt;</a:t>
            </a:r>
          </a:p>
          <a:p>
            <a:r>
              <a:rPr lang="en-US" sz="1200" b="0" kern="1200" dirty="0">
                <a:solidFill>
                  <a:schemeClr val="tx1"/>
                </a:solidFill>
                <a:effectLst/>
                <a:latin typeface="+mn-lt"/>
                <a:ea typeface="+mn-ea"/>
                <a:cs typeface="+mn-cs"/>
              </a:rPr>
              <a:t>&lt;</a:t>
            </a:r>
            <a:r>
              <a:rPr lang="en-US" sz="1200" b="0" kern="1200" dirty="0" err="1">
                <a:solidFill>
                  <a:schemeClr val="tx1"/>
                </a:solidFill>
                <a:effectLst/>
                <a:latin typeface="+mn-lt"/>
                <a:ea typeface="+mn-ea"/>
                <a:cs typeface="+mn-cs"/>
              </a:rPr>
              <a:t>ip</a:t>
            </a:r>
            <a:r>
              <a:rPr lang="en-US" sz="1200" b="0" kern="1200" dirty="0">
                <a:solidFill>
                  <a:schemeClr val="tx1"/>
                </a:solidFill>
                <a:effectLst/>
                <a:latin typeface="+mn-lt"/>
                <a:ea typeface="+mn-ea"/>
                <a:cs typeface="+mn-cs"/>
              </a:rPr>
              <a:t>-address&gt;10.111.{{</a:t>
            </a:r>
            <a:r>
              <a:rPr lang="en-US" sz="1200" b="0" kern="1200" dirty="0" err="1">
                <a:solidFill>
                  <a:schemeClr val="tx1"/>
                </a:solidFill>
                <a:effectLst/>
                <a:latin typeface="+mn-lt"/>
                <a:ea typeface="+mn-ea"/>
                <a:cs typeface="+mn-cs"/>
              </a:rPr>
              <a:t>pod_number</a:t>
            </a:r>
            <a:r>
              <a:rPr lang="en-US" sz="1200" b="0" kern="1200" dirty="0">
                <a:solidFill>
                  <a:schemeClr val="tx1"/>
                </a:solidFill>
                <a:effectLst/>
                <a:latin typeface="+mn-lt"/>
                <a:ea typeface="+mn-ea"/>
                <a:cs typeface="+mn-cs"/>
              </a:rPr>
              <a:t>}}.66&lt;/</a:t>
            </a:r>
            <a:r>
              <a:rPr lang="en-US" sz="1200" b="0" kern="1200" dirty="0" err="1">
                <a:solidFill>
                  <a:schemeClr val="tx1"/>
                </a:solidFill>
                <a:effectLst/>
                <a:latin typeface="+mn-lt"/>
                <a:ea typeface="+mn-ea"/>
                <a:cs typeface="+mn-cs"/>
              </a:rPr>
              <a:t>ip</a:t>
            </a:r>
            <a:r>
              <a:rPr lang="en-US" sz="1200" b="0" kern="1200" dirty="0">
                <a:solidFill>
                  <a:schemeClr val="tx1"/>
                </a:solidFill>
                <a:effectLst/>
                <a:latin typeface="+mn-lt"/>
                <a:ea typeface="+mn-ea"/>
                <a:cs typeface="+mn-cs"/>
              </a:rPr>
              <a:t>-address&gt;</a:t>
            </a:r>
          </a:p>
          <a:p>
            <a:r>
              <a:rPr lang="en-US" sz="1200" b="0" kern="1200" dirty="0">
                <a:solidFill>
                  <a:schemeClr val="tx1"/>
                </a:solidFill>
                <a:effectLst/>
                <a:latin typeface="+mn-lt"/>
                <a:ea typeface="+mn-ea"/>
                <a:cs typeface="+mn-cs"/>
              </a:rPr>
              <a:t>&lt;/server-list&gt;</a:t>
            </a:r>
          </a:p>
          <a:p>
            <a:r>
              <a:rPr lang="en-US" sz="1200" b="0" kern="1200" dirty="0">
                <a:solidFill>
                  <a:schemeClr val="tx1"/>
                </a:solidFill>
                <a:effectLst/>
                <a:latin typeface="+mn-lt"/>
                <a:ea typeface="+mn-ea"/>
                <a:cs typeface="+mn-cs"/>
              </a:rPr>
              <a:t>&lt;/server&gt;</a:t>
            </a:r>
          </a:p>
          <a:p>
            <a:r>
              <a:rPr lang="en-US" sz="1200" b="0" kern="1200" dirty="0">
                <a:solidFill>
                  <a:schemeClr val="tx1"/>
                </a:solidFill>
                <a:effectLst/>
                <a:latin typeface="+mn-lt"/>
                <a:ea typeface="+mn-ea"/>
                <a:cs typeface="+mn-cs"/>
              </a:rPr>
              <a:t>&lt;/</a:t>
            </a:r>
            <a:r>
              <a:rPr lang="en-US" sz="1200" b="0" kern="1200" dirty="0" err="1">
                <a:solidFill>
                  <a:schemeClr val="tx1"/>
                </a:solidFill>
                <a:effectLst/>
                <a:latin typeface="+mn-lt"/>
                <a:ea typeface="+mn-ea"/>
                <a:cs typeface="+mn-cs"/>
              </a:rPr>
              <a:t>ntp</a:t>
            </a:r>
            <a:r>
              <a:rPr lang="en-US" sz="1200" b="0" kern="1200" dirty="0">
                <a:solidFill>
                  <a:schemeClr val="tx1"/>
                </a:solidFill>
                <a:effectLst/>
                <a:latin typeface="+mn-lt"/>
                <a:ea typeface="+mn-ea"/>
                <a:cs typeface="+mn-cs"/>
              </a:rPr>
              <a:t>&gt;</a:t>
            </a:r>
          </a:p>
          <a:p>
            <a:r>
              <a:rPr lang="en-US" sz="1200" b="0" kern="1200" dirty="0">
                <a:solidFill>
                  <a:schemeClr val="tx1"/>
                </a:solidFill>
                <a:effectLst/>
                <a:latin typeface="+mn-lt"/>
                <a:ea typeface="+mn-ea"/>
                <a:cs typeface="+mn-cs"/>
              </a:rPr>
              <a:t>&lt;/native&gt;</a:t>
            </a:r>
          </a:p>
          <a:p>
            <a:r>
              <a:rPr lang="en-US" sz="1200" b="0" kern="1200" dirty="0">
                <a:solidFill>
                  <a:schemeClr val="tx1"/>
                </a:solidFill>
                <a:effectLst/>
                <a:latin typeface="+mn-lt"/>
                <a:ea typeface="+mn-ea"/>
                <a:cs typeface="+mn-cs"/>
              </a:rPr>
              <a:t>&lt;/config&gt;</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Lastly, the `</a:t>
            </a:r>
            <a:r>
              <a:rPr lang="en-US" sz="1200" b="0" kern="1200" dirty="0" err="1">
                <a:solidFill>
                  <a:schemeClr val="tx1"/>
                </a:solidFill>
                <a:effectLst/>
                <a:latin typeface="+mn-lt"/>
                <a:ea typeface="+mn-ea"/>
                <a:cs typeface="+mn-cs"/>
              </a:rPr>
              <a:t>netconf_config</a:t>
            </a:r>
            <a:r>
              <a:rPr lang="en-US" sz="1200" b="0" kern="1200" dirty="0">
                <a:solidFill>
                  <a:schemeClr val="tx1"/>
                </a:solidFill>
                <a:effectLst/>
                <a:latin typeface="+mn-lt"/>
                <a:ea typeface="+mn-ea"/>
                <a:cs typeface="+mn-cs"/>
              </a:rPr>
              <a:t>` module requires an XML block with the config to be sent to the device. For background on how to build the XML config, please review the Introduction to Model Driven Programmability Module.</a:t>
            </a:r>
          </a:p>
          <a:p>
            <a:br>
              <a:rPr lang="en-US" sz="1200" b="0" kern="1200" dirty="0">
                <a:solidFill>
                  <a:schemeClr val="tx1"/>
                </a:solidFill>
                <a:effectLst/>
                <a:latin typeface="+mn-lt"/>
                <a:ea typeface="+mn-ea"/>
                <a:cs typeface="+mn-cs"/>
              </a:rPr>
            </a:b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2897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N" dirty="0"/>
          </a:p>
        </p:txBody>
      </p:sp>
      <p:sp>
        <p:nvSpPr>
          <p:cNvPr id="4" name="Slide Number Placeholder 3"/>
          <p:cNvSpPr>
            <a:spLocks noGrp="1"/>
          </p:cNvSpPr>
          <p:nvPr>
            <p:ph type="sldNum" sz="quarter" idx="5"/>
          </p:nvPr>
        </p:nvSpPr>
        <p:spPr/>
        <p:txBody>
          <a:bodyPr/>
          <a:lstStyle/>
          <a:p>
            <a:fld id="{D79ED3A9-7A2F-4542-AE59-9DA6D5992865}" type="slidenum">
              <a:rPr lang="en-CN" smtClean="0"/>
              <a:t>52</a:t>
            </a:fld>
            <a:endParaRPr lang="en-CN"/>
          </a:p>
        </p:txBody>
      </p:sp>
    </p:spTree>
    <p:extLst>
      <p:ext uri="{BB962C8B-B14F-4D97-AF65-F5344CB8AC3E}">
        <p14:creationId xmlns:p14="http://schemas.microsoft.com/office/powerpoint/2010/main" val="38955561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5.gif"/><Relationship Id="rId4" Type="http://schemas.openxmlformats.org/officeDocument/2006/relationships/image" Target="../media/image10.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16.tiff"/></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15.gif"/><Relationship Id="rId4" Type="http://schemas.openxmlformats.org/officeDocument/2006/relationships/image" Target="../media/image10.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16.tiff"/></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 Id="rId5" Type="http://schemas.openxmlformats.org/officeDocument/2006/relationships/image" Target="../media/image15.gif"/><Relationship Id="rId4" Type="http://schemas.openxmlformats.org/officeDocument/2006/relationships/image" Target="../media/image10.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 Id="rId5" Type="http://schemas.openxmlformats.org/officeDocument/2006/relationships/image" Target="../media/image10.png"/><Relationship Id="rId4" Type="http://schemas.openxmlformats.org/officeDocument/2006/relationships/image" Target="../media/image16.tif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7.png"/><Relationship Id="rId1" Type="http://schemas.openxmlformats.org/officeDocument/2006/relationships/slideMaster" Target="../slideMasters/slideMaster6.xml"/><Relationship Id="rId6" Type="http://schemas.openxmlformats.org/officeDocument/2006/relationships/image" Target="../media/image20.tiff"/><Relationship Id="rId5" Type="http://schemas.openxmlformats.org/officeDocument/2006/relationships/image" Target="../media/image19.tiff"/><Relationship Id="rId4" Type="http://schemas.openxmlformats.org/officeDocument/2006/relationships/image" Target="../media/image18.tiff"/></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58358"/>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78354"/>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
        <p:nvSpPr>
          <p:cNvPr id="8" name="Text Placeholder 3"/>
          <p:cNvSpPr txBox="1">
            <a:spLocks/>
          </p:cNvSpPr>
          <p:nvPr/>
        </p:nvSpPr>
        <p:spPr>
          <a:xfrm>
            <a:off x="8711217" y="5798350"/>
            <a:ext cx="2924659" cy="384175"/>
          </a:xfrm>
          <a:prstGeom prst="rect">
            <a:avLst/>
          </a:prstGeom>
        </p:spPr>
        <p:txBody>
          <a:bodyPr lIns="121893" tIns="60947" rIns="121893" bIns="60947"/>
          <a:lstStyle>
            <a:lvl1pPr marL="0" indent="0" algn="l" defTabSz="684213" rtl="0" eaLnBrk="1" fontAlgn="base" hangingPunct="1">
              <a:lnSpc>
                <a:spcPct val="95000"/>
              </a:lnSpc>
              <a:spcBef>
                <a:spcPts val="1075"/>
              </a:spcBef>
              <a:spcAft>
                <a:spcPct val="0"/>
              </a:spcAft>
              <a:buClr>
                <a:schemeClr val="tx2"/>
              </a:buClr>
              <a:buSzPct val="90000"/>
              <a:buFontTx/>
              <a:buNone/>
              <a:defRPr lang="en-US" sz="1600" b="0" i="0" kern="1200" dirty="0" smtClean="0">
                <a:solidFill>
                  <a:schemeClr val="bg1"/>
                </a:solidFill>
                <a:latin typeface="+mn-lt"/>
                <a:ea typeface="+mn-ea"/>
                <a:cs typeface="CiscoSansTT ExtraLight"/>
              </a:defRPr>
            </a:lvl1pPr>
            <a:lvl2pPr marL="358775" indent="-215900" algn="l" defTabSz="684213" rtl="0" eaLnBrk="1" fontAlgn="base" hangingPunct="1">
              <a:lnSpc>
                <a:spcPct val="95000"/>
              </a:lnSpc>
              <a:spcBef>
                <a:spcPts val="600"/>
              </a:spcBef>
              <a:spcAft>
                <a:spcPct val="0"/>
              </a:spcAft>
              <a:buClr>
                <a:schemeClr val="tx2"/>
              </a:buClr>
              <a:buFontTx/>
              <a:buNone/>
              <a:defRPr lang="en-US" sz="1500" kern="1200" dirty="0" smtClean="0">
                <a:solidFill>
                  <a:schemeClr val="bg1"/>
                </a:solidFill>
                <a:latin typeface="+mj-lt"/>
                <a:ea typeface="+mn-ea"/>
                <a:cs typeface="+mn-cs"/>
              </a:defRPr>
            </a:lvl2pPr>
            <a:lvl3pPr marL="431800" indent="-169863" algn="l" defTabSz="684213" rtl="0" eaLnBrk="1" fontAlgn="base" hangingPunct="1">
              <a:lnSpc>
                <a:spcPct val="95000"/>
              </a:lnSpc>
              <a:spcBef>
                <a:spcPts val="625"/>
              </a:spcBef>
              <a:spcAft>
                <a:spcPct val="0"/>
              </a:spcAft>
              <a:buFontTx/>
              <a:buNone/>
              <a:defRPr lang="en-US" sz="1500" kern="1200" dirty="0" smtClean="0">
                <a:solidFill>
                  <a:schemeClr val="bg1"/>
                </a:solidFill>
                <a:latin typeface="+mj-lt"/>
                <a:ea typeface="+mn-ea"/>
                <a:cs typeface="+mn-cs"/>
              </a:defRPr>
            </a:lvl3pPr>
            <a:lvl4pPr marL="503238" indent="-169863" algn="l" defTabSz="684213" rtl="0" eaLnBrk="1" fontAlgn="base" hangingPunct="1">
              <a:lnSpc>
                <a:spcPct val="95000"/>
              </a:lnSpc>
              <a:spcBef>
                <a:spcPts val="625"/>
              </a:spcBef>
              <a:spcAft>
                <a:spcPct val="0"/>
              </a:spcAft>
              <a:buFontTx/>
              <a:buNone/>
              <a:defRPr lang="en-US" sz="1500" kern="1200" dirty="0" smtClean="0">
                <a:solidFill>
                  <a:schemeClr val="bg1"/>
                </a:solidFill>
                <a:latin typeface="+mj-lt"/>
                <a:ea typeface="+mn-ea"/>
                <a:cs typeface="+mn-cs"/>
              </a:defRPr>
            </a:lvl4pPr>
            <a:lvl5pPr marL="574675" indent="-169863" algn="l" defTabSz="684213" rtl="0" eaLnBrk="1" fontAlgn="base" hangingPunct="1">
              <a:lnSpc>
                <a:spcPct val="95000"/>
              </a:lnSpc>
              <a:spcBef>
                <a:spcPts val="625"/>
              </a:spcBef>
              <a:spcAft>
                <a:spcPct val="0"/>
              </a:spcAft>
              <a:buFontTx/>
              <a:buNone/>
              <a:defRPr lang="en-US" sz="1500" kern="1200" dirty="0" smtClean="0">
                <a:solidFill>
                  <a:schemeClr val="bg1"/>
                </a:solidFill>
                <a:latin typeface="+mj-lt"/>
                <a:ea typeface="+mn-ea"/>
                <a:cs typeface="+mn-c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r"/>
            <a:r>
              <a:rPr lang="en-US" sz="2133" dirty="0"/>
              <a:t>Updated</a:t>
            </a:r>
            <a:r>
              <a:rPr lang="en-US" sz="2133" baseline="0" dirty="0"/>
              <a:t> </a:t>
            </a:r>
            <a:r>
              <a:rPr lang="en-US" sz="2133" dirty="0"/>
              <a:t>May 2017</a:t>
            </a:r>
          </a:p>
        </p:txBody>
      </p:sp>
    </p:spTree>
    <p:extLst>
      <p:ext uri="{BB962C8B-B14F-4D97-AF65-F5344CB8AC3E}">
        <p14:creationId xmlns:p14="http://schemas.microsoft.com/office/powerpoint/2010/main" val="10793793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27136378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76179" indent="0">
              <a:lnSpc>
                <a:spcPct val="95000"/>
              </a:lnSpc>
              <a:spcBef>
                <a:spcPts val="1480"/>
              </a:spcBef>
              <a:buClr>
                <a:schemeClr val="tx1"/>
              </a:buClr>
              <a:buSzPct val="80000"/>
              <a:buFont typeface="Arial"/>
              <a:buNone/>
              <a:defRPr sz="2667"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33" b="0" i="0">
                <a:solidFill>
                  <a:srgbClr val="676767"/>
                </a:solidFill>
                <a:latin typeface="+mn-lt"/>
                <a:cs typeface="CiscoSans ExtraLight"/>
              </a:defRPr>
            </a:lvl3pPr>
            <a:lvl4pPr marL="986135" indent="0">
              <a:buClr>
                <a:schemeClr val="tx1"/>
              </a:buClr>
              <a:buSzPct val="80000"/>
              <a:buFont typeface="Arial"/>
              <a:buNone/>
              <a:defRPr sz="1867"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90019027"/>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1"/>
              </a:buClr>
              <a:buSzPct val="80000"/>
              <a:buFont typeface="Arial"/>
              <a:buChar char="•"/>
              <a:defRPr sz="2667"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292452935"/>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que_Transition_Bl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4267" b="0" i="0"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dirty="0"/>
              <a:t>Section Title Goes Here</a:t>
            </a:r>
            <a:endParaRPr lang="en-US" dirty="0"/>
          </a:p>
        </p:txBody>
      </p:sp>
      <p:sp>
        <p:nvSpPr>
          <p:cNvPr id="5" name="TextBox 4">
            <a:extLst>
              <a:ext uri="{FF2B5EF4-FFF2-40B4-BE49-F238E27FC236}">
                <a16:creationId xmlns:a16="http://schemas.microsoft.com/office/drawing/2014/main" id="{79095497-5B32-8142-B3B9-ED002EE722DE}"/>
              </a:ext>
            </a:extLst>
          </p:cNvPr>
          <p:cNvSpPr txBox="1"/>
          <p:nvPr/>
        </p:nvSpPr>
        <p:spPr>
          <a:xfrm>
            <a:off x="10095567" y="6259549"/>
            <a:ext cx="2081563" cy="564322"/>
          </a:xfrm>
          <a:prstGeom prst="rect">
            <a:avLst/>
          </a:prstGeom>
          <a:noFill/>
        </p:spPr>
        <p:txBody>
          <a:bodyPr wrap="square" rtlCol="0">
            <a:spAutoFit/>
          </a:bodyPr>
          <a:lstStyle/>
          <a:p>
            <a:r>
              <a:rPr lang="en-US" sz="1467" b="1" spc="200" baseline="0" dirty="0">
                <a:solidFill>
                  <a:schemeClr val="bg2"/>
                </a:solidFill>
                <a:latin typeface="+mn-lt"/>
              </a:rPr>
              <a:t>Global</a:t>
            </a:r>
          </a:p>
          <a:p>
            <a:r>
              <a:rPr lang="en-US" sz="1600" spc="200" baseline="0" dirty="0">
                <a:solidFill>
                  <a:schemeClr val="tx1">
                    <a:lumMod val="90000"/>
                    <a:lumOff val="10000"/>
                  </a:schemeClr>
                </a:solidFill>
                <a:latin typeface="+mn-lt"/>
              </a:rPr>
              <a:t>Sales Training</a:t>
            </a:r>
          </a:p>
        </p:txBody>
      </p:sp>
    </p:spTree>
    <p:extLst>
      <p:ext uri="{BB962C8B-B14F-4D97-AF65-F5344CB8AC3E}">
        <p14:creationId xmlns:p14="http://schemas.microsoft.com/office/powerpoint/2010/main" val="34905358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19"/>
            <a:ext cx="11443668" cy="4354712"/>
          </a:xfrm>
          <a:prstGeom prst="rect">
            <a:avLst/>
          </a:prstGeom>
        </p:spPr>
        <p:txBody>
          <a:bodyPr>
            <a:noAutofit/>
          </a:bodyPr>
          <a:lstStyle>
            <a:lvl1pPr marL="374641" indent="-298443">
              <a:lnSpc>
                <a:spcPct val="95000"/>
              </a:lnSpc>
              <a:spcBef>
                <a:spcPts val="1480"/>
              </a:spcBef>
              <a:buClr>
                <a:schemeClr val="tx2"/>
              </a:buClr>
              <a:buSzPct val="80000"/>
              <a:buFont typeface="Wingdings" panose="05000000000000000000" pitchFamily="2" charset="2"/>
              <a:buChar char="§"/>
              <a:defRPr sz="2667" b="0" i="0">
                <a:solidFill>
                  <a:schemeClr val="tx2"/>
                </a:solidFill>
                <a:latin typeface="+mn-lt"/>
                <a:cs typeface="CiscoSans ExtraLight"/>
              </a:defRPr>
            </a:lvl1pPr>
            <a:lvl2pPr marL="677316" indent="-287859">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926" indent="-228594">
              <a:buClr>
                <a:schemeClr val="tx2"/>
              </a:buClr>
              <a:buSzPct val="80000"/>
              <a:buFont typeface="Wingdings" panose="05000000000000000000" pitchFamily="2" charset="2"/>
              <a:buChar char="§"/>
              <a:defRPr sz="2133" b="0" i="0">
                <a:solidFill>
                  <a:schemeClr val="tx2"/>
                </a:solidFill>
                <a:latin typeface="+mn-lt"/>
                <a:cs typeface="CiscoSans ExtraLight"/>
              </a:defRPr>
            </a:lvl3pPr>
            <a:lvl4pPr marL="1214936" indent="-228594">
              <a:buClr>
                <a:schemeClr val="tx2"/>
              </a:buClr>
              <a:buSzPct val="80000"/>
              <a:buFont typeface="Wingdings" panose="05000000000000000000" pitchFamily="2" charset="2"/>
              <a:buChar char="§"/>
              <a:defRPr sz="1867" b="0" i="0">
                <a:solidFill>
                  <a:schemeClr val="tx2"/>
                </a:solidFill>
                <a:latin typeface="+mn-lt"/>
                <a:cs typeface="CiscoSans ExtraLight"/>
              </a:defRPr>
            </a:lvl4pPr>
            <a:lvl5pPr marL="1443531" indent="-224361">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33" b="0" i="0" spc="0" baseline="0">
                <a:solidFill>
                  <a:srgbClr val="00A2BF"/>
                </a:solidFill>
                <a:latin typeface="+mj-lt"/>
                <a:cs typeface="CiscoSans Thin"/>
              </a:defRPr>
            </a:lvl1pPr>
          </a:lstStyle>
          <a:p>
            <a:r>
              <a:rPr lang="en-US" dirty="0"/>
              <a:t>Bullet Title Goes Here</a:t>
            </a:r>
          </a:p>
        </p:txBody>
      </p:sp>
    </p:spTree>
    <p:extLst>
      <p:ext uri="{BB962C8B-B14F-4D97-AF65-F5344CB8AC3E}">
        <p14:creationId xmlns:p14="http://schemas.microsoft.com/office/powerpoint/2010/main" val="77364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593797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2">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99794440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1374324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282828"/>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400" b="0" i="0">
                <a:solidFill>
                  <a:srgbClr val="282828"/>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856560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282828"/>
                </a:solidFill>
                <a:latin typeface="Arial"/>
                <a:cs typeface="Arial"/>
              </a:defRPr>
            </a:lvl1pPr>
          </a:lstStyle>
          <a:p>
            <a:endParaRPr/>
          </a:p>
        </p:txBody>
      </p:sp>
      <p:sp>
        <p:nvSpPr>
          <p:cNvPr id="3" name="Holder 3"/>
          <p:cNvSpPr>
            <a:spLocks noGrp="1"/>
          </p:cNvSpPr>
          <p:nvPr>
            <p:ph sz="half" idx="2"/>
          </p:nvPr>
        </p:nvSpPr>
        <p:spPr>
          <a:xfrm>
            <a:off x="774903" y="1452981"/>
            <a:ext cx="4686935" cy="4080510"/>
          </a:xfrm>
          <a:prstGeom prst="rect">
            <a:avLst/>
          </a:prstGeom>
        </p:spPr>
        <p:txBody>
          <a:bodyPr wrap="square" lIns="0" tIns="0" rIns="0" bIns="0">
            <a:spAutoFit/>
          </a:bodyPr>
          <a:lstStyle>
            <a:lvl1pPr>
              <a:defRPr sz="2650" b="0" i="0">
                <a:solidFill>
                  <a:srgbClr val="282828"/>
                </a:solidFill>
                <a:latin typeface="Arial"/>
                <a:cs typeface="Arial"/>
              </a:defRPr>
            </a:lvl1pPr>
          </a:lstStyle>
          <a:p>
            <a:endParaRPr/>
          </a:p>
        </p:txBody>
      </p:sp>
      <p:sp>
        <p:nvSpPr>
          <p:cNvPr id="4" name="Holder 4"/>
          <p:cNvSpPr>
            <a:spLocks noGrp="1"/>
          </p:cNvSpPr>
          <p:nvPr>
            <p:ph sz="half" idx="3"/>
          </p:nvPr>
        </p:nvSpPr>
        <p:spPr>
          <a:xfrm>
            <a:off x="6339840" y="1609344"/>
            <a:ext cx="5181600" cy="4109085"/>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6158463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282828"/>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09390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16560728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262179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2_Title Slide">
    <p:bg>
      <p:bgPr>
        <a:solidFill>
          <a:schemeClr val="bg2"/>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Module Number</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pic>
        <p:nvPicPr>
          <p:cNvPr id="8" name="Picture 7">
            <a:extLst>
              <a:ext uri="{FF2B5EF4-FFF2-40B4-BE49-F238E27FC236}">
                <a16:creationId xmlns:a16="http://schemas.microsoft.com/office/drawing/2014/main" id="{8FEF53B4-FCFE-924B-AA4A-AB56BBF1AAA3}"/>
              </a:ext>
            </a:extLst>
          </p:cNvPr>
          <p:cNvPicPr>
            <a:picLocks noChangeAspect="1"/>
          </p:cNvPicPr>
          <p:nvPr userDrawn="1"/>
        </p:nvPicPr>
        <p:blipFill>
          <a:blip r:embed="rId2" cstate="print">
            <a:duotone>
              <a:schemeClr val="accent3">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a:ext>
            </a:extLst>
          </a:blip>
          <a:stretch>
            <a:fillRect/>
          </a:stretch>
        </p:blipFill>
        <p:spPr>
          <a:xfrm>
            <a:off x="567687" y="70412"/>
            <a:ext cx="3387178" cy="2451744"/>
          </a:xfrm>
          <a:prstGeom prst="rect">
            <a:avLst/>
          </a:prstGeom>
        </p:spPr>
      </p:pic>
    </p:spTree>
    <p:extLst>
      <p:ext uri="{BB962C8B-B14F-4D97-AF65-F5344CB8AC3E}">
        <p14:creationId xmlns:p14="http://schemas.microsoft.com/office/powerpoint/2010/main" val="259554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1_DCI Title">
    <p:bg>
      <p:bgPr>
        <a:solidFill>
          <a:schemeClr val="bg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432958-3DAC-1540-8377-CD6910C8AD8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6298"/>
            <a:ext cx="12192000" cy="6884076"/>
          </a:xfrm>
          <a:prstGeom prst="rect">
            <a:avLst/>
          </a:prstGeom>
        </p:spPr>
      </p:pic>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2"/>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2"/>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Module Number</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2"/>
                </a:solidFill>
                <a:latin typeface="+mj-lt"/>
                <a:cs typeface="CiscoSansTT ExtraLight"/>
              </a:defRPr>
            </a:lvl1pPr>
          </a:lstStyle>
          <a:p>
            <a:r>
              <a:rPr lang="en-GB" dirty="0"/>
              <a:t>Presentation Title Goes Here</a:t>
            </a:r>
            <a:endParaRPr lang="en-US" dirty="0"/>
          </a:p>
        </p:txBody>
      </p:sp>
      <p:pic>
        <p:nvPicPr>
          <p:cNvPr id="11" name="Picture 10">
            <a:extLst>
              <a:ext uri="{FF2B5EF4-FFF2-40B4-BE49-F238E27FC236}">
                <a16:creationId xmlns:a16="http://schemas.microsoft.com/office/drawing/2014/main" id="{26F82A12-B384-6447-8F2F-250D735230B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21679" y="6045129"/>
            <a:ext cx="4135385" cy="812871"/>
          </a:xfrm>
          <a:prstGeom prst="rect">
            <a:avLst/>
          </a:prstGeom>
        </p:spPr>
      </p:pic>
      <p:pic>
        <p:nvPicPr>
          <p:cNvPr id="13" name="Picture 12">
            <a:extLst>
              <a:ext uri="{FF2B5EF4-FFF2-40B4-BE49-F238E27FC236}">
                <a16:creationId xmlns:a16="http://schemas.microsoft.com/office/drawing/2014/main" id="{2BF87238-9584-4547-92FF-1D7CD0E8CD8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25995" y="316270"/>
            <a:ext cx="2946400" cy="2006600"/>
          </a:xfrm>
          <a:prstGeom prst="rect">
            <a:avLst/>
          </a:prstGeom>
        </p:spPr>
      </p:pic>
    </p:spTree>
    <p:extLst>
      <p:ext uri="{BB962C8B-B14F-4D97-AF65-F5344CB8AC3E}">
        <p14:creationId xmlns:p14="http://schemas.microsoft.com/office/powerpoint/2010/main" val="270229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DCI Title">
    <p:bg>
      <p:bgPr>
        <a:solidFill>
          <a:schemeClr val="bg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432958-3DAC-1540-8377-CD6910C8AD8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6298"/>
            <a:ext cx="12192000" cy="6884076"/>
          </a:xfrm>
          <a:prstGeom prst="rect">
            <a:avLst/>
          </a:prstGeom>
        </p:spPr>
      </p:pic>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2"/>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2"/>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Module Number</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2"/>
                </a:solidFill>
                <a:latin typeface="+mj-lt"/>
                <a:cs typeface="CiscoSansTT ExtraLight"/>
              </a:defRPr>
            </a:lvl1pPr>
          </a:lstStyle>
          <a:p>
            <a:r>
              <a:rPr lang="en-GB" dirty="0"/>
              <a:t>Presentation Title Goes Here</a:t>
            </a:r>
            <a:endParaRPr lang="en-US" dirty="0"/>
          </a:p>
        </p:txBody>
      </p:sp>
      <p:pic>
        <p:nvPicPr>
          <p:cNvPr id="11" name="Picture 10">
            <a:extLst>
              <a:ext uri="{FF2B5EF4-FFF2-40B4-BE49-F238E27FC236}">
                <a16:creationId xmlns:a16="http://schemas.microsoft.com/office/drawing/2014/main" id="{26F82A12-B384-6447-8F2F-250D735230B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21679" y="6045129"/>
            <a:ext cx="4135385" cy="812871"/>
          </a:xfrm>
          <a:prstGeom prst="rect">
            <a:avLst/>
          </a:prstGeom>
        </p:spPr>
      </p:pic>
      <p:pic>
        <p:nvPicPr>
          <p:cNvPr id="13" name="Picture 12">
            <a:extLst>
              <a:ext uri="{FF2B5EF4-FFF2-40B4-BE49-F238E27FC236}">
                <a16:creationId xmlns:a16="http://schemas.microsoft.com/office/drawing/2014/main" id="{2BF87238-9584-4547-92FF-1D7CD0E8CD8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25995" y="316270"/>
            <a:ext cx="2946400" cy="2006600"/>
          </a:xfrm>
          <a:prstGeom prst="rect">
            <a:avLst/>
          </a:prstGeom>
        </p:spPr>
      </p:pic>
    </p:spTree>
    <p:extLst>
      <p:ext uri="{BB962C8B-B14F-4D97-AF65-F5344CB8AC3E}">
        <p14:creationId xmlns:p14="http://schemas.microsoft.com/office/powerpoint/2010/main" val="1722825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DNA 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739AC88-612D-1948-AA17-2DAEC68C8E1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4A639A20-0394-DC41-B771-5818948FED3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21679" y="6102312"/>
            <a:ext cx="4230722" cy="754203"/>
          </a:xfrm>
          <a:prstGeom prst="rect">
            <a:avLst/>
          </a:prstGeom>
        </p:spPr>
      </p:pic>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2"/>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2"/>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Module Number</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2"/>
                </a:solidFill>
                <a:latin typeface="+mj-lt"/>
                <a:cs typeface="CiscoSansTT ExtraLight"/>
              </a:defRPr>
            </a:lvl1pPr>
          </a:lstStyle>
          <a:p>
            <a:r>
              <a:rPr lang="en-GB" dirty="0"/>
              <a:t>Presentation Title Goes Here</a:t>
            </a:r>
            <a:endParaRPr lang="en-US" dirty="0"/>
          </a:p>
        </p:txBody>
      </p:sp>
      <p:pic>
        <p:nvPicPr>
          <p:cNvPr id="15" name="Picture 14">
            <a:extLst>
              <a:ext uri="{FF2B5EF4-FFF2-40B4-BE49-F238E27FC236}">
                <a16:creationId xmlns:a16="http://schemas.microsoft.com/office/drawing/2014/main" id="{1DC36B60-D600-084C-9EF6-AEEC009AA89C}"/>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25995" y="316270"/>
            <a:ext cx="2946400" cy="2006600"/>
          </a:xfrm>
          <a:prstGeom prst="rect">
            <a:avLst/>
          </a:prstGeom>
        </p:spPr>
      </p:pic>
    </p:spTree>
    <p:extLst>
      <p:ext uri="{BB962C8B-B14F-4D97-AF65-F5344CB8AC3E}">
        <p14:creationId xmlns:p14="http://schemas.microsoft.com/office/powerpoint/2010/main" val="379145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CC Titl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A7B0B21-F5A7-FA4F-B0FC-EE18261F9D2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
            <a:ext cx="12145817" cy="6857999"/>
          </a:xfrm>
          <a:prstGeom prst="rect">
            <a:avLst/>
          </a:prstGeom>
        </p:spPr>
      </p:pic>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2"/>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2"/>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2"/>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Module Number</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2"/>
                </a:solidFill>
                <a:latin typeface="+mj-lt"/>
                <a:cs typeface="CiscoSansTT ExtraLight"/>
              </a:defRPr>
            </a:lvl1pPr>
          </a:lstStyle>
          <a:p>
            <a:r>
              <a:rPr lang="en-GB" dirty="0"/>
              <a:t>Presentation Title Goes Here</a:t>
            </a:r>
            <a:endParaRPr lang="en-US" dirty="0"/>
          </a:p>
        </p:txBody>
      </p:sp>
      <p:pic>
        <p:nvPicPr>
          <p:cNvPr id="15" name="Picture 14">
            <a:extLst>
              <a:ext uri="{FF2B5EF4-FFF2-40B4-BE49-F238E27FC236}">
                <a16:creationId xmlns:a16="http://schemas.microsoft.com/office/drawing/2014/main" id="{286B0D32-A21E-3343-B25F-3622E3F8C2E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86797" y="6159115"/>
            <a:ext cx="3900485" cy="590540"/>
          </a:xfrm>
          <a:prstGeom prst="rect">
            <a:avLst/>
          </a:prstGeom>
        </p:spPr>
      </p:pic>
      <p:pic>
        <p:nvPicPr>
          <p:cNvPr id="7" name="Picture 6">
            <a:extLst>
              <a:ext uri="{FF2B5EF4-FFF2-40B4-BE49-F238E27FC236}">
                <a16:creationId xmlns:a16="http://schemas.microsoft.com/office/drawing/2014/main" id="{F632583B-88DD-EF4C-AA22-01FA30D97C0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25995" y="316270"/>
            <a:ext cx="2946400" cy="2006600"/>
          </a:xfrm>
          <a:prstGeom prst="rect">
            <a:avLst/>
          </a:prstGeom>
        </p:spPr>
      </p:pic>
    </p:spTree>
    <p:extLst>
      <p:ext uri="{BB962C8B-B14F-4D97-AF65-F5344CB8AC3E}">
        <p14:creationId xmlns:p14="http://schemas.microsoft.com/office/powerpoint/2010/main" val="321315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NE Module Intro">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583688" y="455085"/>
            <a:ext cx="11127317" cy="975783"/>
          </a:xfrm>
          <a:prstGeom prst="rect">
            <a:avLst/>
          </a:prstGeom>
          <a:solidFill>
            <a:schemeClr val="bg1"/>
          </a:solid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bg2"/>
                </a:solidFill>
              </a:defRPr>
            </a:lvl1pPr>
          </a:lstStyle>
          <a:p>
            <a:pPr lvl="0"/>
            <a:r>
              <a:rPr lang="en-US" dirty="0"/>
              <a:t>DNE Module URL (https://</a:t>
            </a:r>
            <a:r>
              <a:rPr lang="en-US" dirty="0" err="1"/>
              <a:t>learninglabs</a:t>
            </a:r>
            <a:r>
              <a:rPr lang="en-US" dirty="0"/>
              <a:t>...)</a:t>
            </a:r>
            <a:endParaRPr lang="en-GB" dirty="0"/>
          </a:p>
        </p:txBody>
      </p:sp>
      <p:sp>
        <p:nvSpPr>
          <p:cNvPr id="5" name="Picture Placeholder 4">
            <a:extLst>
              <a:ext uri="{FF2B5EF4-FFF2-40B4-BE49-F238E27FC236}">
                <a16:creationId xmlns:a16="http://schemas.microsoft.com/office/drawing/2014/main" id="{CA2741B3-4C07-2F4B-AC2B-7887DE739F4D}"/>
              </a:ext>
            </a:extLst>
          </p:cNvPr>
          <p:cNvSpPr>
            <a:spLocks noGrp="1"/>
          </p:cNvSpPr>
          <p:nvPr>
            <p:ph type="pic" sz="quarter" idx="11" hasCustomPrompt="1"/>
          </p:nvPr>
        </p:nvSpPr>
        <p:spPr>
          <a:xfrm>
            <a:off x="583688" y="1713186"/>
            <a:ext cx="11127317" cy="4351448"/>
          </a:xfrm>
          <a:prstGeom prst="rect">
            <a:avLst/>
          </a:prstGeom>
        </p:spPr>
        <p:txBody>
          <a:bodyPr/>
          <a:lstStyle>
            <a:lvl1pPr>
              <a:defRPr/>
            </a:lvl1pPr>
          </a:lstStyle>
          <a:p>
            <a:r>
              <a:rPr lang="en-US" dirty="0"/>
              <a:t>Learning Lab Module Image</a:t>
            </a:r>
          </a:p>
        </p:txBody>
      </p:sp>
    </p:spTree>
    <p:extLst>
      <p:ext uri="{BB962C8B-B14F-4D97-AF65-F5344CB8AC3E}">
        <p14:creationId xmlns:p14="http://schemas.microsoft.com/office/powerpoint/2010/main" val="415504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Hands On Exercise">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583688" y="849842"/>
            <a:ext cx="11127317" cy="975783"/>
          </a:xfrm>
          <a:prstGeom prst="rect">
            <a:avLst/>
          </a:prstGeom>
          <a:solidFill>
            <a:schemeClr val="bg1"/>
          </a:solid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bg2"/>
                </a:solidFill>
              </a:defRPr>
            </a:lvl1pPr>
          </a:lstStyle>
          <a:p>
            <a:pPr lvl="0"/>
            <a:r>
              <a:rPr lang="en-US" dirty="0"/>
              <a:t>DNE Lab Title</a:t>
            </a:r>
            <a:endParaRPr lang="en-GB" dirty="0"/>
          </a:p>
        </p:txBody>
      </p:sp>
      <p:sp>
        <p:nvSpPr>
          <p:cNvPr id="8" name="Text Placeholder 7">
            <a:extLst>
              <a:ext uri="{FF2B5EF4-FFF2-40B4-BE49-F238E27FC236}">
                <a16:creationId xmlns:a16="http://schemas.microsoft.com/office/drawing/2014/main" id="{591D7585-EC32-AF4B-AC6D-18D793602D3B}"/>
              </a:ext>
            </a:extLst>
          </p:cNvPr>
          <p:cNvSpPr>
            <a:spLocks noGrp="1"/>
          </p:cNvSpPr>
          <p:nvPr>
            <p:ph type="body" sz="quarter" idx="11" hasCustomPrompt="1"/>
          </p:nvPr>
        </p:nvSpPr>
        <p:spPr>
          <a:xfrm>
            <a:off x="583688" y="2518347"/>
            <a:ext cx="5362757" cy="3304603"/>
          </a:xfrm>
          <a:prstGeom prst="rect">
            <a:avLst/>
          </a:prstGeom>
        </p:spPr>
        <p:txBody>
          <a:bodyPr/>
          <a:lstStyle>
            <a:lvl1pPr>
              <a:defRPr/>
            </a:lvl1pPr>
          </a:lstStyle>
          <a:p>
            <a:pPr lvl="0"/>
            <a:r>
              <a:rPr lang="en-US" dirty="0"/>
              <a:t>Objectives Lis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a:extLst>
              <a:ext uri="{FF2B5EF4-FFF2-40B4-BE49-F238E27FC236}">
                <a16:creationId xmlns:a16="http://schemas.microsoft.com/office/drawing/2014/main" id="{59F7CAC2-E697-0447-A314-412B22FAD525}"/>
              </a:ext>
            </a:extLst>
          </p:cNvPr>
          <p:cNvSpPr txBox="1"/>
          <p:nvPr userDrawn="1"/>
        </p:nvSpPr>
        <p:spPr>
          <a:xfrm>
            <a:off x="483476" y="425627"/>
            <a:ext cx="2917786" cy="461665"/>
          </a:xfrm>
          <a:prstGeom prst="rect">
            <a:avLst/>
          </a:prstGeom>
          <a:noFill/>
        </p:spPr>
        <p:txBody>
          <a:bodyPr wrap="none" rtlCol="0">
            <a:spAutoFit/>
          </a:bodyPr>
          <a:lstStyle/>
          <a:p>
            <a:r>
              <a:rPr lang="en-US" sz="2400" b="0" i="0" dirty="0">
                <a:solidFill>
                  <a:schemeClr val="accent3"/>
                </a:solidFill>
                <a:latin typeface="CiscoSansTT ExtraLight" panose="020B0303020201020303" pitchFamily="34" charset="0"/>
                <a:cs typeface="CiscoSansTT ExtraLight" panose="020B0303020201020303" pitchFamily="34" charset="0"/>
              </a:rPr>
              <a:t>Hands-on Exercise</a:t>
            </a:r>
          </a:p>
        </p:txBody>
      </p:sp>
      <p:sp>
        <p:nvSpPr>
          <p:cNvPr id="11" name="Text Placeholder 10">
            <a:extLst>
              <a:ext uri="{FF2B5EF4-FFF2-40B4-BE49-F238E27FC236}">
                <a16:creationId xmlns:a16="http://schemas.microsoft.com/office/drawing/2014/main" id="{80BB0379-7718-0448-AE43-29AB7AF168A0}"/>
              </a:ext>
            </a:extLst>
          </p:cNvPr>
          <p:cNvSpPr>
            <a:spLocks noGrp="1"/>
          </p:cNvSpPr>
          <p:nvPr>
            <p:ph type="body" sz="quarter" idx="12" hasCustomPrompt="1"/>
          </p:nvPr>
        </p:nvSpPr>
        <p:spPr>
          <a:xfrm>
            <a:off x="7840680" y="454848"/>
            <a:ext cx="3870325" cy="428625"/>
          </a:xfrm>
          <a:prstGeom prst="rect">
            <a:avLst/>
          </a:prstGeom>
        </p:spPr>
        <p:txBody>
          <a:bodyPr/>
          <a:lstStyle>
            <a:lvl1pPr marL="0" indent="0" algn="r">
              <a:buNone/>
              <a:defRPr/>
            </a:lvl1pPr>
            <a:lvl2pPr marL="190496" indent="0">
              <a:buNone/>
              <a:defRPr/>
            </a:lvl2pPr>
            <a:lvl3pPr marL="349241" indent="0">
              <a:buNone/>
              <a:defRPr/>
            </a:lvl3pPr>
            <a:lvl4pPr marL="444489" indent="0">
              <a:buNone/>
              <a:defRPr/>
            </a:lvl4pPr>
            <a:lvl5pPr marL="539736" indent="0">
              <a:buNone/>
              <a:defRPr/>
            </a:lvl5pPr>
          </a:lstStyle>
          <a:p>
            <a:pPr lvl="0"/>
            <a:r>
              <a:rPr lang="en-US" dirty="0"/>
              <a:t>Estimated Time: </a:t>
            </a:r>
          </a:p>
        </p:txBody>
      </p:sp>
      <p:sp>
        <p:nvSpPr>
          <p:cNvPr id="12" name="Text Placeholder 7">
            <a:extLst>
              <a:ext uri="{FF2B5EF4-FFF2-40B4-BE49-F238E27FC236}">
                <a16:creationId xmlns:a16="http://schemas.microsoft.com/office/drawing/2014/main" id="{4713D7A6-8EA3-4D43-A84B-0D40DD7ED047}"/>
              </a:ext>
            </a:extLst>
          </p:cNvPr>
          <p:cNvSpPr>
            <a:spLocks noGrp="1"/>
          </p:cNvSpPr>
          <p:nvPr>
            <p:ph type="body" sz="quarter" idx="13" hasCustomPrompt="1"/>
          </p:nvPr>
        </p:nvSpPr>
        <p:spPr>
          <a:xfrm>
            <a:off x="6348248" y="2510773"/>
            <a:ext cx="5362757" cy="3304603"/>
          </a:xfrm>
          <a:prstGeom prst="rect">
            <a:avLst/>
          </a:prstGeom>
        </p:spPr>
        <p:txBody>
          <a:bodyPr/>
          <a:lstStyle>
            <a:lvl1pPr>
              <a:defRPr/>
            </a:lvl1pPr>
          </a:lstStyle>
          <a:p>
            <a:pPr lvl="0"/>
            <a:r>
              <a:rPr lang="en-US" dirty="0"/>
              <a:t>Caveats, reminders, things to not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A3B4B5F1-DDF5-904C-B731-F491D98C1483}"/>
              </a:ext>
            </a:extLst>
          </p:cNvPr>
          <p:cNvSpPr txBox="1"/>
          <p:nvPr userDrawn="1"/>
        </p:nvSpPr>
        <p:spPr>
          <a:xfrm>
            <a:off x="583688" y="1910376"/>
            <a:ext cx="1887055" cy="523220"/>
          </a:xfrm>
          <a:prstGeom prst="rect">
            <a:avLst/>
          </a:prstGeom>
          <a:noFill/>
        </p:spPr>
        <p:txBody>
          <a:bodyPr wrap="none" rtlCol="0">
            <a:spAutoFit/>
          </a:bodyPr>
          <a:lstStyle/>
          <a:p>
            <a:r>
              <a:rPr lang="en-US" sz="2800" b="1" u="sng" dirty="0">
                <a:latin typeface="+mn-lt"/>
              </a:rPr>
              <a:t>Objectives</a:t>
            </a:r>
          </a:p>
        </p:txBody>
      </p:sp>
      <p:sp>
        <p:nvSpPr>
          <p:cNvPr id="13" name="TextBox 12">
            <a:extLst>
              <a:ext uri="{FF2B5EF4-FFF2-40B4-BE49-F238E27FC236}">
                <a16:creationId xmlns:a16="http://schemas.microsoft.com/office/drawing/2014/main" id="{AF4FE45A-5E5A-B344-B80B-522FEE2CC166}"/>
              </a:ext>
            </a:extLst>
          </p:cNvPr>
          <p:cNvSpPr txBox="1"/>
          <p:nvPr userDrawn="1"/>
        </p:nvSpPr>
        <p:spPr>
          <a:xfrm>
            <a:off x="6348248" y="1913978"/>
            <a:ext cx="3238387" cy="523220"/>
          </a:xfrm>
          <a:prstGeom prst="rect">
            <a:avLst/>
          </a:prstGeom>
          <a:noFill/>
        </p:spPr>
        <p:txBody>
          <a:bodyPr wrap="none" rtlCol="0">
            <a:spAutoFit/>
          </a:bodyPr>
          <a:lstStyle/>
          <a:p>
            <a:r>
              <a:rPr lang="en-US" sz="2800" b="1" u="sng" dirty="0">
                <a:latin typeface="+mn-lt"/>
              </a:rPr>
              <a:t>Things to Consider</a:t>
            </a:r>
          </a:p>
        </p:txBody>
      </p:sp>
    </p:spTree>
    <p:extLst>
      <p:ext uri="{BB962C8B-B14F-4D97-AF65-F5344CB8AC3E}">
        <p14:creationId xmlns:p14="http://schemas.microsoft.com/office/powerpoint/2010/main" val="351387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583688" y="849842"/>
            <a:ext cx="11127317" cy="975783"/>
          </a:xfrm>
          <a:prstGeom prst="rect">
            <a:avLst/>
          </a:prstGeom>
          <a:solidFill>
            <a:schemeClr val="bg1"/>
          </a:solid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bg2"/>
                </a:solidFill>
              </a:defRPr>
            </a:lvl1pPr>
          </a:lstStyle>
          <a:p>
            <a:pPr lvl="0"/>
            <a:r>
              <a:rPr lang="en-US" dirty="0"/>
              <a:t>DNE Lab Title</a:t>
            </a:r>
            <a:endParaRPr lang="en-GB" dirty="0"/>
          </a:p>
        </p:txBody>
      </p:sp>
      <p:sp>
        <p:nvSpPr>
          <p:cNvPr id="8" name="Text Placeholder 7">
            <a:extLst>
              <a:ext uri="{FF2B5EF4-FFF2-40B4-BE49-F238E27FC236}">
                <a16:creationId xmlns:a16="http://schemas.microsoft.com/office/drawing/2014/main" id="{591D7585-EC32-AF4B-AC6D-18D793602D3B}"/>
              </a:ext>
            </a:extLst>
          </p:cNvPr>
          <p:cNvSpPr>
            <a:spLocks noGrp="1"/>
          </p:cNvSpPr>
          <p:nvPr>
            <p:ph type="body" sz="quarter" idx="11" hasCustomPrompt="1"/>
          </p:nvPr>
        </p:nvSpPr>
        <p:spPr>
          <a:xfrm>
            <a:off x="583688" y="2518347"/>
            <a:ext cx="5362757" cy="3304603"/>
          </a:xfrm>
          <a:prstGeom prst="rect">
            <a:avLst/>
          </a:prstGeom>
        </p:spPr>
        <p:txBody>
          <a:bodyPr/>
          <a:lstStyle>
            <a:lvl1pPr>
              <a:defRPr/>
            </a:lvl1pPr>
          </a:lstStyle>
          <a:p>
            <a:pPr lvl="0"/>
            <a:r>
              <a:rPr lang="en-US" dirty="0"/>
              <a:t>Objectives Lis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a:extLst>
              <a:ext uri="{FF2B5EF4-FFF2-40B4-BE49-F238E27FC236}">
                <a16:creationId xmlns:a16="http://schemas.microsoft.com/office/drawing/2014/main" id="{80BB0379-7718-0448-AE43-29AB7AF168A0}"/>
              </a:ext>
            </a:extLst>
          </p:cNvPr>
          <p:cNvSpPr>
            <a:spLocks noGrp="1"/>
          </p:cNvSpPr>
          <p:nvPr>
            <p:ph type="body" sz="quarter" idx="12" hasCustomPrompt="1"/>
          </p:nvPr>
        </p:nvSpPr>
        <p:spPr>
          <a:xfrm>
            <a:off x="7840680" y="454848"/>
            <a:ext cx="3870325" cy="428625"/>
          </a:xfrm>
          <a:prstGeom prst="rect">
            <a:avLst/>
          </a:prstGeom>
        </p:spPr>
        <p:txBody>
          <a:bodyPr/>
          <a:lstStyle>
            <a:lvl1pPr marL="0" indent="0" algn="r">
              <a:buNone/>
              <a:defRPr/>
            </a:lvl1pPr>
            <a:lvl2pPr marL="190496" indent="0">
              <a:buNone/>
              <a:defRPr/>
            </a:lvl2pPr>
            <a:lvl3pPr marL="349241" indent="0">
              <a:buNone/>
              <a:defRPr/>
            </a:lvl3pPr>
            <a:lvl4pPr marL="444489" indent="0">
              <a:buNone/>
              <a:defRPr/>
            </a:lvl4pPr>
            <a:lvl5pPr marL="539736" indent="0">
              <a:buNone/>
              <a:defRPr/>
            </a:lvl5pPr>
          </a:lstStyle>
          <a:p>
            <a:pPr lvl="0"/>
            <a:r>
              <a:rPr lang="en-US" dirty="0"/>
              <a:t>Estimated Time: </a:t>
            </a:r>
          </a:p>
        </p:txBody>
      </p:sp>
      <p:sp>
        <p:nvSpPr>
          <p:cNvPr id="12" name="Text Placeholder 7">
            <a:extLst>
              <a:ext uri="{FF2B5EF4-FFF2-40B4-BE49-F238E27FC236}">
                <a16:creationId xmlns:a16="http://schemas.microsoft.com/office/drawing/2014/main" id="{4713D7A6-8EA3-4D43-A84B-0D40DD7ED047}"/>
              </a:ext>
            </a:extLst>
          </p:cNvPr>
          <p:cNvSpPr>
            <a:spLocks noGrp="1"/>
          </p:cNvSpPr>
          <p:nvPr>
            <p:ph type="body" sz="quarter" idx="13" hasCustomPrompt="1"/>
          </p:nvPr>
        </p:nvSpPr>
        <p:spPr>
          <a:xfrm>
            <a:off x="6348248" y="2510773"/>
            <a:ext cx="5362757" cy="3304603"/>
          </a:xfrm>
          <a:prstGeom prst="rect">
            <a:avLst/>
          </a:prstGeom>
        </p:spPr>
        <p:txBody>
          <a:bodyPr/>
          <a:lstStyle>
            <a:lvl1pPr>
              <a:defRPr/>
            </a:lvl1pPr>
          </a:lstStyle>
          <a:p>
            <a:pPr lvl="0"/>
            <a:r>
              <a:rPr lang="en-US" dirty="0"/>
              <a:t>Caveats, reminders, things to not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14B64618-BCE9-A94F-B91D-F217B1F81910}"/>
              </a:ext>
            </a:extLst>
          </p:cNvPr>
          <p:cNvSpPr txBox="1"/>
          <p:nvPr userDrawn="1"/>
        </p:nvSpPr>
        <p:spPr>
          <a:xfrm>
            <a:off x="583688" y="1910376"/>
            <a:ext cx="1887055" cy="523220"/>
          </a:xfrm>
          <a:prstGeom prst="rect">
            <a:avLst/>
          </a:prstGeom>
          <a:noFill/>
        </p:spPr>
        <p:txBody>
          <a:bodyPr wrap="none" rtlCol="0">
            <a:spAutoFit/>
          </a:bodyPr>
          <a:lstStyle/>
          <a:p>
            <a:r>
              <a:rPr lang="en-US" sz="2800" b="1" u="sng" dirty="0">
                <a:latin typeface="+mn-lt"/>
              </a:rPr>
              <a:t>Objectives</a:t>
            </a:r>
          </a:p>
        </p:txBody>
      </p:sp>
      <p:sp>
        <p:nvSpPr>
          <p:cNvPr id="13" name="TextBox 12">
            <a:extLst>
              <a:ext uri="{FF2B5EF4-FFF2-40B4-BE49-F238E27FC236}">
                <a16:creationId xmlns:a16="http://schemas.microsoft.com/office/drawing/2014/main" id="{6C6D4A86-0A38-3B40-8098-304C87AD2557}"/>
              </a:ext>
            </a:extLst>
          </p:cNvPr>
          <p:cNvSpPr txBox="1"/>
          <p:nvPr userDrawn="1"/>
        </p:nvSpPr>
        <p:spPr>
          <a:xfrm>
            <a:off x="6348248" y="1913978"/>
            <a:ext cx="3238387" cy="523220"/>
          </a:xfrm>
          <a:prstGeom prst="rect">
            <a:avLst/>
          </a:prstGeom>
          <a:noFill/>
        </p:spPr>
        <p:txBody>
          <a:bodyPr wrap="none" rtlCol="0">
            <a:spAutoFit/>
          </a:bodyPr>
          <a:lstStyle/>
          <a:p>
            <a:r>
              <a:rPr lang="en-US" sz="2800" b="1" u="sng" dirty="0">
                <a:latin typeface="+mn-lt"/>
              </a:rPr>
              <a:t>Things to Consider</a:t>
            </a:r>
          </a:p>
        </p:txBody>
      </p:sp>
      <p:sp>
        <p:nvSpPr>
          <p:cNvPr id="14" name="TextBox 13">
            <a:extLst>
              <a:ext uri="{FF2B5EF4-FFF2-40B4-BE49-F238E27FC236}">
                <a16:creationId xmlns:a16="http://schemas.microsoft.com/office/drawing/2014/main" id="{59F7CAC2-E697-0447-A314-412B22FAD525}"/>
              </a:ext>
            </a:extLst>
          </p:cNvPr>
          <p:cNvSpPr txBox="1"/>
          <p:nvPr userDrawn="1"/>
        </p:nvSpPr>
        <p:spPr>
          <a:xfrm>
            <a:off x="483476" y="420840"/>
            <a:ext cx="1957587" cy="461665"/>
          </a:xfrm>
          <a:prstGeom prst="rect">
            <a:avLst/>
          </a:prstGeom>
          <a:noFill/>
        </p:spPr>
        <p:txBody>
          <a:bodyPr wrap="none" rtlCol="0">
            <a:spAutoFit/>
          </a:bodyPr>
          <a:lstStyle/>
          <a:p>
            <a:r>
              <a:rPr lang="en-US" sz="2400" b="0" i="0" dirty="0">
                <a:solidFill>
                  <a:schemeClr val="accent3"/>
                </a:solidFill>
                <a:latin typeface="CiscoSansTT ExtraLight" panose="020B0303020201020303" pitchFamily="34" charset="0"/>
                <a:cs typeface="CiscoSansTT ExtraLight" panose="020B0303020201020303" pitchFamily="34" charset="0"/>
              </a:rPr>
              <a:t>Your</a:t>
            </a:r>
            <a:r>
              <a:rPr lang="en-US" sz="2400" b="0" i="0" baseline="0" dirty="0">
                <a:solidFill>
                  <a:schemeClr val="accent3"/>
                </a:solidFill>
                <a:latin typeface="CiscoSansTT ExtraLight" panose="020B0303020201020303" pitchFamily="34" charset="0"/>
                <a:cs typeface="CiscoSansTT ExtraLight" panose="020B0303020201020303" pitchFamily="34" charset="0"/>
              </a:rPr>
              <a:t> Mission</a:t>
            </a:r>
            <a:endParaRPr lang="en-US" sz="2400" b="0" i="0" dirty="0">
              <a:solidFill>
                <a:schemeClr val="accent3"/>
              </a:solidFill>
              <a:latin typeface="CiscoSansTT ExtraLight" panose="020B0303020201020303" pitchFamily="34" charset="0"/>
              <a:cs typeface="CiscoSansTT ExtraLight" panose="020B0303020201020303" pitchFamily="34" charset="0"/>
            </a:endParaRPr>
          </a:p>
        </p:txBody>
      </p:sp>
    </p:spTree>
    <p:extLst>
      <p:ext uri="{BB962C8B-B14F-4D97-AF65-F5344CB8AC3E}">
        <p14:creationId xmlns:p14="http://schemas.microsoft.com/office/powerpoint/2010/main" val="59953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5690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744489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1068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DCI Mission Brea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618CC10-7F93-7A41-8993-E9C1B07FFE6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84076"/>
          </a:xfrm>
          <a:prstGeom prst="rect">
            <a:avLst/>
          </a:prstGeom>
        </p:spPr>
      </p:pic>
      <p:pic>
        <p:nvPicPr>
          <p:cNvPr id="9" name="Picture 8">
            <a:extLst>
              <a:ext uri="{FF2B5EF4-FFF2-40B4-BE49-F238E27FC236}">
                <a16:creationId xmlns:a16="http://schemas.microsoft.com/office/drawing/2014/main" id="{E5CF6187-71FF-F64B-A683-AC1D540783B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21679" y="6045129"/>
            <a:ext cx="4135385" cy="812871"/>
          </a:xfrm>
          <a:prstGeom prst="rect">
            <a:avLst/>
          </a:prstGeom>
        </p:spPr>
      </p:pic>
      <p:pic>
        <p:nvPicPr>
          <p:cNvPr id="10" name="Picture 9">
            <a:extLst>
              <a:ext uri="{FF2B5EF4-FFF2-40B4-BE49-F238E27FC236}">
                <a16:creationId xmlns:a16="http://schemas.microsoft.com/office/drawing/2014/main" id="{05B2E071-87AA-2944-BFC9-B34F7C96CED5}"/>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6306" y="5279521"/>
            <a:ext cx="2099977" cy="1430157"/>
          </a:xfrm>
          <a:prstGeom prst="rect">
            <a:avLst/>
          </a:prstGeom>
        </p:spPr>
      </p:pic>
      <p:sp>
        <p:nvSpPr>
          <p:cNvPr id="7" name="TextBox 6">
            <a:extLst>
              <a:ext uri="{FF2B5EF4-FFF2-40B4-BE49-F238E27FC236}">
                <a16:creationId xmlns:a16="http://schemas.microsoft.com/office/drawing/2014/main" id="{B1E7E6FD-2281-B941-85E4-12DD2303285B}"/>
              </a:ext>
            </a:extLst>
          </p:cNvPr>
          <p:cNvSpPr txBox="1"/>
          <p:nvPr userDrawn="1"/>
        </p:nvSpPr>
        <p:spPr>
          <a:xfrm>
            <a:off x="438911" y="319981"/>
            <a:ext cx="9573097" cy="923330"/>
          </a:xfrm>
          <a:prstGeom prst="rect">
            <a:avLst/>
          </a:prstGeom>
          <a:noFill/>
        </p:spPr>
        <p:txBody>
          <a:bodyPr wrap="square" rtlCol="0">
            <a:spAutoFit/>
          </a:bodyPr>
          <a:lstStyle/>
          <a:p>
            <a:r>
              <a:rPr lang="en-GB" sz="5400" b="0" i="0" dirty="0">
                <a:solidFill>
                  <a:schemeClr val="bg2"/>
                </a:solidFill>
                <a:latin typeface="CiscoSansTT ExtraLight" panose="020B0303020201020303" pitchFamily="34" charset="0"/>
                <a:cs typeface="CiscoSansTT ExtraLight" panose="020B0303020201020303" pitchFamily="34" charset="0"/>
              </a:rPr>
              <a:t>Hands-on</a:t>
            </a:r>
            <a:r>
              <a:rPr lang="en-GB" sz="5400" b="0" i="0" baseline="0" dirty="0">
                <a:solidFill>
                  <a:schemeClr val="bg2"/>
                </a:solidFill>
                <a:latin typeface="CiscoSansTT ExtraLight" panose="020B0303020201020303" pitchFamily="34" charset="0"/>
                <a:cs typeface="CiscoSansTT ExtraLight" panose="020B0303020201020303" pitchFamily="34" charset="0"/>
              </a:rPr>
              <a:t> Exercise …</a:t>
            </a:r>
            <a:endParaRPr lang="en-GB" sz="5400" b="0" i="0" dirty="0">
              <a:solidFill>
                <a:schemeClr val="bg2"/>
              </a:solidFill>
              <a:latin typeface="CiscoSansTT ExtraLight" panose="020B0303020201020303" pitchFamily="34" charset="0"/>
              <a:cs typeface="CiscoSansTT ExtraLight" panose="020B0303020201020303" pitchFamily="34" charset="0"/>
            </a:endParaRPr>
          </a:p>
        </p:txBody>
      </p:sp>
      <p:pic>
        <p:nvPicPr>
          <p:cNvPr id="11" name="Picture 10">
            <a:extLst>
              <a:ext uri="{FF2B5EF4-FFF2-40B4-BE49-F238E27FC236}">
                <a16:creationId xmlns:a16="http://schemas.microsoft.com/office/drawing/2014/main" id="{74F15EBC-0A3B-384C-A318-FE4463EE58C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74819" y="2129385"/>
            <a:ext cx="5430982" cy="3604801"/>
          </a:xfrm>
          <a:prstGeom prst="rect">
            <a:avLst/>
          </a:prstGeom>
        </p:spPr>
      </p:pic>
    </p:spTree>
    <p:extLst>
      <p:ext uri="{BB962C8B-B14F-4D97-AF65-F5344CB8AC3E}">
        <p14:creationId xmlns:p14="http://schemas.microsoft.com/office/powerpoint/2010/main" val="107940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CI Mission Brea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618CC10-7F93-7A41-8993-E9C1B07FFE6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84076"/>
          </a:xfrm>
          <a:prstGeom prst="rect">
            <a:avLst/>
          </a:prstGeom>
        </p:spPr>
      </p:pic>
      <p:pic>
        <p:nvPicPr>
          <p:cNvPr id="9" name="Picture 8">
            <a:extLst>
              <a:ext uri="{FF2B5EF4-FFF2-40B4-BE49-F238E27FC236}">
                <a16:creationId xmlns:a16="http://schemas.microsoft.com/office/drawing/2014/main" id="{E5CF6187-71FF-F64B-A683-AC1D540783B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21679" y="6045129"/>
            <a:ext cx="4135385" cy="812871"/>
          </a:xfrm>
          <a:prstGeom prst="rect">
            <a:avLst/>
          </a:prstGeom>
        </p:spPr>
      </p:pic>
      <p:sp>
        <p:nvSpPr>
          <p:cNvPr id="5" name="TextBox 4">
            <a:extLst>
              <a:ext uri="{FF2B5EF4-FFF2-40B4-BE49-F238E27FC236}">
                <a16:creationId xmlns:a16="http://schemas.microsoft.com/office/drawing/2014/main" id="{8AEE6027-B3CE-2649-BB30-A6CB8DFB6CBA}"/>
              </a:ext>
            </a:extLst>
          </p:cNvPr>
          <p:cNvSpPr txBox="1"/>
          <p:nvPr userDrawn="1"/>
        </p:nvSpPr>
        <p:spPr>
          <a:xfrm>
            <a:off x="438911" y="319981"/>
            <a:ext cx="9573097" cy="1661993"/>
          </a:xfrm>
          <a:prstGeom prst="rect">
            <a:avLst/>
          </a:prstGeom>
          <a:noFill/>
        </p:spPr>
        <p:txBody>
          <a:bodyPr wrap="square" rtlCol="0">
            <a:spAutoFit/>
          </a:bodyPr>
          <a:lstStyle/>
          <a:p>
            <a:r>
              <a:rPr lang="en-US" sz="4800" b="0" i="1" dirty="0">
                <a:solidFill>
                  <a:schemeClr val="bg2"/>
                </a:solidFill>
                <a:latin typeface="CiscoSansTT ExtraLight" panose="020B0303020201020303" pitchFamily="34" charset="0"/>
                <a:cs typeface="CiscoSansTT ExtraLight" panose="020B0303020201020303" pitchFamily="34" charset="0"/>
              </a:rPr>
              <a:t>Get your hands dirty with …</a:t>
            </a:r>
          </a:p>
          <a:p>
            <a:r>
              <a:rPr lang="en-US" sz="5400" b="0" i="0" dirty="0">
                <a:solidFill>
                  <a:schemeClr val="bg2"/>
                </a:solidFill>
                <a:latin typeface="CiscoSansTT ExtraLight" panose="020B0303020201020303" pitchFamily="34" charset="0"/>
                <a:cs typeface="CiscoSansTT ExtraLight" panose="020B0303020201020303" pitchFamily="34" charset="0"/>
              </a:rPr>
              <a:t>The Mission!</a:t>
            </a:r>
            <a:endParaRPr lang="en-GB" sz="5400" b="0" i="0" dirty="0">
              <a:solidFill>
                <a:schemeClr val="bg2"/>
              </a:solidFill>
              <a:latin typeface="CiscoSansTT ExtraLight" panose="020B0303020201020303" pitchFamily="34" charset="0"/>
              <a:cs typeface="CiscoSansTT ExtraLight" panose="020B0303020201020303" pitchFamily="34" charset="0"/>
            </a:endParaRPr>
          </a:p>
        </p:txBody>
      </p:sp>
      <p:pic>
        <p:nvPicPr>
          <p:cNvPr id="6" name="Picture 5">
            <a:extLst>
              <a:ext uri="{FF2B5EF4-FFF2-40B4-BE49-F238E27FC236}">
                <a16:creationId xmlns:a16="http://schemas.microsoft.com/office/drawing/2014/main" id="{2FE8B9CC-DA30-724D-88D8-CB0C12E21A5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1729342"/>
            <a:ext cx="3212590" cy="3375781"/>
          </a:xfrm>
          <a:prstGeom prst="rect">
            <a:avLst/>
          </a:prstGeom>
        </p:spPr>
      </p:pic>
      <p:pic>
        <p:nvPicPr>
          <p:cNvPr id="10" name="Picture 9">
            <a:extLst>
              <a:ext uri="{FF2B5EF4-FFF2-40B4-BE49-F238E27FC236}">
                <a16:creationId xmlns:a16="http://schemas.microsoft.com/office/drawing/2014/main" id="{05B2E071-87AA-2944-BFC9-B34F7C96CED5}"/>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556306" y="5279521"/>
            <a:ext cx="2099977" cy="1430157"/>
          </a:xfrm>
          <a:prstGeom prst="rect">
            <a:avLst/>
          </a:prstGeom>
        </p:spPr>
      </p:pic>
    </p:spTree>
    <p:extLst>
      <p:ext uri="{BB962C8B-B14F-4D97-AF65-F5344CB8AC3E}">
        <p14:creationId xmlns:p14="http://schemas.microsoft.com/office/powerpoint/2010/main" val="389235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DNA Mission Brea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A6F419-F710-FA43-8CAB-B4E1F64DE0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A0F7F45A-C469-8248-A1EE-950ABC5AF52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21679" y="6102312"/>
            <a:ext cx="4230722" cy="754203"/>
          </a:xfrm>
          <a:prstGeom prst="rect">
            <a:avLst/>
          </a:prstGeom>
        </p:spPr>
      </p:pic>
      <p:pic>
        <p:nvPicPr>
          <p:cNvPr id="14" name="Picture 13">
            <a:extLst>
              <a:ext uri="{FF2B5EF4-FFF2-40B4-BE49-F238E27FC236}">
                <a16:creationId xmlns:a16="http://schemas.microsoft.com/office/drawing/2014/main" id="{DDCF34CE-2DE1-FF41-896D-B3AE883AA20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6306" y="5279521"/>
            <a:ext cx="2099977" cy="1430157"/>
          </a:xfrm>
          <a:prstGeom prst="rect">
            <a:avLst/>
          </a:prstGeom>
        </p:spPr>
      </p:pic>
      <p:sp>
        <p:nvSpPr>
          <p:cNvPr id="8" name="TextBox 7">
            <a:extLst>
              <a:ext uri="{FF2B5EF4-FFF2-40B4-BE49-F238E27FC236}">
                <a16:creationId xmlns:a16="http://schemas.microsoft.com/office/drawing/2014/main" id="{B1E7E6FD-2281-B941-85E4-12DD2303285B}"/>
              </a:ext>
            </a:extLst>
          </p:cNvPr>
          <p:cNvSpPr txBox="1"/>
          <p:nvPr userDrawn="1"/>
        </p:nvSpPr>
        <p:spPr>
          <a:xfrm>
            <a:off x="438911" y="319981"/>
            <a:ext cx="9573097" cy="923330"/>
          </a:xfrm>
          <a:prstGeom prst="rect">
            <a:avLst/>
          </a:prstGeom>
          <a:noFill/>
        </p:spPr>
        <p:txBody>
          <a:bodyPr wrap="square" rtlCol="0">
            <a:spAutoFit/>
          </a:bodyPr>
          <a:lstStyle/>
          <a:p>
            <a:r>
              <a:rPr lang="en-GB" sz="5400" b="0" i="0" dirty="0">
                <a:solidFill>
                  <a:schemeClr val="bg2"/>
                </a:solidFill>
                <a:latin typeface="CiscoSansTT ExtraLight" panose="020B0303020201020303" pitchFamily="34" charset="0"/>
                <a:cs typeface="CiscoSansTT ExtraLight" panose="020B0303020201020303" pitchFamily="34" charset="0"/>
              </a:rPr>
              <a:t>Hands-on</a:t>
            </a:r>
            <a:r>
              <a:rPr lang="en-GB" sz="5400" b="0" i="0" baseline="0" dirty="0">
                <a:solidFill>
                  <a:schemeClr val="bg2"/>
                </a:solidFill>
                <a:latin typeface="CiscoSansTT ExtraLight" panose="020B0303020201020303" pitchFamily="34" charset="0"/>
                <a:cs typeface="CiscoSansTT ExtraLight" panose="020B0303020201020303" pitchFamily="34" charset="0"/>
              </a:rPr>
              <a:t> Exercise …</a:t>
            </a:r>
            <a:endParaRPr lang="en-GB" sz="5400" b="0" i="0" dirty="0">
              <a:solidFill>
                <a:schemeClr val="bg2"/>
              </a:solidFill>
              <a:latin typeface="CiscoSansTT ExtraLight" panose="020B0303020201020303" pitchFamily="34" charset="0"/>
              <a:cs typeface="CiscoSansTT ExtraLight" panose="020B0303020201020303" pitchFamily="34" charset="0"/>
            </a:endParaRPr>
          </a:p>
        </p:txBody>
      </p:sp>
      <p:pic>
        <p:nvPicPr>
          <p:cNvPr id="9" name="Picture 8">
            <a:extLst>
              <a:ext uri="{FF2B5EF4-FFF2-40B4-BE49-F238E27FC236}">
                <a16:creationId xmlns:a16="http://schemas.microsoft.com/office/drawing/2014/main" id="{74F15EBC-0A3B-384C-A318-FE4463EE58C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74819" y="2129385"/>
            <a:ext cx="5430982" cy="3604801"/>
          </a:xfrm>
          <a:prstGeom prst="rect">
            <a:avLst/>
          </a:prstGeom>
        </p:spPr>
      </p:pic>
    </p:spTree>
    <p:extLst>
      <p:ext uri="{BB962C8B-B14F-4D97-AF65-F5344CB8AC3E}">
        <p14:creationId xmlns:p14="http://schemas.microsoft.com/office/powerpoint/2010/main" val="1397806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NA Mission Brea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A6F419-F710-FA43-8CAB-B4E1F64DE0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A0F7F45A-C469-8248-A1EE-950ABC5AF52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21679" y="6102312"/>
            <a:ext cx="4230722" cy="754203"/>
          </a:xfrm>
          <a:prstGeom prst="rect">
            <a:avLst/>
          </a:prstGeom>
        </p:spPr>
      </p:pic>
      <p:sp>
        <p:nvSpPr>
          <p:cNvPr id="12" name="TextBox 11">
            <a:extLst>
              <a:ext uri="{FF2B5EF4-FFF2-40B4-BE49-F238E27FC236}">
                <a16:creationId xmlns:a16="http://schemas.microsoft.com/office/drawing/2014/main" id="{B1E7E6FD-2281-B941-85E4-12DD2303285B}"/>
              </a:ext>
            </a:extLst>
          </p:cNvPr>
          <p:cNvSpPr txBox="1"/>
          <p:nvPr userDrawn="1"/>
        </p:nvSpPr>
        <p:spPr>
          <a:xfrm>
            <a:off x="438911" y="319981"/>
            <a:ext cx="9573097" cy="1661993"/>
          </a:xfrm>
          <a:prstGeom prst="rect">
            <a:avLst/>
          </a:prstGeom>
          <a:noFill/>
        </p:spPr>
        <p:txBody>
          <a:bodyPr wrap="square" rtlCol="0">
            <a:spAutoFit/>
          </a:bodyPr>
          <a:lstStyle/>
          <a:p>
            <a:r>
              <a:rPr lang="en-US" sz="4800" b="0" i="1" dirty="0">
                <a:solidFill>
                  <a:schemeClr val="bg2"/>
                </a:solidFill>
                <a:latin typeface="CiscoSansTT ExtraLight" panose="020B0303020201020303" pitchFamily="34" charset="0"/>
                <a:cs typeface="CiscoSansTT ExtraLight" panose="020B0303020201020303" pitchFamily="34" charset="0"/>
              </a:rPr>
              <a:t>Get your hands dirty with …</a:t>
            </a:r>
          </a:p>
          <a:p>
            <a:r>
              <a:rPr lang="en-US" sz="5400" b="0" i="0" dirty="0">
                <a:solidFill>
                  <a:schemeClr val="bg2"/>
                </a:solidFill>
                <a:latin typeface="CiscoSansTT ExtraLight" panose="020B0303020201020303" pitchFamily="34" charset="0"/>
                <a:cs typeface="CiscoSansTT ExtraLight" panose="020B0303020201020303" pitchFamily="34" charset="0"/>
              </a:rPr>
              <a:t>The Mission!</a:t>
            </a:r>
            <a:endParaRPr lang="en-GB" sz="5400" b="0" i="0" dirty="0">
              <a:solidFill>
                <a:schemeClr val="bg2"/>
              </a:solidFill>
              <a:latin typeface="CiscoSansTT ExtraLight" panose="020B0303020201020303" pitchFamily="34" charset="0"/>
              <a:cs typeface="CiscoSansTT ExtraLight" panose="020B0303020201020303" pitchFamily="34" charset="0"/>
            </a:endParaRPr>
          </a:p>
        </p:txBody>
      </p:sp>
      <p:pic>
        <p:nvPicPr>
          <p:cNvPr id="13" name="Picture 12">
            <a:extLst>
              <a:ext uri="{FF2B5EF4-FFF2-40B4-BE49-F238E27FC236}">
                <a16:creationId xmlns:a16="http://schemas.microsoft.com/office/drawing/2014/main" id="{74F15EBC-0A3B-384C-A318-FE4463EE58C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1729342"/>
            <a:ext cx="3212590" cy="3375781"/>
          </a:xfrm>
          <a:prstGeom prst="rect">
            <a:avLst/>
          </a:prstGeom>
        </p:spPr>
      </p:pic>
      <p:pic>
        <p:nvPicPr>
          <p:cNvPr id="14" name="Picture 13">
            <a:extLst>
              <a:ext uri="{FF2B5EF4-FFF2-40B4-BE49-F238E27FC236}">
                <a16:creationId xmlns:a16="http://schemas.microsoft.com/office/drawing/2014/main" id="{DDCF34CE-2DE1-FF41-896D-B3AE883AA207}"/>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556306" y="5279521"/>
            <a:ext cx="2099977" cy="1430157"/>
          </a:xfrm>
          <a:prstGeom prst="rect">
            <a:avLst/>
          </a:prstGeom>
        </p:spPr>
      </p:pic>
    </p:spTree>
    <p:extLst>
      <p:ext uri="{BB962C8B-B14F-4D97-AF65-F5344CB8AC3E}">
        <p14:creationId xmlns:p14="http://schemas.microsoft.com/office/powerpoint/2010/main" val="1986947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C Mission Brea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85D8A5-BEA8-B048-B62D-A3F9AD8EB3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
            <a:ext cx="12145817" cy="6857999"/>
          </a:xfrm>
          <a:prstGeom prst="rect">
            <a:avLst/>
          </a:prstGeom>
        </p:spPr>
      </p:pic>
      <p:pic>
        <p:nvPicPr>
          <p:cNvPr id="11" name="Picture 10">
            <a:extLst>
              <a:ext uri="{FF2B5EF4-FFF2-40B4-BE49-F238E27FC236}">
                <a16:creationId xmlns:a16="http://schemas.microsoft.com/office/drawing/2014/main" id="{DAAB9CD6-62A7-0E44-9E9B-0BE96A70976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86797" y="6159115"/>
            <a:ext cx="3900485" cy="590540"/>
          </a:xfrm>
          <a:prstGeom prst="rect">
            <a:avLst/>
          </a:prstGeom>
        </p:spPr>
      </p:pic>
      <p:pic>
        <p:nvPicPr>
          <p:cNvPr id="14" name="Picture 13">
            <a:extLst>
              <a:ext uri="{FF2B5EF4-FFF2-40B4-BE49-F238E27FC236}">
                <a16:creationId xmlns:a16="http://schemas.microsoft.com/office/drawing/2014/main" id="{91C1B048-465C-4442-B509-10E275175B9B}"/>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6306" y="5279521"/>
            <a:ext cx="2099977" cy="1430157"/>
          </a:xfrm>
          <a:prstGeom prst="rect">
            <a:avLst/>
          </a:prstGeom>
        </p:spPr>
      </p:pic>
      <p:sp>
        <p:nvSpPr>
          <p:cNvPr id="8" name="TextBox 7">
            <a:extLst>
              <a:ext uri="{FF2B5EF4-FFF2-40B4-BE49-F238E27FC236}">
                <a16:creationId xmlns:a16="http://schemas.microsoft.com/office/drawing/2014/main" id="{B1E7E6FD-2281-B941-85E4-12DD2303285B}"/>
              </a:ext>
            </a:extLst>
          </p:cNvPr>
          <p:cNvSpPr txBox="1"/>
          <p:nvPr userDrawn="1"/>
        </p:nvSpPr>
        <p:spPr>
          <a:xfrm>
            <a:off x="438911" y="319981"/>
            <a:ext cx="9573097" cy="923330"/>
          </a:xfrm>
          <a:prstGeom prst="rect">
            <a:avLst/>
          </a:prstGeom>
          <a:noFill/>
        </p:spPr>
        <p:txBody>
          <a:bodyPr wrap="square" rtlCol="0">
            <a:spAutoFit/>
          </a:bodyPr>
          <a:lstStyle/>
          <a:p>
            <a:r>
              <a:rPr lang="en-GB" sz="5400" b="0" i="0" dirty="0">
                <a:solidFill>
                  <a:schemeClr val="bg2"/>
                </a:solidFill>
                <a:latin typeface="CiscoSansTT ExtraLight" panose="020B0303020201020303" pitchFamily="34" charset="0"/>
                <a:cs typeface="CiscoSansTT ExtraLight" panose="020B0303020201020303" pitchFamily="34" charset="0"/>
              </a:rPr>
              <a:t>Hands-on</a:t>
            </a:r>
            <a:r>
              <a:rPr lang="en-GB" sz="5400" b="0" i="0" baseline="0" dirty="0">
                <a:solidFill>
                  <a:schemeClr val="bg2"/>
                </a:solidFill>
                <a:latin typeface="CiscoSansTT ExtraLight" panose="020B0303020201020303" pitchFamily="34" charset="0"/>
                <a:cs typeface="CiscoSansTT ExtraLight" panose="020B0303020201020303" pitchFamily="34" charset="0"/>
              </a:rPr>
              <a:t> Exercise …</a:t>
            </a:r>
            <a:endParaRPr lang="en-GB" sz="5400" b="0" i="0" dirty="0">
              <a:solidFill>
                <a:schemeClr val="bg2"/>
              </a:solidFill>
              <a:latin typeface="CiscoSansTT ExtraLight" panose="020B0303020201020303" pitchFamily="34" charset="0"/>
              <a:cs typeface="CiscoSansTT ExtraLight" panose="020B0303020201020303" pitchFamily="34" charset="0"/>
            </a:endParaRPr>
          </a:p>
        </p:txBody>
      </p:sp>
      <p:pic>
        <p:nvPicPr>
          <p:cNvPr id="9" name="Picture 8">
            <a:extLst>
              <a:ext uri="{FF2B5EF4-FFF2-40B4-BE49-F238E27FC236}">
                <a16:creationId xmlns:a16="http://schemas.microsoft.com/office/drawing/2014/main" id="{74F15EBC-0A3B-384C-A318-FE4463EE58C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74819" y="2129385"/>
            <a:ext cx="5430982" cy="3604801"/>
          </a:xfrm>
          <a:prstGeom prst="rect">
            <a:avLst/>
          </a:prstGeom>
        </p:spPr>
      </p:pic>
    </p:spTree>
    <p:extLst>
      <p:ext uri="{BB962C8B-B14F-4D97-AF65-F5344CB8AC3E}">
        <p14:creationId xmlns:p14="http://schemas.microsoft.com/office/powerpoint/2010/main" val="300208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C Mission Brea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85D8A5-BEA8-B048-B62D-A3F9AD8EB3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
            <a:ext cx="12145817" cy="6857999"/>
          </a:xfrm>
          <a:prstGeom prst="rect">
            <a:avLst/>
          </a:prstGeom>
        </p:spPr>
      </p:pic>
      <p:pic>
        <p:nvPicPr>
          <p:cNvPr id="11" name="Picture 10">
            <a:extLst>
              <a:ext uri="{FF2B5EF4-FFF2-40B4-BE49-F238E27FC236}">
                <a16:creationId xmlns:a16="http://schemas.microsoft.com/office/drawing/2014/main" id="{DAAB9CD6-62A7-0E44-9E9B-0BE96A70976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86797" y="6159115"/>
            <a:ext cx="3900485" cy="590540"/>
          </a:xfrm>
          <a:prstGeom prst="rect">
            <a:avLst/>
          </a:prstGeom>
        </p:spPr>
      </p:pic>
      <p:sp>
        <p:nvSpPr>
          <p:cNvPr id="12" name="TextBox 11">
            <a:extLst>
              <a:ext uri="{FF2B5EF4-FFF2-40B4-BE49-F238E27FC236}">
                <a16:creationId xmlns:a16="http://schemas.microsoft.com/office/drawing/2014/main" id="{359C5C59-6138-724F-B9E0-D0012D741103}"/>
              </a:ext>
            </a:extLst>
          </p:cNvPr>
          <p:cNvSpPr txBox="1"/>
          <p:nvPr userDrawn="1"/>
        </p:nvSpPr>
        <p:spPr>
          <a:xfrm>
            <a:off x="438911" y="319981"/>
            <a:ext cx="9573097" cy="1661993"/>
          </a:xfrm>
          <a:prstGeom prst="rect">
            <a:avLst/>
          </a:prstGeom>
          <a:noFill/>
        </p:spPr>
        <p:txBody>
          <a:bodyPr wrap="square" rtlCol="0">
            <a:spAutoFit/>
          </a:bodyPr>
          <a:lstStyle/>
          <a:p>
            <a:r>
              <a:rPr lang="en-US" sz="4800" b="0" i="1" dirty="0">
                <a:solidFill>
                  <a:schemeClr val="bg2"/>
                </a:solidFill>
                <a:latin typeface="CiscoSansTT Light" panose="020B0503020201020303" pitchFamily="34" charset="0"/>
                <a:cs typeface="CiscoSansTT Light" panose="020B0503020201020303" pitchFamily="34" charset="0"/>
              </a:rPr>
              <a:t>Get your hands dirty with …</a:t>
            </a:r>
          </a:p>
          <a:p>
            <a:r>
              <a:rPr lang="en-US" sz="5400" b="0" i="0" dirty="0">
                <a:solidFill>
                  <a:schemeClr val="bg2"/>
                </a:solidFill>
                <a:latin typeface="CiscoSansTT Light" panose="020B0503020201020303" pitchFamily="34" charset="0"/>
                <a:cs typeface="CiscoSansTT Light" panose="020B0503020201020303" pitchFamily="34" charset="0"/>
              </a:rPr>
              <a:t>The Mission!</a:t>
            </a:r>
            <a:endParaRPr lang="en-GB" sz="5400" b="0" i="0" dirty="0">
              <a:solidFill>
                <a:schemeClr val="bg2"/>
              </a:solidFill>
              <a:latin typeface="CiscoSansTT Light" panose="020B0503020201020303" pitchFamily="34" charset="0"/>
              <a:cs typeface="CiscoSansTT Light" panose="020B0503020201020303" pitchFamily="34" charset="0"/>
            </a:endParaRPr>
          </a:p>
        </p:txBody>
      </p:sp>
      <p:pic>
        <p:nvPicPr>
          <p:cNvPr id="13" name="Picture 12">
            <a:extLst>
              <a:ext uri="{FF2B5EF4-FFF2-40B4-BE49-F238E27FC236}">
                <a16:creationId xmlns:a16="http://schemas.microsoft.com/office/drawing/2014/main" id="{98714426-CE39-E844-A586-4769F10EA22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1729342"/>
            <a:ext cx="3212590" cy="3375781"/>
          </a:xfrm>
          <a:prstGeom prst="rect">
            <a:avLst/>
          </a:prstGeom>
        </p:spPr>
      </p:pic>
      <p:pic>
        <p:nvPicPr>
          <p:cNvPr id="14" name="Picture 13">
            <a:extLst>
              <a:ext uri="{FF2B5EF4-FFF2-40B4-BE49-F238E27FC236}">
                <a16:creationId xmlns:a16="http://schemas.microsoft.com/office/drawing/2014/main" id="{91C1B048-465C-4442-B509-10E275175B9B}"/>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556306" y="5279521"/>
            <a:ext cx="2099977" cy="1430157"/>
          </a:xfrm>
          <a:prstGeom prst="rect">
            <a:avLst/>
          </a:prstGeom>
        </p:spPr>
      </p:pic>
    </p:spTree>
    <p:extLst>
      <p:ext uri="{BB962C8B-B14F-4D97-AF65-F5344CB8AC3E}">
        <p14:creationId xmlns:p14="http://schemas.microsoft.com/office/powerpoint/2010/main" val="2974286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413227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28742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22857"/>
            <a:ext cx="10852149" cy="68480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Edit Master text styles</a:t>
            </a:r>
          </a:p>
        </p:txBody>
      </p:sp>
    </p:spTree>
    <p:extLst>
      <p:ext uri="{BB962C8B-B14F-4D97-AF65-F5344CB8AC3E}">
        <p14:creationId xmlns:p14="http://schemas.microsoft.com/office/powerpoint/2010/main" val="229888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19558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Edit Master text styles</a:t>
            </a:r>
          </a:p>
        </p:txBody>
      </p:sp>
    </p:spTree>
    <p:extLst>
      <p:ext uri="{BB962C8B-B14F-4D97-AF65-F5344CB8AC3E}">
        <p14:creationId xmlns:p14="http://schemas.microsoft.com/office/powerpoint/2010/main" val="276105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7434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397134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38884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87180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Bullet_with_Code">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hasCustomPrompt="1"/>
          </p:nvPr>
        </p:nvSpPr>
        <p:spPr>
          <a:xfrm>
            <a:off x="6341155" y="1607864"/>
            <a:ext cx="5181600" cy="4110792"/>
          </a:xfrm>
          <a:prstGeom prst="rect">
            <a:avLst/>
          </a:prstGeom>
          <a:solidFill>
            <a:schemeClr val="tx1"/>
          </a:solidFill>
        </p:spPr>
        <p:txBody>
          <a:bodyPr lIns="0" tIns="45710" rIns="0" bIns="45710">
            <a:noAutofit/>
          </a:bodyPr>
          <a:lstStyle>
            <a:lvl1pPr marL="76199" indent="0">
              <a:lnSpc>
                <a:spcPct val="95000"/>
              </a:lnSpc>
              <a:spcBef>
                <a:spcPts val="0"/>
              </a:spcBef>
              <a:buClr>
                <a:schemeClr val="tx1"/>
              </a:buClr>
              <a:buSzPct val="60000"/>
              <a:buFont typeface="Arial"/>
              <a:buNone/>
              <a:defRPr sz="1600" b="0" i="0" baseline="0">
                <a:solidFill>
                  <a:schemeClr val="bg2"/>
                </a:solidFill>
                <a:latin typeface="Courier New" panose="02070309020205020404" pitchFamily="49" charset="0"/>
                <a:cs typeface="Courier New" panose="02070309020205020404" pitchFamily="49" charset="0"/>
              </a:defRPr>
            </a:lvl1pPr>
            <a:lvl2pPr marL="232828" indent="0">
              <a:lnSpc>
                <a:spcPct val="95000"/>
              </a:lnSpc>
              <a:spcBef>
                <a:spcPts val="600"/>
              </a:spcBef>
              <a:buClr>
                <a:schemeClr val="tx1"/>
              </a:buClr>
              <a:buSzPct val="60000"/>
              <a:buFont typeface="Arial"/>
              <a:buNone/>
              <a:defRPr sz="1600" b="0" i="0">
                <a:solidFill>
                  <a:schemeClr val="bg2"/>
                </a:solidFill>
                <a:latin typeface="Courier New" panose="02070309020205020404" pitchFamily="49" charset="0"/>
                <a:cs typeface="Courier New" panose="02070309020205020404" pitchFamily="49" charset="0"/>
              </a:defRPr>
            </a:lvl2pPr>
            <a:lvl3pPr marL="385224" indent="0">
              <a:buClr>
                <a:schemeClr val="tx1"/>
              </a:buClr>
              <a:buSzPct val="60000"/>
              <a:buFont typeface="Arial"/>
              <a:buNone/>
              <a:defRPr sz="1600" b="0" i="0">
                <a:solidFill>
                  <a:schemeClr val="bg2"/>
                </a:solidFill>
                <a:latin typeface="Courier New" panose="02070309020205020404" pitchFamily="49" charset="0"/>
                <a:cs typeface="Courier New" panose="02070309020205020404" pitchFamily="49" charset="0"/>
              </a:defRPr>
            </a:lvl3pPr>
            <a:lvl4pPr marL="537620" indent="0">
              <a:buClr>
                <a:schemeClr val="tx1"/>
              </a:buClr>
              <a:buSzPct val="60000"/>
              <a:buFont typeface="Arial"/>
              <a:buNone/>
              <a:defRPr sz="1600" b="0" i="0">
                <a:solidFill>
                  <a:schemeClr val="bg2"/>
                </a:solidFill>
                <a:latin typeface="Courier New" panose="02070309020205020404" pitchFamily="49" charset="0"/>
                <a:cs typeface="Courier New" panose="02070309020205020404" pitchFamily="49" charset="0"/>
              </a:defRPr>
            </a:lvl4pPr>
            <a:lvl5pPr marL="690016" indent="0">
              <a:buClr>
                <a:schemeClr val="tx1"/>
              </a:buClr>
              <a:buSzPct val="60000"/>
              <a:buFont typeface="Arial"/>
              <a:buNone/>
              <a:defRPr sz="1600" b="0" i="0">
                <a:solidFill>
                  <a:schemeClr val="bg2"/>
                </a:solidFill>
                <a:latin typeface="Courier New" panose="02070309020205020404" pitchFamily="49" charset="0"/>
                <a:cs typeface="Courier New" panose="02070309020205020404" pitchFamily="49" charset="0"/>
              </a:defRPr>
            </a:lvl5pPr>
          </a:lstStyle>
          <a:p>
            <a:pPr lvl="0"/>
            <a:r>
              <a:rPr lang="en-US" dirty="0"/>
              <a:t>Enter Code</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16831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1875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72325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60110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941651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63259684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361427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251986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35223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64943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121175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396280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21926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9656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2480359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Storytelling">
    <p:spTree>
      <p:nvGrpSpPr>
        <p:cNvPr id="1" name=""/>
        <p:cNvGrpSpPr/>
        <p:nvPr/>
      </p:nvGrpSpPr>
      <p:grpSpPr>
        <a:xfrm>
          <a:off x="0" y="0"/>
          <a:ext cx="0" cy="0"/>
          <a:chOff x="0" y="0"/>
          <a:chExt cx="0" cy="0"/>
        </a:xfrm>
      </p:grpSpPr>
      <p:cxnSp>
        <p:nvCxnSpPr>
          <p:cNvPr id="5" name="Straight Connector 4"/>
          <p:cNvCxnSpPr/>
          <p:nvPr/>
        </p:nvCxnSpPr>
        <p:spPr>
          <a:xfrm>
            <a:off x="6146800" y="812801"/>
            <a:ext cx="0" cy="5312833"/>
          </a:xfrm>
          <a:prstGeom prst="line">
            <a:avLst/>
          </a:prstGeom>
          <a:ln w="38100" cap="flat"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618351" y="1918747"/>
            <a:ext cx="5093797" cy="3020519"/>
          </a:xfrm>
        </p:spPr>
        <p:txBody>
          <a:bodyPr lIns="61715" tIns="34288" rIns="61715" bIns="34288" rtlCol="0">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5333" b="0" kern="1200" spc="0" baseline="0" dirty="0">
                <a:solidFill>
                  <a:schemeClr val="bg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6563360" y="872691"/>
            <a:ext cx="5154507" cy="5120640"/>
          </a:xfrm>
          <a:prstGeom prst="rect">
            <a:avLst/>
          </a:prstGeom>
        </p:spPr>
        <p:txBody>
          <a:bodyPr lIns="91420" tIns="45710" rIns="91420" bIns="45710" anchor="ctr" anchorCtr="0">
            <a:noAutofit/>
          </a:bodyPr>
          <a:lstStyle>
            <a:lvl1pPr marL="0" indent="0">
              <a:buFontTx/>
              <a:buNone/>
              <a:defRPr sz="2133" baseline="0">
                <a:solidFill>
                  <a:schemeClr val="tx1"/>
                </a:solidFill>
                <a:latin typeface="+mn-lt"/>
              </a:defRPr>
            </a:lvl1pPr>
            <a:lvl2pPr>
              <a:defRPr sz="2000"/>
            </a:lvl2pPr>
            <a:lvl3pPr>
              <a:defRPr sz="2000"/>
            </a:lvl3pPr>
            <a:lvl4pPr>
              <a:defRPr sz="2000"/>
            </a:lvl4pPr>
            <a:lvl5pPr>
              <a:defRPr sz="2000"/>
            </a:lvl5pPr>
          </a:lstStyle>
          <a:p>
            <a:pPr lvl="0"/>
            <a:r>
              <a:rPr lang="en-US"/>
              <a:t>Edit Master text styles</a:t>
            </a:r>
          </a:p>
        </p:txBody>
      </p:sp>
      <p:sp>
        <p:nvSpPr>
          <p:cNvPr id="6"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rgbClr val="000000"/>
                </a:solidFill>
                <a:latin typeface="+mn-lt"/>
                <a:ea typeface="+mn-ea"/>
                <a:cs typeface="CiscoSans Thin"/>
              </a:defRPr>
            </a:lvl1pPr>
          </a:lstStyle>
          <a:p>
            <a:fld id="{640853F4-1BAF-3540-A54F-96D28F764CCD}" type="slidenum">
              <a:rPr lang="en-US" smtClean="0"/>
              <a:t>‹#›</a:t>
            </a:fld>
            <a:endParaRPr lang="en-US"/>
          </a:p>
        </p:txBody>
      </p:sp>
    </p:spTree>
    <p:extLst>
      <p:ext uri="{BB962C8B-B14F-4D97-AF65-F5344CB8AC3E}">
        <p14:creationId xmlns:p14="http://schemas.microsoft.com/office/powerpoint/2010/main" val="258400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7390972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ocial Media Contact">
    <p:spTree>
      <p:nvGrpSpPr>
        <p:cNvPr id="1" name=""/>
        <p:cNvGrpSpPr/>
        <p:nvPr/>
      </p:nvGrpSpPr>
      <p:grpSpPr>
        <a:xfrm>
          <a:off x="0" y="0"/>
          <a:ext cx="0" cy="0"/>
          <a:chOff x="0" y="0"/>
          <a:chExt cx="0" cy="0"/>
        </a:xfrm>
      </p:grpSpPr>
      <p:sp>
        <p:nvSpPr>
          <p:cNvPr id="17" name="Picture Placeholder 4">
            <a:extLst>
              <a:ext uri="{FF2B5EF4-FFF2-40B4-BE49-F238E27FC236}">
                <a16:creationId xmlns:a16="http://schemas.microsoft.com/office/drawing/2014/main" id="{75A1BC9F-B5AD-B147-BA51-6B169F6BC974}"/>
              </a:ext>
            </a:extLst>
          </p:cNvPr>
          <p:cNvSpPr>
            <a:spLocks noGrp="1"/>
          </p:cNvSpPr>
          <p:nvPr>
            <p:ph type="pic" sz="quarter" idx="11" hasCustomPrompt="1"/>
          </p:nvPr>
        </p:nvSpPr>
        <p:spPr>
          <a:xfrm>
            <a:off x="5569496" y="1896533"/>
            <a:ext cx="2778536" cy="2612405"/>
          </a:xfrm>
          <a:prstGeom prst="rect">
            <a:avLst/>
          </a:prstGeom>
        </p:spPr>
        <p:txBody>
          <a:bodyPr/>
          <a:lstStyle>
            <a:lvl1pPr>
              <a:defRPr/>
            </a:lvl1pPr>
          </a:lstStyle>
          <a:p>
            <a:r>
              <a:rPr lang="en-US" dirty="0"/>
              <a:t>Presenter</a:t>
            </a:r>
          </a:p>
        </p:txBody>
      </p:sp>
      <p:sp>
        <p:nvSpPr>
          <p:cNvPr id="18" name="Text Placeholder 6">
            <a:extLst>
              <a:ext uri="{FF2B5EF4-FFF2-40B4-BE49-F238E27FC236}">
                <a16:creationId xmlns:a16="http://schemas.microsoft.com/office/drawing/2014/main" id="{D7D4E213-7CF4-6941-B2D0-5FF593988BFC}"/>
              </a:ext>
            </a:extLst>
          </p:cNvPr>
          <p:cNvSpPr>
            <a:spLocks noGrp="1"/>
          </p:cNvSpPr>
          <p:nvPr>
            <p:ph type="body" sz="quarter" idx="12" hasCustomPrompt="1"/>
          </p:nvPr>
        </p:nvSpPr>
        <p:spPr>
          <a:xfrm>
            <a:off x="8514091" y="2511863"/>
            <a:ext cx="3196914" cy="1997075"/>
          </a:xfrm>
          <a:prstGeom prst="rect">
            <a:avLst/>
          </a:prstGeom>
        </p:spPr>
        <p:txBody>
          <a:bodyPr/>
          <a:lstStyle>
            <a:lvl1pPr marL="0" indent="0">
              <a:buNone/>
              <a:defRPr/>
            </a:lvl1pPr>
          </a:lstStyle>
          <a:p>
            <a:pPr lvl="0"/>
            <a:r>
              <a:rPr lang="en-US" dirty="0"/>
              <a:t>Presenter Name</a:t>
            </a:r>
            <a:br>
              <a:rPr lang="en-US" dirty="0"/>
            </a:br>
            <a:r>
              <a:rPr lang="en-US" dirty="0"/>
              <a:t>Presenter Title</a:t>
            </a:r>
          </a:p>
          <a:p>
            <a:pPr lvl="0"/>
            <a:r>
              <a:rPr lang="en-US" dirty="0"/>
              <a:t>Twitter Handle</a:t>
            </a:r>
            <a:br>
              <a:rPr lang="en-US" dirty="0"/>
            </a:br>
            <a:r>
              <a:rPr lang="en-US" dirty="0"/>
              <a:t>GitHub Link</a:t>
            </a:r>
            <a:br>
              <a:rPr lang="en-US" dirty="0"/>
            </a:br>
            <a:r>
              <a:rPr lang="en-US" dirty="0"/>
              <a:t>Linked In Link</a:t>
            </a:r>
          </a:p>
        </p:txBody>
      </p:sp>
      <p:pic>
        <p:nvPicPr>
          <p:cNvPr id="19" name="Picture 18">
            <a:extLst>
              <a:ext uri="{FF2B5EF4-FFF2-40B4-BE49-F238E27FC236}">
                <a16:creationId xmlns:a16="http://schemas.microsoft.com/office/drawing/2014/main" id="{1FB00F3A-25D3-4F4B-BAFF-D5F7DBFC5ABF}"/>
              </a:ext>
            </a:extLst>
          </p:cNvPr>
          <p:cNvPicPr>
            <a:picLocks noChangeAspect="1"/>
          </p:cNvPicPr>
          <p:nvPr userDrawn="1"/>
        </p:nvPicPr>
        <p:blipFill>
          <a:blip r:embed="rId2">
            <a:duotone>
              <a:schemeClr val="accent3">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a:ext>
            </a:extLst>
          </a:blip>
          <a:stretch>
            <a:fillRect/>
          </a:stretch>
        </p:blipFill>
        <p:spPr>
          <a:xfrm>
            <a:off x="1087691" y="1550833"/>
            <a:ext cx="3425515" cy="2479494"/>
          </a:xfrm>
          <a:prstGeom prst="rect">
            <a:avLst/>
          </a:prstGeom>
        </p:spPr>
      </p:pic>
      <p:sp>
        <p:nvSpPr>
          <p:cNvPr id="20" name="Rectangle 19">
            <a:extLst>
              <a:ext uri="{FF2B5EF4-FFF2-40B4-BE49-F238E27FC236}">
                <a16:creationId xmlns:a16="http://schemas.microsoft.com/office/drawing/2014/main" id="{B81C284A-AD2A-AD43-8CC9-F51A6C7BC078}"/>
              </a:ext>
            </a:extLst>
          </p:cNvPr>
          <p:cNvSpPr/>
          <p:nvPr userDrawn="1"/>
        </p:nvSpPr>
        <p:spPr>
          <a:xfrm>
            <a:off x="8678810" y="5750931"/>
            <a:ext cx="3215317" cy="461665"/>
          </a:xfrm>
          <a:prstGeom prst="rect">
            <a:avLst/>
          </a:prstGeom>
        </p:spPr>
        <p:txBody>
          <a:bodyPr wrap="square">
            <a:spAutoFit/>
          </a:bodyPr>
          <a:lstStyle/>
          <a:p>
            <a:pPr marL="57149" lvl="0" algn="ctr">
              <a:spcBef>
                <a:spcPts val="600"/>
              </a:spcBef>
            </a:pPr>
            <a:r>
              <a:rPr lang="en-US" sz="2400" b="0" dirty="0" err="1">
                <a:solidFill>
                  <a:srgbClr val="0D3A5C"/>
                </a:solidFill>
                <a:latin typeface="CiscoSans ExtraLight" panose="020B0303020201020303" pitchFamily="34" charset="0"/>
                <a:cs typeface="CiscoSansTT Heavy" panose="020B0503020201020303" pitchFamily="34" charset="0"/>
              </a:rPr>
              <a:t>developer.cisco.com</a:t>
            </a:r>
            <a:endParaRPr lang="en-US" sz="2400" b="0" dirty="0">
              <a:solidFill>
                <a:srgbClr val="0D3A5C"/>
              </a:solidFill>
              <a:latin typeface="CiscoSans ExtraLight" panose="020B0303020201020303" pitchFamily="34" charset="0"/>
              <a:cs typeface="CiscoSansTT Heavy" panose="020B0503020201020303" pitchFamily="34" charset="0"/>
            </a:endParaRPr>
          </a:p>
        </p:txBody>
      </p:sp>
      <p:sp>
        <p:nvSpPr>
          <p:cNvPr id="21" name="TextBox 20">
            <a:extLst>
              <a:ext uri="{FF2B5EF4-FFF2-40B4-BE49-F238E27FC236}">
                <a16:creationId xmlns:a16="http://schemas.microsoft.com/office/drawing/2014/main" id="{7698D641-4E2F-B74D-8F84-F7779A22E4CD}"/>
              </a:ext>
            </a:extLst>
          </p:cNvPr>
          <p:cNvSpPr txBox="1"/>
          <p:nvPr userDrawn="1"/>
        </p:nvSpPr>
        <p:spPr>
          <a:xfrm>
            <a:off x="583688" y="661790"/>
            <a:ext cx="8765541" cy="557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lvl="0" defTabSz="912261" fontAlgn="base">
              <a:lnSpc>
                <a:spcPct val="80000"/>
              </a:lnSpc>
              <a:spcBef>
                <a:spcPct val="0"/>
              </a:spcBef>
              <a:spcAft>
                <a:spcPct val="0"/>
              </a:spcAft>
              <a:defRPr lang="en-US" sz="3733" b="0" i="0" u="none" dirty="0">
                <a:solidFill>
                  <a:schemeClr val="tx2"/>
                </a:solidFill>
                <a:latin typeface="+mj-lt"/>
                <a:ea typeface="CiscoSansTT Thin" charset="0"/>
                <a:cs typeface="CiscoSansTT Thin" charset="0"/>
              </a:defRPr>
            </a:lvl1pPr>
            <a:lvl2pPr defTabSz="912261" fontAlgn="base">
              <a:lnSpc>
                <a:spcPct val="80000"/>
              </a:lnSpc>
              <a:spcBef>
                <a:spcPct val="0"/>
              </a:spcBef>
              <a:spcAft>
                <a:spcPct val="0"/>
              </a:spcAft>
              <a:defRPr sz="4267">
                <a:solidFill>
                  <a:srgbClr val="676767"/>
                </a:solidFill>
                <a:latin typeface="Arial" charset="0"/>
                <a:ea typeface="ＭＳ Ｐゴシック" charset="0"/>
              </a:defRPr>
            </a:lvl2pPr>
            <a:lvl3pPr defTabSz="912261" fontAlgn="base">
              <a:lnSpc>
                <a:spcPct val="80000"/>
              </a:lnSpc>
              <a:spcBef>
                <a:spcPct val="0"/>
              </a:spcBef>
              <a:spcAft>
                <a:spcPct val="0"/>
              </a:spcAft>
              <a:defRPr sz="4267">
                <a:solidFill>
                  <a:srgbClr val="676767"/>
                </a:solidFill>
                <a:latin typeface="Arial" charset="0"/>
                <a:ea typeface="ＭＳ Ｐゴシック" charset="0"/>
              </a:defRPr>
            </a:lvl3pPr>
            <a:lvl4pPr defTabSz="912261" fontAlgn="base">
              <a:lnSpc>
                <a:spcPct val="80000"/>
              </a:lnSpc>
              <a:spcBef>
                <a:spcPct val="0"/>
              </a:spcBef>
              <a:spcAft>
                <a:spcPct val="0"/>
              </a:spcAft>
              <a:defRPr sz="4267">
                <a:solidFill>
                  <a:srgbClr val="676767"/>
                </a:solidFill>
                <a:latin typeface="Arial" charset="0"/>
                <a:ea typeface="ＭＳ Ｐゴシック" charset="0"/>
              </a:defRPr>
            </a:lvl4pPr>
            <a:lvl5pPr defTabSz="912261" fontAlgn="base">
              <a:lnSpc>
                <a:spcPct val="80000"/>
              </a:lnSpc>
              <a:spcBef>
                <a:spcPct val="0"/>
              </a:spcBef>
              <a:spcAft>
                <a:spcPct val="0"/>
              </a:spcAft>
              <a:defRPr sz="4267">
                <a:solidFill>
                  <a:srgbClr val="676767"/>
                </a:solidFill>
                <a:latin typeface="Arial" charset="0"/>
                <a:ea typeface="ＭＳ Ｐゴシック" charset="0"/>
              </a:defRPr>
            </a:lvl5pPr>
            <a:lvl6pPr marL="609585" defTabSz="912261" fontAlgn="base">
              <a:lnSpc>
                <a:spcPct val="80000"/>
              </a:lnSpc>
              <a:spcBef>
                <a:spcPct val="0"/>
              </a:spcBef>
              <a:spcAft>
                <a:spcPct val="0"/>
              </a:spcAft>
              <a:defRPr sz="4267">
                <a:solidFill>
                  <a:srgbClr val="676767"/>
                </a:solidFill>
                <a:latin typeface="Arial" charset="0"/>
                <a:ea typeface="ＭＳ Ｐゴシック" charset="0"/>
              </a:defRPr>
            </a:lvl6pPr>
            <a:lvl7pPr marL="1219170" defTabSz="912261" fontAlgn="base">
              <a:lnSpc>
                <a:spcPct val="80000"/>
              </a:lnSpc>
              <a:spcBef>
                <a:spcPct val="0"/>
              </a:spcBef>
              <a:spcAft>
                <a:spcPct val="0"/>
              </a:spcAft>
              <a:defRPr sz="4267">
                <a:solidFill>
                  <a:srgbClr val="676767"/>
                </a:solidFill>
                <a:latin typeface="Arial" charset="0"/>
                <a:ea typeface="ＭＳ Ｐゴシック" charset="0"/>
              </a:defRPr>
            </a:lvl7pPr>
            <a:lvl8pPr marL="1828754" defTabSz="912261" fontAlgn="base">
              <a:lnSpc>
                <a:spcPct val="80000"/>
              </a:lnSpc>
              <a:spcBef>
                <a:spcPct val="0"/>
              </a:spcBef>
              <a:spcAft>
                <a:spcPct val="0"/>
              </a:spcAft>
              <a:defRPr sz="4267">
                <a:solidFill>
                  <a:srgbClr val="676767"/>
                </a:solidFill>
                <a:latin typeface="Arial" charset="0"/>
                <a:ea typeface="ＭＳ Ｐゴシック" charset="0"/>
              </a:defRPr>
            </a:lvl8pPr>
            <a:lvl9pPr marL="2438339" defTabSz="912261" fontAlgn="base">
              <a:lnSpc>
                <a:spcPct val="80000"/>
              </a:lnSpc>
              <a:spcBef>
                <a:spcPct val="0"/>
              </a:spcBef>
              <a:spcAft>
                <a:spcPct val="0"/>
              </a:spcAft>
              <a:defRPr sz="4267">
                <a:solidFill>
                  <a:srgbClr val="676767"/>
                </a:solidFill>
                <a:latin typeface="Arial" charset="0"/>
                <a:ea typeface="ＭＳ Ｐゴシック" charset="0"/>
              </a:defRPr>
            </a:lvl9pPr>
          </a:lstStyle>
          <a:p>
            <a:pPr lvl="0"/>
            <a:r>
              <a:rPr lang="en-US" dirty="0"/>
              <a:t>Connect with Us and share Your Story…</a:t>
            </a:r>
          </a:p>
        </p:txBody>
      </p:sp>
      <p:grpSp>
        <p:nvGrpSpPr>
          <p:cNvPr id="22" name="Group 21"/>
          <p:cNvGrpSpPr/>
          <p:nvPr userDrawn="1"/>
        </p:nvGrpSpPr>
        <p:grpSpPr>
          <a:xfrm>
            <a:off x="1196034" y="4616999"/>
            <a:ext cx="4468518" cy="1535973"/>
            <a:chOff x="1196034" y="4810961"/>
            <a:chExt cx="4468518" cy="1535973"/>
          </a:xfrm>
        </p:grpSpPr>
        <p:sp>
          <p:nvSpPr>
            <p:cNvPr id="23" name="Text Placeholder 7">
              <a:extLst>
                <a:ext uri="{FF2B5EF4-FFF2-40B4-BE49-F238E27FC236}">
                  <a16:creationId xmlns:a16="http://schemas.microsoft.com/office/drawing/2014/main" id="{DAAAC206-9A88-3D48-959A-E87754796B68}"/>
                </a:ext>
              </a:extLst>
            </p:cNvPr>
            <p:cNvSpPr txBox="1">
              <a:spLocks/>
            </p:cNvSpPr>
            <p:nvPr userDrawn="1"/>
          </p:nvSpPr>
          <p:spPr>
            <a:xfrm>
              <a:off x="1528602" y="4810961"/>
              <a:ext cx="4135950" cy="1418214"/>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49" indent="0">
                <a:lnSpc>
                  <a:spcPct val="100000"/>
                </a:lnSpc>
                <a:spcBef>
                  <a:spcPts val="600"/>
                </a:spcBef>
                <a:buFont typeface="Arial" charset="0"/>
                <a:buNone/>
              </a:pPr>
              <a:r>
                <a:rPr lang="en-US" sz="2000" b="0" i="0" dirty="0">
                  <a:solidFill>
                    <a:srgbClr val="0D3A5C"/>
                  </a:solidFill>
                  <a:latin typeface="CiscoSansTT" panose="020B0503020201020303" pitchFamily="34" charset="0"/>
                  <a:cs typeface="CiscoSansTT" panose="020B0503020201020303" pitchFamily="34" charset="0"/>
                </a:rPr>
                <a:t>@</a:t>
              </a:r>
              <a:r>
                <a:rPr lang="en-US" sz="2000" b="0" i="0" dirty="0" err="1">
                  <a:solidFill>
                    <a:srgbClr val="0D3A5C"/>
                  </a:solidFill>
                  <a:latin typeface="CiscoSansTT" panose="020B0503020201020303" pitchFamily="34" charset="0"/>
                  <a:cs typeface="CiscoSansTT" panose="020B0503020201020303" pitchFamily="34" charset="0"/>
                </a:rPr>
                <a:t>CiscoDevNet</a:t>
              </a:r>
              <a:r>
                <a:rPr lang="en-US" sz="2000" b="0" i="0" dirty="0">
                  <a:solidFill>
                    <a:srgbClr val="0D3A5C"/>
                  </a:solidFill>
                  <a:latin typeface="CiscoSansTT" panose="020B0503020201020303" pitchFamily="34" charset="0"/>
                  <a:cs typeface="CiscoSansTT" panose="020B0503020201020303" pitchFamily="34" charset="0"/>
                </a:rPr>
                <a:t>  </a:t>
              </a:r>
            </a:p>
            <a:p>
              <a:pPr marL="57149" indent="0">
                <a:lnSpc>
                  <a:spcPct val="100000"/>
                </a:lnSpc>
                <a:spcBef>
                  <a:spcPts val="600"/>
                </a:spcBef>
                <a:buFont typeface="Arial" charset="0"/>
                <a:buNone/>
              </a:pPr>
              <a:r>
                <a:rPr lang="en-US" sz="2000" b="0" i="0" dirty="0">
                  <a:solidFill>
                    <a:srgbClr val="0D3A5C"/>
                  </a:solidFill>
                  <a:latin typeface="CiscoSansTT" panose="020B0503020201020303" pitchFamily="34" charset="0"/>
                  <a:cs typeface="CiscoSansTT" panose="020B0503020201020303" pitchFamily="34" charset="0"/>
                </a:rPr>
                <a:t>#</a:t>
              </a:r>
              <a:r>
                <a:rPr lang="en-US" sz="2000" b="0" i="0" dirty="0" err="1">
                  <a:solidFill>
                    <a:srgbClr val="0D3A5C"/>
                  </a:solidFill>
                  <a:latin typeface="CiscoSansTT" panose="020B0503020201020303" pitchFamily="34" charset="0"/>
                  <a:cs typeface="CiscoSansTT" panose="020B0503020201020303" pitchFamily="34" charset="0"/>
                </a:rPr>
                <a:t>DevNetExpress</a:t>
              </a:r>
              <a:endParaRPr lang="en-US" sz="2000" b="0" i="0" dirty="0">
                <a:solidFill>
                  <a:srgbClr val="0D3A5C"/>
                </a:solidFill>
                <a:latin typeface="CiscoSansTT" panose="020B0503020201020303" pitchFamily="34" charset="0"/>
                <a:cs typeface="CiscoSansTT" panose="020B0503020201020303" pitchFamily="34" charset="0"/>
              </a:endParaRPr>
            </a:p>
            <a:p>
              <a:pPr marL="57149" indent="0">
                <a:lnSpc>
                  <a:spcPct val="100000"/>
                </a:lnSpc>
                <a:spcBef>
                  <a:spcPts val="600"/>
                </a:spcBef>
                <a:buFont typeface="Arial" charset="0"/>
                <a:buNone/>
              </a:pPr>
              <a:r>
                <a:rPr lang="en-US" sz="2000" b="0" i="0" dirty="0" err="1">
                  <a:solidFill>
                    <a:srgbClr val="0D3A5C"/>
                  </a:solidFill>
                  <a:latin typeface="CiscoSansTT" panose="020B0503020201020303" pitchFamily="34" charset="0"/>
                  <a:cs typeface="CiscoSansTT" panose="020B0503020201020303" pitchFamily="34" charset="0"/>
                </a:rPr>
                <a:t>facebook.com</a:t>
              </a:r>
              <a:r>
                <a:rPr lang="en-US" sz="2000" b="0" i="0" dirty="0">
                  <a:solidFill>
                    <a:srgbClr val="0D3A5C"/>
                  </a:solidFill>
                  <a:latin typeface="CiscoSansTT" panose="020B0503020201020303" pitchFamily="34" charset="0"/>
                  <a:cs typeface="CiscoSansTT" panose="020B0503020201020303" pitchFamily="34" charset="0"/>
                </a:rPr>
                <a:t>/</a:t>
              </a:r>
              <a:r>
                <a:rPr lang="en-US" sz="2000" b="0" i="0" dirty="0" err="1">
                  <a:solidFill>
                    <a:srgbClr val="0D3A5C"/>
                  </a:solidFill>
                  <a:latin typeface="CiscoSansTT" panose="020B0503020201020303" pitchFamily="34" charset="0"/>
                  <a:cs typeface="CiscoSansTT" panose="020B0503020201020303" pitchFamily="34" charset="0"/>
                </a:rPr>
                <a:t>ciscodevnet</a:t>
              </a:r>
              <a:r>
                <a:rPr lang="en-US" sz="2000" b="0" i="0" dirty="0">
                  <a:solidFill>
                    <a:srgbClr val="0D3A5C"/>
                  </a:solidFill>
                  <a:latin typeface="CiscoSansTT" panose="020B0503020201020303" pitchFamily="34" charset="0"/>
                  <a:cs typeface="CiscoSansTT" panose="020B0503020201020303" pitchFamily="34" charset="0"/>
                </a:rPr>
                <a:t>/ </a:t>
              </a:r>
            </a:p>
            <a:p>
              <a:pPr marL="57149" indent="0">
                <a:lnSpc>
                  <a:spcPct val="100000"/>
                </a:lnSpc>
                <a:spcBef>
                  <a:spcPts val="600"/>
                </a:spcBef>
                <a:buFont typeface="Arial" charset="0"/>
                <a:buNone/>
              </a:pPr>
              <a:r>
                <a:rPr lang="en-US" sz="2000" b="0" i="0" dirty="0">
                  <a:solidFill>
                    <a:srgbClr val="0D3A5C"/>
                  </a:solidFill>
                  <a:latin typeface="CiscoSansTT" panose="020B0503020201020303" pitchFamily="34" charset="0"/>
                  <a:cs typeface="CiscoSansTT" panose="020B0503020201020303" pitchFamily="34" charset="0"/>
                </a:rPr>
                <a:t>http://github.com/</a:t>
              </a:r>
              <a:r>
                <a:rPr lang="en-US" sz="2000" b="0" i="0" dirty="0" err="1">
                  <a:solidFill>
                    <a:srgbClr val="0D3A5C"/>
                  </a:solidFill>
                  <a:latin typeface="CiscoSansTT" panose="020B0503020201020303" pitchFamily="34" charset="0"/>
                  <a:cs typeface="CiscoSansTT" panose="020B0503020201020303" pitchFamily="34" charset="0"/>
                </a:rPr>
                <a:t>CiscoDevNet</a:t>
              </a:r>
              <a:r>
                <a:rPr lang="en-US" sz="2000" b="0" i="0" dirty="0">
                  <a:solidFill>
                    <a:srgbClr val="0D3A5C"/>
                  </a:solidFill>
                  <a:latin typeface="CiscoSansTT" panose="020B0503020201020303" pitchFamily="34" charset="0"/>
                  <a:cs typeface="CiscoSansTT" panose="020B0503020201020303" pitchFamily="34" charset="0"/>
                </a:rPr>
                <a:t> </a:t>
              </a:r>
            </a:p>
          </p:txBody>
        </p:sp>
        <p:pic>
          <p:nvPicPr>
            <p:cNvPr id="24" name="Picture 23">
              <a:extLst>
                <a:ext uri="{FF2B5EF4-FFF2-40B4-BE49-F238E27FC236}">
                  <a16:creationId xmlns:a16="http://schemas.microsoft.com/office/drawing/2014/main" id="{95779378-9FE7-1E41-B181-1DD9A65E538F}"/>
                </a:ext>
              </a:extLst>
            </p:cNvPr>
            <p:cNvPicPr>
              <a:picLocks noChangeAspect="1"/>
            </p:cNvPicPr>
            <p:nvPr userDrawn="1"/>
          </p:nvPicPr>
          <p:blipFill>
            <a:blip r:embed="rId4"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229910" y="5242933"/>
              <a:ext cx="298692" cy="298692"/>
            </a:xfrm>
            <a:prstGeom prst="rect">
              <a:avLst/>
            </a:prstGeom>
          </p:spPr>
        </p:pic>
        <p:pic>
          <p:nvPicPr>
            <p:cNvPr id="25" name="Picture 24">
              <a:extLst>
                <a:ext uri="{FF2B5EF4-FFF2-40B4-BE49-F238E27FC236}">
                  <a16:creationId xmlns:a16="http://schemas.microsoft.com/office/drawing/2014/main" id="{182696BE-37C8-7D49-9753-E9C01221B12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96034" y="5981159"/>
              <a:ext cx="349467" cy="365775"/>
            </a:xfrm>
            <a:prstGeom prst="rect">
              <a:avLst/>
            </a:prstGeom>
          </p:spPr>
        </p:pic>
        <p:pic>
          <p:nvPicPr>
            <p:cNvPr id="26" name="Picture 25">
              <a:extLst>
                <a:ext uri="{FF2B5EF4-FFF2-40B4-BE49-F238E27FC236}">
                  <a16:creationId xmlns:a16="http://schemas.microsoft.com/office/drawing/2014/main" id="{28E69E19-8E61-3A49-9770-F85A9B2CF43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266486" y="5668092"/>
              <a:ext cx="233068" cy="233068"/>
            </a:xfrm>
            <a:prstGeom prst="rect">
              <a:avLst/>
            </a:prstGeom>
          </p:spPr>
        </p:pic>
        <p:pic>
          <p:nvPicPr>
            <p:cNvPr id="27" name="Picture 26">
              <a:extLst>
                <a:ext uri="{FF2B5EF4-FFF2-40B4-BE49-F238E27FC236}">
                  <a16:creationId xmlns:a16="http://schemas.microsoft.com/office/drawing/2014/main" id="{95779378-9FE7-1E41-B181-1DD9A65E538F}"/>
                </a:ext>
              </a:extLst>
            </p:cNvPr>
            <p:cNvPicPr>
              <a:picLocks noChangeAspect="1"/>
            </p:cNvPicPr>
            <p:nvPr userDrawn="1"/>
          </p:nvPicPr>
          <p:blipFill>
            <a:blip r:embed="rId4"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251645" y="4882337"/>
              <a:ext cx="298692" cy="298692"/>
            </a:xfrm>
            <a:prstGeom prst="rect">
              <a:avLst/>
            </a:prstGeom>
          </p:spPr>
        </p:pic>
      </p:grpSp>
    </p:spTree>
    <p:extLst>
      <p:ext uri="{BB962C8B-B14F-4D97-AF65-F5344CB8AC3E}">
        <p14:creationId xmlns:p14="http://schemas.microsoft.com/office/powerpoint/2010/main" val="381598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 name="Picture 4">
            <a:extLst>
              <a:ext uri="{FF2B5EF4-FFF2-40B4-BE49-F238E27FC236}">
                <a16:creationId xmlns:a16="http://schemas.microsoft.com/office/drawing/2014/main" id="{11FA1C9D-BAAC-7540-AA74-B04ED364A132}"/>
              </a:ext>
            </a:extLst>
          </p:cNvPr>
          <p:cNvPicPr>
            <a:picLocks noChangeAspect="1"/>
          </p:cNvPicPr>
          <p:nvPr userDrawn="1"/>
        </p:nvPicPr>
        <p:blipFill>
          <a:blip r:embed="rId2">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761405" y="1413769"/>
            <a:ext cx="4669189" cy="3379703"/>
          </a:xfrm>
          <a:prstGeom prst="rect">
            <a:avLst/>
          </a:prstGeom>
        </p:spPr>
      </p:pic>
      <p:sp>
        <p:nvSpPr>
          <p:cNvPr id="2" name="TextBox 1">
            <a:extLst>
              <a:ext uri="{FF2B5EF4-FFF2-40B4-BE49-F238E27FC236}">
                <a16:creationId xmlns:a16="http://schemas.microsoft.com/office/drawing/2014/main" id="{D7635713-6CF6-4743-9F0B-3B95D9CD4448}"/>
              </a:ext>
            </a:extLst>
          </p:cNvPr>
          <p:cNvSpPr txBox="1"/>
          <p:nvPr userDrawn="1"/>
        </p:nvSpPr>
        <p:spPr>
          <a:xfrm>
            <a:off x="1755230" y="4895286"/>
            <a:ext cx="9124614" cy="707886"/>
          </a:xfrm>
          <a:prstGeom prst="rect">
            <a:avLst/>
          </a:prstGeom>
          <a:noFill/>
        </p:spPr>
        <p:txBody>
          <a:bodyPr wrap="none" rtlCol="0">
            <a:spAutoFit/>
          </a:bodyPr>
          <a:lstStyle/>
          <a:p>
            <a:r>
              <a:rPr lang="en-US" sz="4000" b="1" i="0" dirty="0">
                <a:solidFill>
                  <a:srgbClr val="0D3A5C"/>
                </a:solidFill>
                <a:latin typeface="CiscoSansTT Heavy" panose="020B0503020201020303" pitchFamily="34" charset="0"/>
                <a:cs typeface="CiscoSansTT Heavy" panose="020B0503020201020303" pitchFamily="34" charset="0"/>
              </a:rPr>
              <a:t>@</a:t>
            </a:r>
            <a:r>
              <a:rPr lang="en-US" sz="4000" b="1" i="0" dirty="0" err="1">
                <a:solidFill>
                  <a:srgbClr val="0D3A5C"/>
                </a:solidFill>
                <a:latin typeface="CiscoSansTT Heavy" panose="020B0503020201020303" pitchFamily="34" charset="0"/>
                <a:cs typeface="CiscoSansTT Heavy" panose="020B0503020201020303" pitchFamily="34" charset="0"/>
              </a:rPr>
              <a:t>CiscoDevNet</a:t>
            </a:r>
            <a:r>
              <a:rPr lang="en-US" sz="4000" b="1" i="0" dirty="0">
                <a:solidFill>
                  <a:srgbClr val="0D3A5C"/>
                </a:solidFill>
                <a:latin typeface="CiscoSansTT Heavy" panose="020B0503020201020303" pitchFamily="34" charset="0"/>
                <a:cs typeface="CiscoSansTT Heavy" panose="020B0503020201020303" pitchFamily="34" charset="0"/>
              </a:rPr>
              <a:t>   </a:t>
            </a:r>
            <a:r>
              <a:rPr lang="en-US" sz="4000" b="0" i="0" dirty="0">
                <a:solidFill>
                  <a:srgbClr val="0D3A5C"/>
                </a:solidFill>
                <a:latin typeface="CiscoSansTT" panose="020B0503020201020303" pitchFamily="34" charset="0"/>
                <a:cs typeface="CiscoSansTT" panose="020B0503020201020303" pitchFamily="34" charset="0"/>
              </a:rPr>
              <a:t>|</a:t>
            </a:r>
            <a:r>
              <a:rPr lang="en-US" sz="4000" b="1" i="0" dirty="0">
                <a:solidFill>
                  <a:srgbClr val="0D3A5C"/>
                </a:solidFill>
                <a:latin typeface="CiscoSansTT Heavy" panose="020B0503020201020303" pitchFamily="34" charset="0"/>
                <a:cs typeface="CiscoSansTT Heavy" panose="020B0503020201020303" pitchFamily="34" charset="0"/>
              </a:rPr>
              <a:t>  #</a:t>
            </a:r>
            <a:r>
              <a:rPr lang="en-US" sz="4000" b="1" i="0" dirty="0" err="1">
                <a:solidFill>
                  <a:srgbClr val="0D3A5C"/>
                </a:solidFill>
                <a:latin typeface="CiscoSansTT Heavy" panose="020B0503020201020303" pitchFamily="34" charset="0"/>
                <a:cs typeface="CiscoSansTT Heavy" panose="020B0503020201020303" pitchFamily="34" charset="0"/>
              </a:rPr>
              <a:t>DevNetExpress</a:t>
            </a:r>
            <a:endParaRPr lang="en-US" sz="4000" b="1" i="0" dirty="0">
              <a:solidFill>
                <a:srgbClr val="0D3A5C"/>
              </a:solidFill>
              <a:latin typeface="CiscoSansTT Heavy" panose="020B0503020201020303" pitchFamily="34" charset="0"/>
              <a:cs typeface="CiscoSansTT Heavy" panose="020B0503020201020303" pitchFamily="34" charset="0"/>
            </a:endParaRPr>
          </a:p>
        </p:txBody>
      </p:sp>
    </p:spTree>
    <p:extLst>
      <p:ext uri="{BB962C8B-B14F-4D97-AF65-F5344CB8AC3E}">
        <p14:creationId xmlns:p14="http://schemas.microsoft.com/office/powerpoint/2010/main" val="354130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5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57200" y="228601"/>
            <a:ext cx="11277600" cy="5681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t"/>
          <a:lstStyle>
            <a:lvl1pPr>
              <a:defRPr sz="3600" b="0" i="0">
                <a:solidFill>
                  <a:srgbClr val="002060"/>
                </a:solidFill>
                <a:latin typeface="+mj-lt"/>
                <a:ea typeface="CiscoSans Light" charset="0"/>
                <a:cs typeface="CiscoSans Light" charset="0"/>
              </a:defRPr>
            </a:lvl1pPr>
          </a:lstStyle>
          <a:p>
            <a:pPr lvl="0"/>
            <a:r>
              <a:rPr lang="en-US" dirty="0"/>
              <a:t>Click to edit Master title style</a:t>
            </a:r>
            <a:endParaRPr lang="en-GB" dirty="0"/>
          </a:p>
        </p:txBody>
      </p:sp>
    </p:spTree>
    <p:extLst>
      <p:ext uri="{BB962C8B-B14F-4D97-AF65-F5344CB8AC3E}">
        <p14:creationId xmlns:p14="http://schemas.microsoft.com/office/powerpoint/2010/main" val="608332380"/>
      </p:ext>
    </p:extLst>
  </p:cSld>
  <p:clrMapOvr>
    <a:masterClrMapping/>
  </p:clrMapOvr>
  <p:transition spd="med">
    <p:fade/>
  </p:transition>
  <p:extLst>
    <p:ext uri="{DCECCB84-F9BA-43D5-87BE-67443E8EF086}">
      <p15:sldGuideLst xmlns:p15="http://schemas.microsoft.com/office/powerpoint/2012/main">
        <p15:guide id="1" orient="horz" pos="144">
          <p15:clr>
            <a:srgbClr val="FBAE40"/>
          </p15:clr>
        </p15:guide>
        <p15:guide id="2" pos="287">
          <p15:clr>
            <a:srgbClr val="FBAE40"/>
          </p15:clr>
        </p15:guide>
        <p15:guide id="3" pos="7391">
          <p15:clr>
            <a:srgbClr val="FBAE40"/>
          </p15:clr>
        </p15:guide>
        <p15:guide id="4" orient="horz" pos="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32669981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005073"/>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400" b="0" i="0">
                <a:solidFill>
                  <a:srgbClr val="282828"/>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9223966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005073"/>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406388" y="1225422"/>
            <a:ext cx="4707890" cy="4494530"/>
          </a:xfrm>
          <a:prstGeom prst="rect">
            <a:avLst/>
          </a:prstGeom>
        </p:spPr>
        <p:txBody>
          <a:bodyPr wrap="square" lIns="0" tIns="0" rIns="0" bIns="0">
            <a:spAutoFit/>
          </a:bodyPr>
          <a:lstStyle>
            <a:lvl1pPr>
              <a:defRPr sz="1400" b="0" i="0">
                <a:solidFill>
                  <a:schemeClr val="bg1"/>
                </a:solidFill>
                <a:latin typeface="Courier New"/>
                <a:cs typeface="Courier New"/>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5096603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005073"/>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833099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4/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222205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A6A6A6"/>
                </a:solidFill>
                <a:latin typeface="Arial"/>
                <a:cs typeface="Arial"/>
              </a:defRPr>
            </a:lvl1pPr>
          </a:lstStyle>
          <a:p>
            <a:pPr marL="12700">
              <a:lnSpc>
                <a:spcPct val="100000"/>
              </a:lnSpc>
              <a:spcBef>
                <a:spcPts val="90"/>
              </a:spcBef>
            </a:pPr>
            <a:r>
              <a:rPr spc="80" dirty="0"/>
              <a:t>© </a:t>
            </a:r>
            <a:r>
              <a:rPr spc="40" dirty="0"/>
              <a:t>2017  </a:t>
            </a:r>
            <a:r>
              <a:rPr spc="10" dirty="0"/>
              <a:t>Cisco </a:t>
            </a:r>
            <a:r>
              <a:rPr spc="15" dirty="0"/>
              <a:t>and/or  </a:t>
            </a:r>
            <a:r>
              <a:rPr spc="5" dirty="0"/>
              <a:t>its affiliates.  </a:t>
            </a:r>
            <a:r>
              <a:rPr dirty="0"/>
              <a:t>All </a:t>
            </a:r>
            <a:r>
              <a:rPr spc="5" dirty="0"/>
              <a:t>rights  </a:t>
            </a:r>
            <a:r>
              <a:rPr spc="10" dirty="0"/>
              <a:t>reserved.    Cisco</a:t>
            </a:r>
            <a:r>
              <a:rPr spc="100" dirty="0"/>
              <a:t> </a:t>
            </a:r>
            <a:r>
              <a:rPr spc="5" dirty="0"/>
              <a:t>Confidential</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398956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005073"/>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650" b="0" i="0">
                <a:solidFill>
                  <a:srgbClr val="282828"/>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A6A6A6"/>
                </a:solidFill>
                <a:latin typeface="Arial"/>
                <a:cs typeface="Arial"/>
              </a:defRPr>
            </a:lvl1pPr>
          </a:lstStyle>
          <a:p>
            <a:pPr marL="12700">
              <a:lnSpc>
                <a:spcPct val="100000"/>
              </a:lnSpc>
              <a:spcBef>
                <a:spcPts val="90"/>
              </a:spcBef>
            </a:pPr>
            <a:r>
              <a:rPr spc="80" dirty="0"/>
              <a:t>© </a:t>
            </a:r>
            <a:r>
              <a:rPr spc="40" dirty="0"/>
              <a:t>2017  </a:t>
            </a:r>
            <a:r>
              <a:rPr spc="10" dirty="0"/>
              <a:t>Cisco </a:t>
            </a:r>
            <a:r>
              <a:rPr spc="15" dirty="0"/>
              <a:t>and/or  </a:t>
            </a:r>
            <a:r>
              <a:rPr spc="5" dirty="0"/>
              <a:t>its affiliates.  </a:t>
            </a:r>
            <a:r>
              <a:rPr dirty="0"/>
              <a:t>All </a:t>
            </a:r>
            <a:r>
              <a:rPr spc="5" dirty="0"/>
              <a:t>rights  </a:t>
            </a:r>
            <a:r>
              <a:rPr spc="10" dirty="0"/>
              <a:t>reserved.    Cisco</a:t>
            </a:r>
            <a:r>
              <a:rPr spc="100" dirty="0"/>
              <a:t> </a:t>
            </a:r>
            <a:r>
              <a:rPr spc="5" dirty="0"/>
              <a:t>Confidential</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506077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4900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005073"/>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A6A6A6"/>
                </a:solidFill>
                <a:latin typeface="Arial"/>
                <a:cs typeface="Arial"/>
              </a:defRPr>
            </a:lvl1pPr>
          </a:lstStyle>
          <a:p>
            <a:pPr marL="12700">
              <a:lnSpc>
                <a:spcPct val="100000"/>
              </a:lnSpc>
              <a:spcBef>
                <a:spcPts val="90"/>
              </a:spcBef>
            </a:pPr>
            <a:r>
              <a:rPr spc="80" dirty="0"/>
              <a:t>© </a:t>
            </a:r>
            <a:r>
              <a:rPr spc="40" dirty="0"/>
              <a:t>2017  </a:t>
            </a:r>
            <a:r>
              <a:rPr spc="10" dirty="0"/>
              <a:t>Cisco </a:t>
            </a:r>
            <a:r>
              <a:rPr spc="15" dirty="0"/>
              <a:t>and/or  </a:t>
            </a:r>
            <a:r>
              <a:rPr spc="5" dirty="0"/>
              <a:t>its affiliates.  </a:t>
            </a:r>
            <a:r>
              <a:rPr dirty="0"/>
              <a:t>All </a:t>
            </a:r>
            <a:r>
              <a:rPr spc="5" dirty="0"/>
              <a:t>rights  </a:t>
            </a:r>
            <a:r>
              <a:rPr spc="10" dirty="0"/>
              <a:t>reserved.    Cisco</a:t>
            </a:r>
            <a:r>
              <a:rPr spc="100" dirty="0"/>
              <a:t> </a:t>
            </a:r>
            <a:r>
              <a:rPr spc="5" dirty="0"/>
              <a:t>Confidential</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2307135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005073"/>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800" b="0" i="0">
                <a:solidFill>
                  <a:srgbClr val="A6A6A6"/>
                </a:solidFill>
                <a:latin typeface="Arial"/>
                <a:cs typeface="Arial"/>
              </a:defRPr>
            </a:lvl1pPr>
          </a:lstStyle>
          <a:p>
            <a:pPr marL="12700">
              <a:lnSpc>
                <a:spcPct val="100000"/>
              </a:lnSpc>
              <a:spcBef>
                <a:spcPts val="90"/>
              </a:spcBef>
            </a:pPr>
            <a:r>
              <a:rPr spc="80" dirty="0"/>
              <a:t>© </a:t>
            </a:r>
            <a:r>
              <a:rPr spc="40" dirty="0"/>
              <a:t>2017  </a:t>
            </a:r>
            <a:r>
              <a:rPr spc="10" dirty="0"/>
              <a:t>Cisco </a:t>
            </a:r>
            <a:r>
              <a:rPr spc="15" dirty="0"/>
              <a:t>and/or  </a:t>
            </a:r>
            <a:r>
              <a:rPr spc="5" dirty="0"/>
              <a:t>its affiliates.  </a:t>
            </a:r>
            <a:r>
              <a:rPr dirty="0"/>
              <a:t>All </a:t>
            </a:r>
            <a:r>
              <a:rPr spc="5" dirty="0"/>
              <a:t>rights  </a:t>
            </a:r>
            <a:r>
              <a:rPr spc="10" dirty="0"/>
              <a:t>reserved.    Cisco</a:t>
            </a:r>
            <a:r>
              <a:rPr spc="100" dirty="0"/>
              <a:t> </a:t>
            </a:r>
            <a:r>
              <a:rPr spc="5" dirty="0"/>
              <a:t>Confidential</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57924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A6A6A6"/>
                </a:solidFill>
                <a:latin typeface="Arial"/>
                <a:cs typeface="Arial"/>
              </a:defRPr>
            </a:lvl1pPr>
          </a:lstStyle>
          <a:p>
            <a:pPr marL="12700">
              <a:lnSpc>
                <a:spcPct val="100000"/>
              </a:lnSpc>
              <a:spcBef>
                <a:spcPts val="90"/>
              </a:spcBef>
            </a:pPr>
            <a:r>
              <a:rPr spc="80" dirty="0"/>
              <a:t>© </a:t>
            </a:r>
            <a:r>
              <a:rPr spc="40" dirty="0"/>
              <a:t>2017  </a:t>
            </a:r>
            <a:r>
              <a:rPr spc="10" dirty="0"/>
              <a:t>Cisco </a:t>
            </a:r>
            <a:r>
              <a:rPr spc="15" dirty="0"/>
              <a:t>and/or  </a:t>
            </a:r>
            <a:r>
              <a:rPr spc="5" dirty="0"/>
              <a:t>its affiliates.  </a:t>
            </a:r>
            <a:r>
              <a:rPr dirty="0"/>
              <a:t>All </a:t>
            </a:r>
            <a:r>
              <a:rPr spc="5" dirty="0"/>
              <a:t>rights  </a:t>
            </a:r>
            <a:r>
              <a:rPr spc="10" dirty="0"/>
              <a:t>reserved.    Cisco</a:t>
            </a:r>
            <a:r>
              <a:rPr spc="100" dirty="0"/>
              <a:t> </a:t>
            </a:r>
            <a:r>
              <a:rPr spc="5" dirty="0"/>
              <a:t>Confidential</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26390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21678485"/>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859452157"/>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CiscoSans"/>
              </a:defRPr>
            </a:lvl1pPr>
            <a:lvl2pPr marL="304792" indent="-152396">
              <a:buClr>
                <a:schemeClr val="tx2"/>
              </a:buClr>
              <a:buSzPct val="60000"/>
              <a:defRPr sz="2667">
                <a:solidFill>
                  <a:schemeClr val="bg1"/>
                </a:solidFill>
              </a:defRPr>
            </a:lvl2pPr>
            <a:lvl3pPr marL="457189" indent="-152396">
              <a:buClr>
                <a:schemeClr val="tx2"/>
              </a:buClr>
              <a:buSzPct val="60000"/>
              <a:defRPr sz="2400">
                <a:solidFill>
                  <a:schemeClr val="bg1"/>
                </a:solidFill>
              </a:defRPr>
            </a:lvl3pPr>
            <a:lvl4pPr marL="609585" indent="-165096">
              <a:buClr>
                <a:schemeClr val="tx2"/>
              </a:buClr>
              <a:buSzPct val="60000"/>
              <a:defRPr sz="2133">
                <a:solidFill>
                  <a:schemeClr val="bg1"/>
                </a:solidFill>
              </a:defRPr>
            </a:lvl4pPr>
            <a:lvl5pPr marL="766214" indent="-156629">
              <a:buClr>
                <a:schemeClr val="tx2"/>
              </a:buClr>
              <a:buSzPct val="60000"/>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333519269"/>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49511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Click to 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78029042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03665399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800981002"/>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14561932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457325337"/>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39577081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5541877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AF54B-70B5-C846-8162-C0E6EB4A95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6B0A65-4FBC-6D4E-A6D7-61C9DE78636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94C540D-CDC4-F542-A9F6-39573064FAA4}"/>
              </a:ext>
            </a:extLst>
          </p:cNvPr>
          <p:cNvSpPr>
            <a:spLocks noGrp="1"/>
          </p:cNvSpPr>
          <p:nvPr>
            <p:ph type="dt" sz="half" idx="10"/>
          </p:nvPr>
        </p:nvSpPr>
        <p:spPr/>
        <p:txBody>
          <a:bodyPr/>
          <a:lstStyle/>
          <a:p>
            <a:fld id="{D15A7EA5-25F4-7A49-A17D-422C06E38414}" type="datetimeFigureOut">
              <a:rPr lang="en-CN" smtClean="0"/>
              <a:t>2020/4/15</a:t>
            </a:fld>
            <a:endParaRPr lang="en-CN"/>
          </a:p>
        </p:txBody>
      </p:sp>
      <p:sp>
        <p:nvSpPr>
          <p:cNvPr id="5" name="Footer Placeholder 4">
            <a:extLst>
              <a:ext uri="{FF2B5EF4-FFF2-40B4-BE49-F238E27FC236}">
                <a16:creationId xmlns:a16="http://schemas.microsoft.com/office/drawing/2014/main" id="{FC16F589-77F7-094B-AC3B-995AEDC6594E}"/>
              </a:ext>
            </a:extLst>
          </p:cNvPr>
          <p:cNvSpPr>
            <a:spLocks noGrp="1"/>
          </p:cNvSpPr>
          <p:nvPr>
            <p:ph type="ftr" sz="quarter" idx="11"/>
          </p:nvPr>
        </p:nvSpPr>
        <p:spPr/>
        <p:txBody>
          <a:bodyPr/>
          <a:lstStyle/>
          <a:p>
            <a:endParaRPr lang="en-CN"/>
          </a:p>
        </p:txBody>
      </p:sp>
      <p:sp>
        <p:nvSpPr>
          <p:cNvPr id="6" name="Slide Number Placeholder 5">
            <a:extLst>
              <a:ext uri="{FF2B5EF4-FFF2-40B4-BE49-F238E27FC236}">
                <a16:creationId xmlns:a16="http://schemas.microsoft.com/office/drawing/2014/main" id="{D92C8BC6-FE8D-4548-ACFE-56E292E21635}"/>
              </a:ext>
            </a:extLst>
          </p:cNvPr>
          <p:cNvSpPr>
            <a:spLocks noGrp="1"/>
          </p:cNvSpPr>
          <p:nvPr>
            <p:ph type="sldNum" sz="quarter" idx="12"/>
          </p:nvPr>
        </p:nvSpPr>
        <p:spPr/>
        <p:txBody>
          <a:bodyPr/>
          <a:lstStyle/>
          <a:p>
            <a:fld id="{8EFB56E3-6DF9-8140-8943-21C47AB3033F}" type="slidenum">
              <a:rPr lang="en-CN" smtClean="0"/>
              <a:t>‹#›</a:t>
            </a:fld>
            <a:endParaRPr lang="en-CN"/>
          </a:p>
        </p:txBody>
      </p:sp>
    </p:spTree>
    <p:extLst>
      <p:ext uri="{BB962C8B-B14F-4D97-AF65-F5344CB8AC3E}">
        <p14:creationId xmlns:p14="http://schemas.microsoft.com/office/powerpoint/2010/main" val="7000126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pic>
        <p:nvPicPr>
          <p:cNvPr id="9" name="Picture 8">
            <a:extLst>
              <a:ext uri="{FF2B5EF4-FFF2-40B4-BE49-F238E27FC236}">
                <a16:creationId xmlns:a16="http://schemas.microsoft.com/office/drawing/2014/main" id="{58DA11FD-1253-4E47-89D7-0E8DC2142E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7724" y="519214"/>
            <a:ext cx="4158361" cy="566031"/>
          </a:xfrm>
          <a:prstGeom prst="rect">
            <a:avLst/>
          </a:prstGeom>
        </p:spPr>
      </p:pic>
    </p:spTree>
    <p:extLst>
      <p:ext uri="{BB962C8B-B14F-4D97-AF65-F5344CB8AC3E}">
        <p14:creationId xmlns:p14="http://schemas.microsoft.com/office/powerpoint/2010/main" val="424265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2_Title Slide">
    <p:bg>
      <p:bgPr>
        <a:solidFill>
          <a:schemeClr val="bg2"/>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pic>
        <p:nvPicPr>
          <p:cNvPr id="9" name="Picture 8">
            <a:extLst>
              <a:ext uri="{FF2B5EF4-FFF2-40B4-BE49-F238E27FC236}">
                <a16:creationId xmlns:a16="http://schemas.microsoft.com/office/drawing/2014/main" id="{58DA11FD-1253-4E47-89D7-0E8DC2142E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7724" y="519214"/>
            <a:ext cx="4158361" cy="566031"/>
          </a:xfrm>
          <a:prstGeom prst="rect">
            <a:avLst/>
          </a:prstGeom>
        </p:spPr>
      </p:pic>
    </p:spTree>
    <p:extLst>
      <p:ext uri="{BB962C8B-B14F-4D97-AF65-F5344CB8AC3E}">
        <p14:creationId xmlns:p14="http://schemas.microsoft.com/office/powerpoint/2010/main" val="383338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9337558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89321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54636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54625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60162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22857"/>
            <a:ext cx="10852149" cy="68480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9393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0772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52631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7945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32874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81835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4181408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Bullet_with_Code">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hasCustomPrompt="1"/>
          </p:nvPr>
        </p:nvSpPr>
        <p:spPr>
          <a:xfrm>
            <a:off x="6341155" y="1607864"/>
            <a:ext cx="5181600" cy="4110792"/>
          </a:xfrm>
          <a:prstGeom prst="rect">
            <a:avLst/>
          </a:prstGeom>
          <a:solidFill>
            <a:schemeClr val="tx1"/>
          </a:solidFill>
        </p:spPr>
        <p:txBody>
          <a:bodyPr lIns="0" tIns="45710" rIns="0" bIns="45710">
            <a:noAutofit/>
          </a:bodyPr>
          <a:lstStyle>
            <a:lvl1pPr marL="76199" indent="0">
              <a:lnSpc>
                <a:spcPct val="95000"/>
              </a:lnSpc>
              <a:spcBef>
                <a:spcPts val="0"/>
              </a:spcBef>
              <a:buClr>
                <a:schemeClr val="tx1"/>
              </a:buClr>
              <a:buSzPct val="60000"/>
              <a:buFont typeface="Arial"/>
              <a:buNone/>
              <a:defRPr sz="1600" b="0" i="0" baseline="0">
                <a:solidFill>
                  <a:schemeClr val="bg2"/>
                </a:solidFill>
                <a:latin typeface="Courier New" panose="02070309020205020404" pitchFamily="49" charset="0"/>
                <a:cs typeface="Courier New" panose="02070309020205020404" pitchFamily="49" charset="0"/>
              </a:defRPr>
            </a:lvl1pPr>
            <a:lvl2pPr marL="232828" indent="0">
              <a:lnSpc>
                <a:spcPct val="95000"/>
              </a:lnSpc>
              <a:spcBef>
                <a:spcPts val="600"/>
              </a:spcBef>
              <a:buClr>
                <a:schemeClr val="tx1"/>
              </a:buClr>
              <a:buSzPct val="60000"/>
              <a:buFont typeface="Arial"/>
              <a:buNone/>
              <a:defRPr sz="1600" b="0" i="0">
                <a:solidFill>
                  <a:schemeClr val="bg2"/>
                </a:solidFill>
                <a:latin typeface="Courier New" panose="02070309020205020404" pitchFamily="49" charset="0"/>
                <a:cs typeface="Courier New" panose="02070309020205020404" pitchFamily="49" charset="0"/>
              </a:defRPr>
            </a:lvl2pPr>
            <a:lvl3pPr marL="385224" indent="0">
              <a:buClr>
                <a:schemeClr val="tx1"/>
              </a:buClr>
              <a:buSzPct val="60000"/>
              <a:buFont typeface="Arial"/>
              <a:buNone/>
              <a:defRPr sz="1600" b="0" i="0">
                <a:solidFill>
                  <a:schemeClr val="bg2"/>
                </a:solidFill>
                <a:latin typeface="Courier New" panose="02070309020205020404" pitchFamily="49" charset="0"/>
                <a:cs typeface="Courier New" panose="02070309020205020404" pitchFamily="49" charset="0"/>
              </a:defRPr>
            </a:lvl3pPr>
            <a:lvl4pPr marL="537620" indent="0">
              <a:buClr>
                <a:schemeClr val="tx1"/>
              </a:buClr>
              <a:buSzPct val="60000"/>
              <a:buFont typeface="Arial"/>
              <a:buNone/>
              <a:defRPr sz="1600" b="0" i="0">
                <a:solidFill>
                  <a:schemeClr val="bg2"/>
                </a:solidFill>
                <a:latin typeface="Courier New" panose="02070309020205020404" pitchFamily="49" charset="0"/>
                <a:cs typeface="Courier New" panose="02070309020205020404" pitchFamily="49" charset="0"/>
              </a:defRPr>
            </a:lvl4pPr>
            <a:lvl5pPr marL="690016" indent="0">
              <a:buClr>
                <a:schemeClr val="tx1"/>
              </a:buClr>
              <a:buSzPct val="60000"/>
              <a:buFont typeface="Arial"/>
              <a:buNone/>
              <a:defRPr sz="1600" b="0" i="0">
                <a:solidFill>
                  <a:schemeClr val="bg2"/>
                </a:solidFill>
                <a:latin typeface="Courier New" panose="02070309020205020404" pitchFamily="49" charset="0"/>
                <a:cs typeface="Courier New" panose="02070309020205020404" pitchFamily="49" charset="0"/>
              </a:defRPr>
            </a:lvl5pPr>
          </a:lstStyle>
          <a:p>
            <a:pPr lvl="0"/>
            <a:r>
              <a:rPr lang="en-US" dirty="0"/>
              <a:t>Enter Code</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35470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6235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55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37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032164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351988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460819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39382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Click to 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280637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58918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3780765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28717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43161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390992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84108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 name="Picture 2">
            <a:extLst>
              <a:ext uri="{FF2B5EF4-FFF2-40B4-BE49-F238E27FC236}">
                <a16:creationId xmlns:a16="http://schemas.microsoft.com/office/drawing/2014/main" id="{082EF1F8-9F65-FA43-AA99-2958E76B0468}"/>
              </a:ext>
            </a:extLst>
          </p:cNvPr>
          <p:cNvPicPr>
            <a:picLocks noChangeAspect="1"/>
          </p:cNvPicPr>
          <p:nvPr/>
        </p:nvPicPr>
        <p:blipFill>
          <a:blip r:embed="rId2"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300061" y="2662659"/>
            <a:ext cx="7591878" cy="1532681"/>
          </a:xfrm>
          <a:prstGeom prst="rect">
            <a:avLst/>
          </a:prstGeom>
        </p:spPr>
      </p:pic>
    </p:spTree>
    <p:extLst>
      <p:ext uri="{BB962C8B-B14F-4D97-AF65-F5344CB8AC3E}">
        <p14:creationId xmlns:p14="http://schemas.microsoft.com/office/powerpoint/2010/main" val="3071650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05BBA-FA17-6643-891E-81A8C47CD7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44E571-E0B8-DA40-8C64-A8B2FE72DA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0FFAA33-5C35-5D4B-A8FC-AFCF1F5D73A3}"/>
              </a:ext>
            </a:extLst>
          </p:cNvPr>
          <p:cNvSpPr>
            <a:spLocks noGrp="1"/>
          </p:cNvSpPr>
          <p:nvPr>
            <p:ph type="dt" sz="half" idx="10"/>
          </p:nvPr>
        </p:nvSpPr>
        <p:spPr/>
        <p:txBody>
          <a:bodyPr/>
          <a:lstStyle/>
          <a:p>
            <a:fld id="{4120AFE6-20F4-B04E-9518-8B300D8920D7}" type="datetimeFigureOut">
              <a:rPr lang="en-US" smtClean="0"/>
              <a:t>4/15/20</a:t>
            </a:fld>
            <a:endParaRPr lang="en-US"/>
          </a:p>
        </p:txBody>
      </p:sp>
      <p:sp>
        <p:nvSpPr>
          <p:cNvPr id="5" name="Footer Placeholder 4">
            <a:extLst>
              <a:ext uri="{FF2B5EF4-FFF2-40B4-BE49-F238E27FC236}">
                <a16:creationId xmlns:a16="http://schemas.microsoft.com/office/drawing/2014/main" id="{10B551A2-81C1-A547-9BFB-4AD3E0BE89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30E61F-5B73-3F4B-B0DA-10D3710E4466}"/>
              </a:ext>
            </a:extLst>
          </p:cNvPr>
          <p:cNvSpPr>
            <a:spLocks noGrp="1"/>
          </p:cNvSpPr>
          <p:nvPr>
            <p:ph type="sldNum" sz="quarter" idx="12"/>
          </p:nvPr>
        </p:nvSpPr>
        <p:spPr/>
        <p:txBody>
          <a:bodyPr/>
          <a:lstStyle/>
          <a:p>
            <a:fld id="{33A3E000-B319-BA46-B98F-4F83D5440D2C}" type="slidenum">
              <a:rPr lang="en-US" smtClean="0"/>
              <a:t>‹#›</a:t>
            </a:fld>
            <a:endParaRPr lang="en-US"/>
          </a:p>
        </p:txBody>
      </p:sp>
    </p:spTree>
    <p:extLst>
      <p:ext uri="{BB962C8B-B14F-4D97-AF65-F5344CB8AC3E}">
        <p14:creationId xmlns:p14="http://schemas.microsoft.com/office/powerpoint/2010/main" val="231386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2 Column Content">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rgbClr val="000000"/>
                </a:solidFill>
                <a:latin typeface="+mn-lt"/>
                <a:ea typeface="+mn-ea"/>
                <a:cs typeface="CiscoSans Thin"/>
              </a:defRPr>
            </a:lvl1pPr>
          </a:lstStyle>
          <a:p>
            <a:fld id="{96A97DD0-5BE7-4856-A2A9-C42C6688E607}" type="slidenum">
              <a:rPr lang="en-US" smtClean="0"/>
              <a:pPr/>
              <a:t>‹#›</a:t>
            </a:fld>
            <a:endParaRPr lang="en-US" dirty="0"/>
          </a:p>
        </p:txBody>
      </p:sp>
      <p:sp>
        <p:nvSpPr>
          <p:cNvPr id="8" name="Footer Placeholder 2"/>
          <p:cNvSpPr>
            <a:spLocks noGrp="1"/>
          </p:cNvSpPr>
          <p:nvPr>
            <p:ph type="ftr" sz="quarter" idx="3"/>
          </p:nvPr>
        </p:nvSpPr>
        <p:spPr>
          <a:xfrm>
            <a:off x="6963378" y="6616601"/>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rgbClr val="000000"/>
                </a:solidFill>
                <a:cs typeface="CiscoSans Thin"/>
              </a:defRPr>
            </a:lvl1pPr>
          </a:lstStyle>
          <a:p>
            <a:pPr defTabSz="814305"/>
            <a:r>
              <a:rPr lang="en-US">
                <a:ea typeface="ＭＳ Ｐゴシック" charset="0"/>
              </a:rPr>
              <a:t>DEVNET-3616</a:t>
            </a:r>
          </a:p>
        </p:txBody>
      </p:sp>
      <p:sp>
        <p:nvSpPr>
          <p:cNvPr id="9" name="Title 1"/>
          <p:cNvSpPr>
            <a:spLocks noGrp="1"/>
          </p:cNvSpPr>
          <p:nvPr>
            <p:ph type="title"/>
          </p:nvPr>
        </p:nvSpPr>
        <p:spPr>
          <a:xfrm>
            <a:off x="475488" y="291929"/>
            <a:ext cx="11350752" cy="1020576"/>
          </a:xfrm>
        </p:spPr>
        <p:txBody>
          <a:bodyPr/>
          <a:lstStyle>
            <a:lvl1pPr>
              <a:defRPr baseline="0">
                <a:solidFill>
                  <a:schemeClr val="accent6"/>
                </a:solidFill>
              </a:defRPr>
            </a:lvl1pPr>
          </a:lstStyle>
          <a:p>
            <a:r>
              <a:rPr lang="en-US"/>
              <a:t>Click to edit Master title style</a:t>
            </a:r>
            <a:endParaRPr lang="en-US" dirty="0"/>
          </a:p>
        </p:txBody>
      </p:sp>
      <p:sp>
        <p:nvSpPr>
          <p:cNvPr id="10" name="Content Placeholder 4"/>
          <p:cNvSpPr>
            <a:spLocks noGrp="1"/>
          </p:cNvSpPr>
          <p:nvPr>
            <p:ph sz="quarter" idx="11"/>
          </p:nvPr>
        </p:nvSpPr>
        <p:spPr>
          <a:xfrm>
            <a:off x="475488" y="1437216"/>
            <a:ext cx="5425440" cy="4343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5"/>
          <p:cNvSpPr>
            <a:spLocks noGrp="1"/>
          </p:cNvSpPr>
          <p:nvPr>
            <p:ph sz="quarter" idx="12"/>
          </p:nvPr>
        </p:nvSpPr>
        <p:spPr>
          <a:xfrm>
            <a:off x="6400800" y="1437218"/>
            <a:ext cx="5425440" cy="433794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4675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Quote slide">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rgbClr val="000000"/>
                </a:solidFill>
                <a:latin typeface="+mn-lt"/>
                <a:ea typeface="+mn-ea"/>
                <a:cs typeface="CiscoSans Thin"/>
              </a:defRPr>
            </a:lvl1pPr>
          </a:lstStyle>
          <a:p>
            <a:fld id="{96A97DD0-5BE7-4856-A2A9-C42C6688E607}" type="slidenum">
              <a:rPr lang="en-US" smtClean="0"/>
              <a:pPr/>
              <a:t>‹#›</a:t>
            </a:fld>
            <a:endParaRPr lang="en-US" dirty="0"/>
          </a:p>
        </p:txBody>
      </p:sp>
      <p:sp>
        <p:nvSpPr>
          <p:cNvPr id="8" name="Footer Placeholder 2"/>
          <p:cNvSpPr>
            <a:spLocks noGrp="1"/>
          </p:cNvSpPr>
          <p:nvPr>
            <p:ph type="ftr" sz="quarter" idx="3"/>
          </p:nvPr>
        </p:nvSpPr>
        <p:spPr>
          <a:xfrm>
            <a:off x="6963378" y="6616601"/>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rgbClr val="000000"/>
                </a:solidFill>
                <a:cs typeface="CiscoSans Thin"/>
              </a:defRPr>
            </a:lvl1pPr>
          </a:lstStyle>
          <a:p>
            <a:pPr defTabSz="814305"/>
            <a:r>
              <a:rPr lang="en-US">
                <a:ea typeface="ＭＳ Ｐゴシック" charset="0"/>
              </a:rPr>
              <a:t>DEVNET-3616</a:t>
            </a:r>
          </a:p>
        </p:txBody>
      </p:sp>
      <p:sp>
        <p:nvSpPr>
          <p:cNvPr id="6" name="Text Placeholder 3"/>
          <p:cNvSpPr>
            <a:spLocks noGrp="1"/>
          </p:cNvSpPr>
          <p:nvPr>
            <p:ph type="body" sz="quarter" idx="14" hasCustomPrompt="1"/>
          </p:nvPr>
        </p:nvSpPr>
        <p:spPr>
          <a:xfrm>
            <a:off x="731520" y="4749800"/>
            <a:ext cx="7401947" cy="812800"/>
          </a:xfrm>
        </p:spPr>
        <p:txBody>
          <a:bodyPr/>
          <a:lstStyle>
            <a:lvl1pPr marL="2380" indent="0" algn="l">
              <a:spcBef>
                <a:spcPts val="0"/>
              </a:spcBef>
              <a:buNone/>
              <a:defRPr lang="en-US" sz="1867" kern="1200" dirty="0" smtClean="0">
                <a:solidFill>
                  <a:schemeClr val="tx1"/>
                </a:solidFill>
                <a:latin typeface="Arial" charset="0"/>
                <a:ea typeface="ＭＳ Ｐゴシック" charset="0"/>
                <a:cs typeface="ＭＳ Ｐゴシック" charset="0"/>
              </a:defRPr>
            </a:lvl1pPr>
          </a:lstStyle>
          <a:p>
            <a:pPr lvl="0"/>
            <a:r>
              <a:rPr lang="en-US" dirty="0"/>
              <a:t>Click to edit Source Name</a:t>
            </a:r>
          </a:p>
          <a:p>
            <a:pPr lvl="0"/>
            <a:r>
              <a:rPr lang="en-US" dirty="0"/>
              <a:t>Company Name</a:t>
            </a:r>
          </a:p>
        </p:txBody>
      </p:sp>
      <p:sp>
        <p:nvSpPr>
          <p:cNvPr id="9" name="Text Placeholder 4"/>
          <p:cNvSpPr>
            <a:spLocks noGrp="1"/>
          </p:cNvSpPr>
          <p:nvPr>
            <p:ph type="body" sz="quarter" idx="13" hasCustomPrompt="1"/>
          </p:nvPr>
        </p:nvSpPr>
        <p:spPr>
          <a:xfrm>
            <a:off x="475489" y="2133600"/>
            <a:ext cx="10394647" cy="2311400"/>
          </a:xfrm>
        </p:spPr>
        <p:txBody>
          <a:bodyPr/>
          <a:lstStyle>
            <a:lvl1pPr marL="230712" indent="-230712">
              <a:lnSpc>
                <a:spcPts val="4907"/>
              </a:lnSpc>
              <a:spcBef>
                <a:spcPts val="0"/>
              </a:spcBef>
              <a:buClr>
                <a:schemeClr val="accent1"/>
              </a:buClr>
              <a:buSzPct val="105000"/>
              <a:buFont typeface="Arial" panose="020B0604020202020204" pitchFamily="34" charset="0"/>
              <a:buNone/>
              <a:tabLst>
                <a:tab pos="230712" algn="l"/>
              </a:tabLst>
              <a:defRPr lang="en-US" sz="3733" b="0" i="1" kern="1200" dirty="0" smtClean="0">
                <a:solidFill>
                  <a:schemeClr val="accent6"/>
                </a:solidFill>
                <a:latin typeface="+mj-lt"/>
                <a:ea typeface="+mj-ea"/>
                <a:cs typeface="+mj-cs"/>
                <a:sym typeface="Arial" pitchFamily="34" charset="0"/>
              </a:defRPr>
            </a:lvl1pPr>
          </a:lstStyle>
          <a:p>
            <a:pPr lvl="0"/>
            <a:r>
              <a:rPr lang="en-US" dirty="0"/>
              <a:t>“	Quote goes here.”</a:t>
            </a:r>
          </a:p>
        </p:txBody>
      </p:sp>
    </p:spTree>
    <p:extLst>
      <p:ext uri="{BB962C8B-B14F-4D97-AF65-F5344CB8AC3E}">
        <p14:creationId xmlns:p14="http://schemas.microsoft.com/office/powerpoint/2010/main" val="292216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_Quote slide">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6963378" y="6616601"/>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rgbClr val="000000"/>
                </a:solidFill>
                <a:cs typeface="CiscoSans Thin"/>
              </a:defRPr>
            </a:lvl1pPr>
          </a:lstStyle>
          <a:p>
            <a:pPr defTabSz="814305"/>
            <a:r>
              <a:rPr lang="en-US">
                <a:ea typeface="ＭＳ Ｐゴシック" charset="0"/>
              </a:rPr>
              <a:t>DEVNET-1616</a:t>
            </a:r>
          </a:p>
        </p:txBody>
      </p:sp>
      <p:sp>
        <p:nvSpPr>
          <p:cNvPr id="6" name="Text Placeholder 3"/>
          <p:cNvSpPr>
            <a:spLocks noGrp="1"/>
          </p:cNvSpPr>
          <p:nvPr>
            <p:ph type="body" sz="quarter" idx="14" hasCustomPrompt="1"/>
          </p:nvPr>
        </p:nvSpPr>
        <p:spPr>
          <a:xfrm>
            <a:off x="731520" y="4749800"/>
            <a:ext cx="7401947" cy="812800"/>
          </a:xfrm>
        </p:spPr>
        <p:txBody>
          <a:bodyPr/>
          <a:lstStyle>
            <a:lvl1pPr marL="2380" indent="0" algn="l">
              <a:spcBef>
                <a:spcPts val="0"/>
              </a:spcBef>
              <a:buNone/>
              <a:defRPr lang="en-US" sz="1867" kern="1200" dirty="0" smtClean="0">
                <a:solidFill>
                  <a:schemeClr val="tx1"/>
                </a:solidFill>
                <a:latin typeface="Arial" charset="0"/>
                <a:ea typeface="ＭＳ Ｐゴシック" charset="0"/>
                <a:cs typeface="ＭＳ Ｐゴシック" charset="0"/>
              </a:defRPr>
            </a:lvl1pPr>
          </a:lstStyle>
          <a:p>
            <a:pPr lvl="0"/>
            <a:r>
              <a:rPr lang="en-US" dirty="0"/>
              <a:t>Click to edit Source Name</a:t>
            </a:r>
          </a:p>
          <a:p>
            <a:pPr lvl="0"/>
            <a:r>
              <a:rPr lang="en-US" dirty="0"/>
              <a:t>Company Name</a:t>
            </a:r>
          </a:p>
        </p:txBody>
      </p:sp>
      <p:sp>
        <p:nvSpPr>
          <p:cNvPr id="9" name="Text Placeholder 4"/>
          <p:cNvSpPr>
            <a:spLocks noGrp="1"/>
          </p:cNvSpPr>
          <p:nvPr>
            <p:ph type="body" sz="quarter" idx="13" hasCustomPrompt="1"/>
          </p:nvPr>
        </p:nvSpPr>
        <p:spPr>
          <a:xfrm>
            <a:off x="475489" y="2133600"/>
            <a:ext cx="10394647" cy="2311400"/>
          </a:xfrm>
        </p:spPr>
        <p:txBody>
          <a:bodyPr/>
          <a:lstStyle>
            <a:lvl1pPr marL="230712" indent="-230712">
              <a:lnSpc>
                <a:spcPts val="4907"/>
              </a:lnSpc>
              <a:spcBef>
                <a:spcPts val="0"/>
              </a:spcBef>
              <a:buClr>
                <a:schemeClr val="accent1"/>
              </a:buClr>
              <a:buSzPct val="105000"/>
              <a:buFont typeface="Arial" panose="020B0604020202020204" pitchFamily="34" charset="0"/>
              <a:buNone/>
              <a:tabLst>
                <a:tab pos="230712" algn="l"/>
              </a:tabLst>
              <a:defRPr lang="en-US" sz="3733" b="0" i="1" kern="1200" dirty="0" smtClean="0">
                <a:solidFill>
                  <a:schemeClr val="accent6"/>
                </a:solidFill>
                <a:latin typeface="+mj-lt"/>
                <a:ea typeface="+mj-ea"/>
                <a:cs typeface="+mj-cs"/>
                <a:sym typeface="Arial" pitchFamily="34" charset="0"/>
              </a:defRPr>
            </a:lvl1pPr>
          </a:lstStyle>
          <a:p>
            <a:pPr lvl="0"/>
            <a:r>
              <a:rPr lang="en-US" dirty="0"/>
              <a:t>“	Quote goes here.”</a:t>
            </a:r>
          </a:p>
        </p:txBody>
      </p:sp>
    </p:spTree>
    <p:extLst>
      <p:ext uri="{BB962C8B-B14F-4D97-AF65-F5344CB8AC3E}">
        <p14:creationId xmlns:p14="http://schemas.microsoft.com/office/powerpoint/2010/main" val="140808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White 2]">
    <p:bg>
      <p:bgPr>
        <a:solidFill>
          <a:srgbClr val="FFFFFF"/>
        </a:solidFill>
        <a:effectLst/>
      </p:bgPr>
    </p:bg>
    <p:spTree>
      <p:nvGrpSpPr>
        <p:cNvPr id="1" name=""/>
        <p:cNvGrpSpPr/>
        <p:nvPr/>
      </p:nvGrpSpPr>
      <p:grpSpPr>
        <a:xfrm>
          <a:off x="0" y="0"/>
          <a:ext cx="0" cy="0"/>
          <a:chOff x="0" y="0"/>
          <a:chExt cx="0" cy="0"/>
        </a:xfrm>
      </p:grpSpPr>
      <p:sp>
        <p:nvSpPr>
          <p:cNvPr id="11" name="Content Placeholder 2"/>
          <p:cNvSpPr>
            <a:spLocks noGrp="1"/>
          </p:cNvSpPr>
          <p:nvPr>
            <p:ph idx="1"/>
          </p:nvPr>
        </p:nvSpPr>
        <p:spPr>
          <a:xfrm>
            <a:off x="609600" y="1102664"/>
            <a:ext cx="10972800" cy="4525963"/>
          </a:xfrm>
          <a:prstGeom prst="rect">
            <a:avLst/>
          </a:prstGeom>
        </p:spPr>
        <p:txBody>
          <a:bodyPr/>
          <a:lstStyle>
            <a:lvl1pPr marL="0" indent="0">
              <a:buFontTx/>
              <a:buNone/>
              <a:defRPr>
                <a:solidFill>
                  <a:schemeClr val="tx1">
                    <a:lumMod val="75000"/>
                    <a:lumOff val="25000"/>
                  </a:schemeClr>
                </a:solidFill>
              </a:defRPr>
            </a:lvl1pPr>
            <a:lvl2pPr marL="609570" indent="0">
              <a:buFontTx/>
              <a:buNone/>
              <a:defRPr>
                <a:solidFill>
                  <a:schemeClr val="tx1">
                    <a:lumMod val="75000"/>
                    <a:lumOff val="25000"/>
                  </a:schemeClr>
                </a:solidFill>
              </a:defRPr>
            </a:lvl2pPr>
            <a:lvl3pPr marL="1219140" indent="0">
              <a:buFontTx/>
              <a:buNone/>
              <a:defRPr>
                <a:solidFill>
                  <a:schemeClr val="tx1">
                    <a:lumMod val="75000"/>
                    <a:lumOff val="25000"/>
                  </a:schemeClr>
                </a:solidFill>
              </a:defRPr>
            </a:lvl3pPr>
            <a:lvl4pPr marL="1828709" indent="0">
              <a:buFontTx/>
              <a:buNone/>
              <a:defRPr>
                <a:solidFill>
                  <a:schemeClr val="tx1">
                    <a:lumMod val="75000"/>
                    <a:lumOff val="25000"/>
                  </a:schemeClr>
                </a:solidFill>
              </a:defRPr>
            </a:lvl4pPr>
            <a:lvl5pPr marL="2438278" indent="0">
              <a:buFontTx/>
              <a:buNone/>
              <a:defRPr>
                <a:solidFill>
                  <a:schemeClr val="tx1">
                    <a:lumMod val="75000"/>
                    <a:lumOff val="25000"/>
                  </a:schemeClr>
                </a:solidFill>
              </a:defRPr>
            </a:lvl5pPr>
          </a:lstStyle>
          <a:p>
            <a:pPr lvl="0"/>
            <a:r>
              <a:rPr lang="en-US"/>
              <a:t>Click to edit Master text styles</a:t>
            </a:r>
          </a:p>
        </p:txBody>
      </p:sp>
      <p:sp>
        <p:nvSpPr>
          <p:cNvPr id="7" name="Rectangle 6"/>
          <p:cNvSpPr/>
          <p:nvPr/>
        </p:nvSpPr>
        <p:spPr>
          <a:xfrm>
            <a:off x="6096000" y="6749143"/>
            <a:ext cx="3274160" cy="12337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endParaRPr lang="en-US" sz="1800" dirty="0">
              <a:solidFill>
                <a:srgbClr val="FFFFFF"/>
              </a:solidFill>
            </a:endParaRPr>
          </a:p>
        </p:txBody>
      </p:sp>
      <p:sp>
        <p:nvSpPr>
          <p:cNvPr id="8" name="Rectangle 7"/>
          <p:cNvSpPr/>
          <p:nvPr/>
        </p:nvSpPr>
        <p:spPr>
          <a:xfrm>
            <a:off x="3018199" y="6749143"/>
            <a:ext cx="3078413" cy="123372"/>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endParaRPr lang="en-US" sz="1800" dirty="0">
              <a:solidFill>
                <a:srgbClr val="FFFFFF"/>
              </a:solidFill>
            </a:endParaRPr>
          </a:p>
        </p:txBody>
      </p:sp>
      <p:sp>
        <p:nvSpPr>
          <p:cNvPr id="9" name="Rectangle 8"/>
          <p:cNvSpPr/>
          <p:nvPr/>
        </p:nvSpPr>
        <p:spPr>
          <a:xfrm>
            <a:off x="0" y="6749143"/>
            <a:ext cx="3078413" cy="12337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endParaRPr lang="en-US" sz="1800" dirty="0">
              <a:solidFill>
                <a:srgbClr val="FFFFFF"/>
              </a:solidFill>
            </a:endParaRPr>
          </a:p>
        </p:txBody>
      </p:sp>
      <p:sp>
        <p:nvSpPr>
          <p:cNvPr id="10" name="Rectangle 9"/>
          <p:cNvSpPr/>
          <p:nvPr/>
        </p:nvSpPr>
        <p:spPr>
          <a:xfrm>
            <a:off x="9157505" y="6749143"/>
            <a:ext cx="3034497" cy="12337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endParaRPr lang="en-US" sz="1800" dirty="0">
              <a:solidFill>
                <a:srgbClr val="FFFFFF"/>
              </a:solidFill>
            </a:endParaRPr>
          </a:p>
        </p:txBody>
      </p:sp>
      <p:pic>
        <p:nvPicPr>
          <p:cNvPr id="12" name="Picture 11"/>
          <p:cNvPicPr>
            <a:picLocks noChangeAspect="1"/>
          </p:cNvPicPr>
          <p:nvPr/>
        </p:nvPicPr>
        <p:blipFill>
          <a:blip r:embed="rId2" cstate="screen">
            <a:duotone>
              <a:prstClr val="black"/>
              <a:schemeClr val="tx2">
                <a:tint val="45000"/>
                <a:satMod val="400000"/>
              </a:schemeClr>
            </a:duotone>
            <a:alphaModFix amt="40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1868" y="6152708"/>
            <a:ext cx="774520" cy="428739"/>
          </a:xfrm>
          <a:prstGeom prst="rect">
            <a:avLst/>
          </a:prstGeom>
        </p:spPr>
      </p:pic>
    </p:spTree>
    <p:extLst>
      <p:ext uri="{BB962C8B-B14F-4D97-AF65-F5344CB8AC3E}">
        <p14:creationId xmlns:p14="http://schemas.microsoft.com/office/powerpoint/2010/main" val="9558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1"/>
            <a:ext cx="10852149" cy="663195"/>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89098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AD8197-A2C2-41C3-A1D1-B2A1015D96A6}"/>
              </a:ext>
            </a:extLst>
          </p:cNvPr>
          <p:cNvSpPr/>
          <p:nvPr/>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 name="Title Placeholder 5"/>
          <p:cNvSpPr>
            <a:spLocks noGrp="1"/>
          </p:cNvSpPr>
          <p:nvPr>
            <p:ph type="title"/>
          </p:nvPr>
        </p:nvSpPr>
        <p:spPr bwMode="auto">
          <a:xfrm>
            <a:off x="593600" y="256032"/>
            <a:ext cx="11009376"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US"/>
              <a:t>Click to edit Master title style</a:t>
            </a:r>
            <a:endParaRPr lang="en-GB" dirty="0"/>
          </a:p>
        </p:txBody>
      </p:sp>
      <p:sp>
        <p:nvSpPr>
          <p:cNvPr id="5" name="Rectangle 4">
            <a:extLst>
              <a:ext uri="{FF2B5EF4-FFF2-40B4-BE49-F238E27FC236}">
                <a16:creationId xmlns:a16="http://schemas.microsoft.com/office/drawing/2014/main" id="{5D5AD3B2-2145-0947-A1BF-029ADE792650}"/>
              </a:ext>
            </a:extLst>
          </p:cNvPr>
          <p:cNvSpPr>
            <a:spLocks noChangeArrowheads="1"/>
          </p:cNvSpPr>
          <p:nvPr/>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6" name="Slide Number Placeholder 1">
            <a:extLst>
              <a:ext uri="{FF2B5EF4-FFF2-40B4-BE49-F238E27FC236}">
                <a16:creationId xmlns:a16="http://schemas.microsoft.com/office/drawing/2014/main" id="{0E2B0868-332B-E647-A956-91F1889AF72F}"/>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0" name="Freeform 1">
            <a:extLst>
              <a:ext uri="{FF2B5EF4-FFF2-40B4-BE49-F238E27FC236}">
                <a16:creationId xmlns:a16="http://schemas.microsoft.com/office/drawing/2014/main" id="{CB725B52-2CF9-40A7-AB9E-0634E5D71C3A}"/>
              </a:ext>
            </a:extLst>
          </p:cNvPr>
          <p:cNvSpPr>
            <a:spLocks noChangeAspect="1" noChangeArrowheads="1"/>
          </p:cNvSpPr>
          <p:nvPr/>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DF9E04D8-EF0C-A74A-B20F-9790D972516E}"/>
              </a:ext>
            </a:extLst>
          </p:cNvPr>
          <p:cNvSpPr>
            <a:spLocks noGrp="1"/>
          </p:cNvSpPr>
          <p:nvPr>
            <p:ph type="ftr" sz="quarter" idx="10"/>
          </p:nvPr>
        </p:nvSpPr>
        <p:spPr/>
        <p:txBody>
          <a:bodyPr/>
          <a:lstStyle>
            <a:lvl1pPr>
              <a:defRPr>
                <a:solidFill>
                  <a:schemeClr val="bg2"/>
                </a:solidFill>
              </a:defRPr>
            </a:lvl1pPr>
          </a:lstStyle>
          <a:p>
            <a:pPr defTabSz="814305"/>
            <a:r>
              <a:rPr lang="en-GB"/>
              <a:t>BRKSDN-2379</a:t>
            </a:r>
            <a:endParaRPr lang="en-GB" dirty="0"/>
          </a:p>
        </p:txBody>
      </p:sp>
    </p:spTree>
    <p:extLst>
      <p:ext uri="{BB962C8B-B14F-4D97-AF65-F5344CB8AC3E}">
        <p14:creationId xmlns:p14="http://schemas.microsoft.com/office/powerpoint/2010/main" val="6455059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5164158-0CE9-4349-B3F5-2F2E57F0D0CB}" type="datetimeFigureOut">
              <a:rPr lang="en-US" smtClean="0"/>
              <a:t>4/15/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259CC6-7B72-4137-928D-D85C24DCBB66}" type="slidenum">
              <a:rPr lang="en-US" smtClean="0"/>
              <a:t>‹#›</a:t>
            </a:fld>
            <a:endParaRPr lang="en-US"/>
          </a:p>
        </p:txBody>
      </p:sp>
    </p:spTree>
    <p:extLst>
      <p:ext uri="{BB962C8B-B14F-4D97-AF65-F5344CB8AC3E}">
        <p14:creationId xmlns:p14="http://schemas.microsoft.com/office/powerpoint/2010/main" val="3967396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50" b="0" i="0">
                <a:solidFill>
                  <a:srgbClr val="282828"/>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A6A6A6"/>
                </a:solidFill>
                <a:latin typeface="Arial"/>
                <a:cs typeface="Arial"/>
              </a:defRPr>
            </a:lvl1pPr>
          </a:lstStyle>
          <a:p>
            <a:pPr marL="12700">
              <a:lnSpc>
                <a:spcPct val="100000"/>
              </a:lnSpc>
              <a:spcBef>
                <a:spcPts val="90"/>
              </a:spcBef>
            </a:pPr>
            <a:r>
              <a:rPr spc="80" dirty="0"/>
              <a:t>© </a:t>
            </a:r>
            <a:r>
              <a:rPr spc="40" dirty="0"/>
              <a:t>2017  </a:t>
            </a:r>
            <a:r>
              <a:rPr spc="10" dirty="0"/>
              <a:t>Cisco </a:t>
            </a:r>
            <a:r>
              <a:rPr spc="15" dirty="0"/>
              <a:t>and/or  </a:t>
            </a:r>
            <a:r>
              <a:rPr spc="5" dirty="0"/>
              <a:t>its affiliates.  </a:t>
            </a:r>
            <a:r>
              <a:rPr dirty="0"/>
              <a:t>All </a:t>
            </a:r>
            <a:r>
              <a:rPr spc="5" dirty="0"/>
              <a:t>rights  </a:t>
            </a:r>
            <a:r>
              <a:rPr spc="10" dirty="0"/>
              <a:t>reserved.    Cisco</a:t>
            </a:r>
            <a:r>
              <a:rPr spc="100" dirty="0"/>
              <a:t> </a:t>
            </a:r>
            <a:r>
              <a:rPr spc="5" dirty="0"/>
              <a:t>Confidential</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966793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A6A6A6"/>
                </a:solidFill>
                <a:latin typeface="Arial"/>
                <a:cs typeface="Arial"/>
              </a:defRPr>
            </a:lvl1pPr>
          </a:lstStyle>
          <a:p>
            <a:pPr marL="12700">
              <a:lnSpc>
                <a:spcPct val="100000"/>
              </a:lnSpc>
              <a:spcBef>
                <a:spcPts val="90"/>
              </a:spcBef>
            </a:pPr>
            <a:r>
              <a:rPr spc="80" dirty="0"/>
              <a:t>© </a:t>
            </a:r>
            <a:r>
              <a:rPr spc="40" dirty="0"/>
              <a:t>2017  </a:t>
            </a:r>
            <a:r>
              <a:rPr spc="10" dirty="0"/>
              <a:t>Cisco </a:t>
            </a:r>
            <a:r>
              <a:rPr spc="15" dirty="0"/>
              <a:t>and/or  </a:t>
            </a:r>
            <a:r>
              <a:rPr spc="5" dirty="0"/>
              <a:t>its affiliates.  </a:t>
            </a:r>
            <a:r>
              <a:rPr dirty="0"/>
              <a:t>All </a:t>
            </a:r>
            <a:r>
              <a:rPr spc="5" dirty="0"/>
              <a:t>rights  </a:t>
            </a:r>
            <a:r>
              <a:rPr spc="10" dirty="0"/>
              <a:t>reserved.    Cisco</a:t>
            </a:r>
            <a:r>
              <a:rPr spc="100" dirty="0"/>
              <a:t> </a:t>
            </a:r>
            <a:r>
              <a:rPr spc="5" dirty="0"/>
              <a:t>Confidential</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9225728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2215924140"/>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892210929"/>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42662264"/>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876475221"/>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636806388"/>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74686462"/>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1201381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67668065"/>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575918267"/>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9529389"/>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903498130"/>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Bullet 4 Heavy Text">
    <p:spTree>
      <p:nvGrpSpPr>
        <p:cNvPr id="1" name=""/>
        <p:cNvGrpSpPr/>
        <p:nvPr/>
      </p:nvGrpSpPr>
      <p:grpSpPr>
        <a:xfrm>
          <a:off x="0" y="0"/>
          <a:ext cx="0" cy="0"/>
          <a:chOff x="0" y="0"/>
          <a:chExt cx="0" cy="0"/>
        </a:xfrm>
      </p:grpSpPr>
      <p:sp>
        <p:nvSpPr>
          <p:cNvPr id="12" name="Title 1"/>
          <p:cNvSpPr>
            <a:spLocks noGrp="1"/>
          </p:cNvSpPr>
          <p:nvPr>
            <p:ph type="title"/>
          </p:nvPr>
        </p:nvSpPr>
        <p:spPr>
          <a:xfrm>
            <a:off x="591995" y="260908"/>
            <a:ext cx="11021484" cy="579965"/>
          </a:xfrm>
        </p:spPr>
        <p:txBody>
          <a:bodyPr/>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3" name="Text Placeholder 2"/>
          <p:cNvSpPr>
            <a:spLocks noGrp="1"/>
          </p:cNvSpPr>
          <p:nvPr>
            <p:ph type="body" sz="quarter" idx="13"/>
          </p:nvPr>
        </p:nvSpPr>
        <p:spPr>
          <a:xfrm>
            <a:off x="592749" y="840874"/>
            <a:ext cx="11020332" cy="5462129"/>
          </a:xfrm>
          <a:prstGeom prst="rect">
            <a:avLst/>
          </a:prstGeom>
        </p:spPr>
        <p:txBody>
          <a:bodyPr/>
          <a:lstStyle>
            <a:lvl1pPr>
              <a:spcBef>
                <a:spcPts val="1433"/>
              </a:spcBef>
              <a:buClr>
                <a:schemeClr val="tx1"/>
              </a:buClr>
              <a:buSzPct val="80000"/>
              <a:defRPr sz="2667">
                <a:latin typeface="CiscoSansTT Light" panose="020B0503020201020303" pitchFamily="34" charset="0"/>
              </a:defRPr>
            </a:lvl1pPr>
            <a:lvl2pPr marL="455073" indent="-228594">
              <a:spcBef>
                <a:spcPts val="800"/>
              </a:spcBef>
              <a:buClr>
                <a:schemeClr val="tx1"/>
              </a:buClr>
              <a:buSzPct val="80000"/>
              <a:defRPr sz="2400">
                <a:latin typeface="CiscoSansTT Light" panose="020B0503020201020303" pitchFamily="34" charset="0"/>
              </a:defRPr>
            </a:lvl2pPr>
            <a:lvl3pPr marL="681550" indent="-226478">
              <a:spcBef>
                <a:spcPts val="800"/>
              </a:spcBef>
              <a:buClr>
                <a:schemeClr val="tx1"/>
              </a:buClr>
              <a:buSzPct val="80000"/>
              <a:defRPr sz="2133">
                <a:latin typeface="CiscoSansTT Light" panose="020B0503020201020303" pitchFamily="34" charset="0"/>
              </a:defRPr>
            </a:lvl3pPr>
            <a:lvl4pPr>
              <a:buClr>
                <a:schemeClr val="tx1"/>
              </a:buClr>
              <a:defRPr sz="2133">
                <a:latin typeface="CiscoSansTT Light" panose="020B0503020201020303" pitchFamily="34" charset="0"/>
              </a:defRPr>
            </a:lvl4pPr>
          </a:lstStyle>
          <a:p>
            <a:pPr lvl="0"/>
            <a:r>
              <a:rPr lang="en-US"/>
              <a:t>Click to edit Master text styles</a:t>
            </a:r>
          </a:p>
          <a:p>
            <a:pPr lvl="1"/>
            <a:r>
              <a:rPr lang="en-US"/>
              <a:t>Second level</a:t>
            </a:r>
          </a:p>
          <a:p>
            <a:pPr lvl="2"/>
            <a:r>
              <a:rPr lang="en-US"/>
              <a:t>Third level</a:t>
            </a:r>
          </a:p>
        </p:txBody>
      </p:sp>
      <p:sp>
        <p:nvSpPr>
          <p:cNvPr id="24" name="Rectangle 4">
            <a:extLst>
              <a:ext uri="{FF2B5EF4-FFF2-40B4-BE49-F238E27FC236}">
                <a16:creationId xmlns:a16="http://schemas.microsoft.com/office/drawing/2014/main" id="{AED59B0F-C472-469F-8983-6C5A6F04ED5F}"/>
              </a:ext>
            </a:extLst>
          </p:cNvPr>
          <p:cNvSpPr>
            <a:spLocks noChangeArrowheads="1"/>
          </p:cNvSpPr>
          <p:nvPr/>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8  Cisco and/or its affiliates. All rights reserved.   Cisco Public</a:t>
            </a:r>
          </a:p>
        </p:txBody>
      </p:sp>
      <p:sp>
        <p:nvSpPr>
          <p:cNvPr id="25" name="TextBox 24">
            <a:extLst>
              <a:ext uri="{FF2B5EF4-FFF2-40B4-BE49-F238E27FC236}">
                <a16:creationId xmlns:a16="http://schemas.microsoft.com/office/drawing/2014/main" id="{B810A9CF-C747-2B40-A1E3-3B19743F3386}"/>
              </a:ext>
            </a:extLst>
          </p:cNvPr>
          <p:cNvSpPr txBox="1"/>
          <p:nvPr/>
        </p:nvSpPr>
        <p:spPr>
          <a:xfrm>
            <a:off x="5783255" y="6577313"/>
            <a:ext cx="625491" cy="256545"/>
          </a:xfrm>
          <a:prstGeom prst="rect">
            <a:avLst/>
          </a:prstGeom>
          <a:noFill/>
        </p:spPr>
        <p:txBody>
          <a:bodyPr wrap="none" rtlCol="0" anchor="b">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CLUS</a:t>
            </a:r>
          </a:p>
        </p:txBody>
      </p:sp>
      <p:sp>
        <p:nvSpPr>
          <p:cNvPr id="27"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40" name="Freeform 1">
            <a:extLst>
              <a:ext uri="{FF2B5EF4-FFF2-40B4-BE49-F238E27FC236}">
                <a16:creationId xmlns:a16="http://schemas.microsoft.com/office/drawing/2014/main" id="{55C743F1-7825-490A-9D55-CF909A54ADCA}"/>
              </a:ext>
            </a:extLst>
          </p:cNvPr>
          <p:cNvSpPr>
            <a:spLocks noChangeAspect="1" noChangeArrowheads="1"/>
          </p:cNvSpPr>
          <p:nvPr/>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dirty="0">
              <a:latin typeface="CiscoSansTT Light" panose="020B0503020201020303" pitchFamily="34" charset="0"/>
            </a:endParaRPr>
          </a:p>
        </p:txBody>
      </p:sp>
      <p:sp>
        <p:nvSpPr>
          <p:cNvPr id="10" name="Footer Placeholder 2"/>
          <p:cNvSpPr>
            <a:spLocks noGrp="1"/>
          </p:cNvSpPr>
          <p:nvPr>
            <p:ph type="ftr" sz="quarter" idx="3"/>
          </p:nvPr>
        </p:nvSpPr>
        <p:spPr>
          <a:xfrm>
            <a:off x="6963378" y="6616601"/>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chemeClr val="tx1"/>
                </a:solidFill>
                <a:latin typeface="CiscoSansTT Light" panose="020B0503020201020303" pitchFamily="34" charset="0"/>
                <a:cs typeface="CiscoSansTT Light" panose="020B0503020201020303" pitchFamily="34" charset="0"/>
              </a:defRPr>
            </a:lvl1pPr>
          </a:lstStyle>
          <a:p>
            <a:pPr defTabSz="814305"/>
            <a:r>
              <a:rPr lang="en-US"/>
              <a:t>TECRST-2191</a:t>
            </a:r>
          </a:p>
        </p:txBody>
      </p:sp>
    </p:spTree>
    <p:extLst>
      <p:ext uri="{BB962C8B-B14F-4D97-AF65-F5344CB8AC3E}">
        <p14:creationId xmlns:p14="http://schemas.microsoft.com/office/powerpoint/2010/main" val="549738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Plain 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58358"/>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Light" panose="020B0503020201020303" pitchFamily="34" charset="0"/>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8" name="Text Placeholder 40"/>
          <p:cNvSpPr>
            <a:spLocks noGrp="1"/>
          </p:cNvSpPr>
          <p:nvPr>
            <p:ph type="body" sz="quarter" idx="12" hasCustomPrompt="1"/>
          </p:nvPr>
        </p:nvSpPr>
        <p:spPr>
          <a:xfrm>
            <a:off x="625995" y="5606262"/>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Light" panose="020B0503020201020303"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n-lt"/>
                <a:cs typeface="CiscoSansTT Light" panose="020B0503020201020303" pitchFamily="34" charset="0"/>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Light" panose="020B0503020201020303" pitchFamily="34" charset="0"/>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DC4B7515-111C-DD4D-8DD3-B9A4EE6326D0}"/>
              </a:ext>
            </a:extLst>
          </p:cNvPr>
          <p:cNvSpPr txBox="1"/>
          <p:nvPr/>
        </p:nvSpPr>
        <p:spPr>
          <a:xfrm>
            <a:off x="10095567" y="6259549"/>
            <a:ext cx="2081563" cy="564322"/>
          </a:xfrm>
          <a:prstGeom prst="rect">
            <a:avLst/>
          </a:prstGeom>
          <a:noFill/>
        </p:spPr>
        <p:txBody>
          <a:bodyPr wrap="square" rtlCol="0">
            <a:spAutoFit/>
          </a:bodyPr>
          <a:lstStyle/>
          <a:p>
            <a:r>
              <a:rPr lang="en-US" sz="1467" b="1" spc="200" baseline="0" dirty="0">
                <a:solidFill>
                  <a:schemeClr val="bg2"/>
                </a:solidFill>
                <a:latin typeface="+mn-lt"/>
              </a:rPr>
              <a:t>Global</a:t>
            </a:r>
          </a:p>
          <a:p>
            <a:r>
              <a:rPr lang="en-US" sz="1600" spc="200" baseline="0" dirty="0">
                <a:solidFill>
                  <a:schemeClr val="tx1">
                    <a:lumMod val="90000"/>
                    <a:lumOff val="10000"/>
                  </a:schemeClr>
                </a:solidFill>
                <a:latin typeface="+mn-lt"/>
              </a:rPr>
              <a:t>Sales Training</a:t>
            </a:r>
          </a:p>
        </p:txBody>
      </p:sp>
    </p:spTree>
    <p:extLst>
      <p:ext uri="{BB962C8B-B14F-4D97-AF65-F5344CB8AC3E}">
        <p14:creationId xmlns:p14="http://schemas.microsoft.com/office/powerpoint/2010/main" val="11806487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1"/>
            <a:ext cx="10852149" cy="663195"/>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latin typeface="+mj-lt"/>
                <a:cs typeface="Arial" panose="020B0604020202020204" pitchFamily="34" charset="0"/>
              </a:defRPr>
            </a:lvl1pPr>
          </a:lstStyle>
          <a:p>
            <a:pPr lvl="0"/>
            <a:r>
              <a:rPr lang="en-US"/>
              <a:t>Click to edit Master text styles</a:t>
            </a:r>
          </a:p>
        </p:txBody>
      </p:sp>
      <p:sp>
        <p:nvSpPr>
          <p:cNvPr id="7" name="TextBox 6">
            <a:extLst>
              <a:ext uri="{FF2B5EF4-FFF2-40B4-BE49-F238E27FC236}">
                <a16:creationId xmlns:a16="http://schemas.microsoft.com/office/drawing/2014/main" id="{B9DA77CE-84E6-094F-9416-536ED93877D4}"/>
              </a:ext>
            </a:extLst>
          </p:cNvPr>
          <p:cNvSpPr txBox="1"/>
          <p:nvPr/>
        </p:nvSpPr>
        <p:spPr>
          <a:xfrm>
            <a:off x="10095567" y="6259549"/>
            <a:ext cx="2081563" cy="564322"/>
          </a:xfrm>
          <a:prstGeom prst="rect">
            <a:avLst/>
          </a:prstGeom>
          <a:noFill/>
        </p:spPr>
        <p:txBody>
          <a:bodyPr wrap="square" rtlCol="0">
            <a:spAutoFit/>
          </a:bodyPr>
          <a:lstStyle/>
          <a:p>
            <a:r>
              <a:rPr lang="en-US" sz="1467" b="1" spc="200" baseline="0" dirty="0">
                <a:solidFill>
                  <a:srgbClr val="0070C0"/>
                </a:solidFill>
                <a:latin typeface="+mn-lt"/>
              </a:rPr>
              <a:t>Global</a:t>
            </a:r>
          </a:p>
          <a:p>
            <a:r>
              <a:rPr lang="en-US" sz="1600" spc="200" baseline="0" dirty="0">
                <a:solidFill>
                  <a:schemeClr val="tx1">
                    <a:lumMod val="90000"/>
                    <a:lumOff val="10000"/>
                  </a:schemeClr>
                </a:solidFill>
                <a:latin typeface="+mn-lt"/>
              </a:rPr>
              <a:t>Sales Training</a:t>
            </a:r>
          </a:p>
        </p:txBody>
      </p:sp>
    </p:spTree>
    <p:extLst>
      <p:ext uri="{BB962C8B-B14F-4D97-AF65-F5344CB8AC3E}">
        <p14:creationId xmlns:p14="http://schemas.microsoft.com/office/powerpoint/2010/main" val="30927577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192000"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4554946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Arial" panose="020B0604020202020204" pitchFamily="34" charset="0"/>
                <a:cs typeface="Arial" panose="020B0604020202020204" pitchFamily="34" charset="0"/>
              </a:defRPr>
            </a:lvl1pPr>
          </a:lstStyle>
          <a:p>
            <a:pPr lvl="0"/>
            <a:r>
              <a:rPr lang="en-US" noProof="0"/>
              <a:t>Click icon to add picture</a:t>
            </a:r>
            <a:endParaRPr lang="en-US" noProof="0" dirty="0"/>
          </a:p>
        </p:txBody>
      </p:sp>
      <p:sp>
        <p:nvSpPr>
          <p:cNvPr id="6" name="TextBox 5">
            <a:extLst>
              <a:ext uri="{FF2B5EF4-FFF2-40B4-BE49-F238E27FC236}">
                <a16:creationId xmlns:a16="http://schemas.microsoft.com/office/drawing/2014/main" id="{A004CF76-6304-604A-8471-6A4D37DE7261}"/>
              </a:ext>
            </a:extLst>
          </p:cNvPr>
          <p:cNvSpPr txBox="1"/>
          <p:nvPr/>
        </p:nvSpPr>
        <p:spPr>
          <a:xfrm>
            <a:off x="10095567" y="6259549"/>
            <a:ext cx="2081563" cy="564322"/>
          </a:xfrm>
          <a:prstGeom prst="rect">
            <a:avLst/>
          </a:prstGeom>
          <a:noFill/>
        </p:spPr>
        <p:txBody>
          <a:bodyPr wrap="square" rtlCol="0">
            <a:spAutoFit/>
          </a:bodyPr>
          <a:lstStyle/>
          <a:p>
            <a:r>
              <a:rPr lang="en-US" sz="1467" b="1" spc="200" baseline="0" dirty="0">
                <a:solidFill>
                  <a:srgbClr val="0070C0"/>
                </a:solidFill>
                <a:latin typeface="+mn-lt"/>
              </a:rPr>
              <a:t>Global</a:t>
            </a:r>
          </a:p>
          <a:p>
            <a:r>
              <a:rPr lang="en-US" sz="1600" spc="200" baseline="0" dirty="0">
                <a:solidFill>
                  <a:schemeClr val="tx1">
                    <a:lumMod val="90000"/>
                    <a:lumOff val="10000"/>
                  </a:schemeClr>
                </a:solidFill>
                <a:latin typeface="+mn-lt"/>
              </a:rPr>
              <a:t>Sales Training</a:t>
            </a:r>
          </a:p>
        </p:txBody>
      </p:sp>
    </p:spTree>
    <p:extLst>
      <p:ext uri="{BB962C8B-B14F-4D97-AF65-F5344CB8AC3E}">
        <p14:creationId xmlns:p14="http://schemas.microsoft.com/office/powerpoint/2010/main" val="26647531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
        <p:nvSpPr>
          <p:cNvPr id="8" name="TextBox 7">
            <a:extLst>
              <a:ext uri="{FF2B5EF4-FFF2-40B4-BE49-F238E27FC236}">
                <a16:creationId xmlns:a16="http://schemas.microsoft.com/office/drawing/2014/main" id="{0B0D31AE-34A2-434C-822F-4B1BAF8BE43A}"/>
              </a:ext>
            </a:extLst>
          </p:cNvPr>
          <p:cNvSpPr txBox="1"/>
          <p:nvPr/>
        </p:nvSpPr>
        <p:spPr>
          <a:xfrm>
            <a:off x="10095567" y="6259549"/>
            <a:ext cx="2081563" cy="564322"/>
          </a:xfrm>
          <a:prstGeom prst="rect">
            <a:avLst/>
          </a:prstGeom>
          <a:noFill/>
        </p:spPr>
        <p:txBody>
          <a:bodyPr wrap="square" rtlCol="0">
            <a:spAutoFit/>
          </a:bodyPr>
          <a:lstStyle/>
          <a:p>
            <a:r>
              <a:rPr lang="en-US" sz="1467" b="1" spc="200" baseline="0" dirty="0">
                <a:solidFill>
                  <a:schemeClr val="bg2"/>
                </a:solidFill>
                <a:latin typeface="+mn-lt"/>
              </a:rPr>
              <a:t>Global</a:t>
            </a:r>
          </a:p>
          <a:p>
            <a:r>
              <a:rPr lang="en-US" sz="1600" spc="200" baseline="0" dirty="0">
                <a:solidFill>
                  <a:schemeClr val="tx1">
                    <a:lumMod val="90000"/>
                    <a:lumOff val="10000"/>
                  </a:schemeClr>
                </a:solidFill>
                <a:latin typeface="+mn-lt"/>
              </a:rPr>
              <a:t>Sales Training</a:t>
            </a:r>
          </a:p>
        </p:txBody>
      </p:sp>
    </p:spTree>
    <p:extLst>
      <p:ext uri="{BB962C8B-B14F-4D97-AF65-F5344CB8AC3E}">
        <p14:creationId xmlns:p14="http://schemas.microsoft.com/office/powerpoint/2010/main" val="41119611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9527206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NAP Prime 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164405"/>
            <a:ext cx="11036459" cy="4956996"/>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Arial" panose="020B0604020202020204" pitchFamily="34" charset="0"/>
                <a:cs typeface="Arial" panose="020B0604020202020204" pitchFamily="34"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Arial" panose="020B0604020202020204" pitchFamily="34" charset="0"/>
                <a:cs typeface="Arial" panose="020B0604020202020204" pitchFamily="34" charset="0"/>
              </a:defRPr>
            </a:lvl2pPr>
            <a:lvl3pPr marL="914377" indent="-146047">
              <a:buClr>
                <a:schemeClr val="tx1"/>
              </a:buClr>
              <a:buSzPct val="80000"/>
              <a:buFont typeface="Arial"/>
              <a:buChar char="•"/>
              <a:defRPr sz="2133" b="0" i="0">
                <a:solidFill>
                  <a:schemeClr val="tx1"/>
                </a:solidFill>
                <a:latin typeface="+mn-lt"/>
                <a:ea typeface="Arial" panose="020B0604020202020204" pitchFamily="34" charset="0"/>
                <a:cs typeface="Arial" panose="020B0604020202020204" pitchFamily="34" charset="0"/>
              </a:defRPr>
            </a:lvl3pPr>
            <a:lvl4pPr marL="1214683" indent="-228548">
              <a:buClr>
                <a:schemeClr val="tx1"/>
              </a:buClr>
              <a:buSzPct val="80000"/>
              <a:buFont typeface="Arial"/>
              <a:buChar char="•"/>
              <a:defRPr sz="1867" b="0" i="0">
                <a:solidFill>
                  <a:schemeClr val="tx1"/>
                </a:solidFill>
                <a:latin typeface="+mn-lt"/>
                <a:ea typeface="Arial" panose="020B0604020202020204" pitchFamily="34" charset="0"/>
                <a:cs typeface="Arial" panose="020B0604020202020204" pitchFamily="34" charset="0"/>
              </a:defRPr>
            </a:lvl4pPr>
            <a:lvl5pPr marL="1443231" indent="-224314">
              <a:buClr>
                <a:schemeClr val="tx1"/>
              </a:buClr>
              <a:buSzPct val="80000"/>
              <a:buFont typeface="Arial"/>
              <a:buChar char="•"/>
              <a:defRPr sz="1600" b="0" i="0">
                <a:solidFill>
                  <a:schemeClr val="tx1"/>
                </a:solidFill>
                <a:latin typeface="+mn-lt"/>
                <a:ea typeface="Arial" panose="020B0604020202020204" pitchFamily="34" charset="0"/>
                <a:cs typeface="Arial" panose="020B060402020202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24384" y="36576"/>
            <a:ext cx="11127317" cy="865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latin typeface="+mj-lt"/>
                <a:cs typeface="Arial" panose="020B0604020202020204" pitchFamily="34" charset="0"/>
              </a:defRPr>
            </a:lvl1pPr>
          </a:lstStyle>
          <a:p>
            <a:pPr lvl="0"/>
            <a:r>
              <a:rPr lang="en-US"/>
              <a:t>Click to edit Master title style</a:t>
            </a:r>
            <a:endParaRPr lang="en-GB" dirty="0"/>
          </a:p>
        </p:txBody>
      </p:sp>
    </p:spTree>
    <p:extLst>
      <p:ext uri="{BB962C8B-B14F-4D97-AF65-F5344CB8AC3E}">
        <p14:creationId xmlns:p14="http://schemas.microsoft.com/office/powerpoint/2010/main" val="18791168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NAP 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260296"/>
            <a:ext cx="5181600" cy="4458360"/>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Arial" panose="020B0604020202020204" pitchFamily="34" charset="0"/>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Arial" panose="020B0604020202020204" pitchFamily="34" charset="0"/>
              </a:defRPr>
            </a:lvl2pPr>
            <a:lvl3pPr marL="537620" indent="-152396">
              <a:buClr>
                <a:schemeClr val="tx1"/>
              </a:buClr>
              <a:buSzPct val="60000"/>
              <a:buFont typeface="Arial"/>
              <a:buChar char="•"/>
              <a:defRPr sz="2133" b="0" i="0">
                <a:solidFill>
                  <a:schemeClr val="tx1"/>
                </a:solidFill>
                <a:latin typeface="+mn-lt"/>
                <a:cs typeface="Arial" panose="020B0604020202020204" pitchFamily="34" charset="0"/>
              </a:defRPr>
            </a:lvl3pPr>
            <a:lvl4pPr marL="690016" indent="-152396">
              <a:buClr>
                <a:schemeClr val="tx1"/>
              </a:buClr>
              <a:buSzPct val="60000"/>
              <a:buFont typeface="Arial"/>
              <a:buChar char="•"/>
              <a:defRPr sz="1867" b="0" i="0">
                <a:solidFill>
                  <a:schemeClr val="tx1"/>
                </a:solidFill>
                <a:latin typeface="+mn-lt"/>
                <a:cs typeface="Arial" panose="020B0604020202020204" pitchFamily="34" charset="0"/>
              </a:defRPr>
            </a:lvl4pPr>
            <a:lvl5pPr marL="842412" indent="-152396">
              <a:buClr>
                <a:schemeClr val="tx1"/>
              </a:buClr>
              <a:buSzPct val="60000"/>
              <a:buFont typeface="Arial"/>
              <a:buChar char="•"/>
              <a:defRPr sz="1600" b="0" i="0">
                <a:solidFill>
                  <a:schemeClr val="tx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260296"/>
            <a:ext cx="5181600" cy="4458360"/>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Arial" panose="020B0604020202020204" pitchFamily="34" charset="0"/>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Arial" panose="020B0604020202020204" pitchFamily="34" charset="0"/>
              </a:defRPr>
            </a:lvl2pPr>
            <a:lvl3pPr marL="537620" indent="-152396">
              <a:buClr>
                <a:schemeClr val="tx1"/>
              </a:buClr>
              <a:buSzPct val="60000"/>
              <a:buFont typeface="Arial"/>
              <a:buChar char="•"/>
              <a:defRPr sz="2133" b="0" i="0">
                <a:solidFill>
                  <a:schemeClr val="tx1"/>
                </a:solidFill>
                <a:latin typeface="+mn-lt"/>
                <a:cs typeface="Arial" panose="020B0604020202020204" pitchFamily="34" charset="0"/>
              </a:defRPr>
            </a:lvl3pPr>
            <a:lvl4pPr marL="690016" indent="-152396">
              <a:buClr>
                <a:schemeClr val="tx1"/>
              </a:buClr>
              <a:buSzPct val="60000"/>
              <a:buFont typeface="Arial"/>
              <a:buChar char="•"/>
              <a:defRPr sz="1867" b="0" i="0">
                <a:solidFill>
                  <a:schemeClr val="tx1"/>
                </a:solidFill>
                <a:latin typeface="+mn-lt"/>
                <a:cs typeface="Arial" panose="020B0604020202020204" pitchFamily="34" charset="0"/>
              </a:defRPr>
            </a:lvl4pPr>
            <a:lvl5pPr marL="842412" indent="-152396">
              <a:buClr>
                <a:schemeClr val="tx1"/>
              </a:buClr>
              <a:buSzPct val="60000"/>
              <a:buFont typeface="Arial"/>
              <a:buChar char="•"/>
              <a:defRPr sz="1600" b="0" i="0">
                <a:solidFill>
                  <a:schemeClr val="tx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24384" y="36576"/>
            <a:ext cx="11127317" cy="865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latin typeface="+mj-lt"/>
                <a:cs typeface="Arial" panose="020B0604020202020204" pitchFamily="34" charset="0"/>
              </a:defRPr>
            </a:lvl1pPr>
          </a:lstStyle>
          <a:p>
            <a:pPr lvl="0"/>
            <a:r>
              <a:rPr lang="en-US"/>
              <a:t>Click to edit Master title style</a:t>
            </a:r>
            <a:endParaRPr lang="en-GB" dirty="0"/>
          </a:p>
        </p:txBody>
      </p:sp>
    </p:spTree>
    <p:extLst>
      <p:ext uri="{BB962C8B-B14F-4D97-AF65-F5344CB8AC3E}">
        <p14:creationId xmlns:p14="http://schemas.microsoft.com/office/powerpoint/2010/main" val="2533043289"/>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NAP Prime Storytelling Slide">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928037"/>
            <a:ext cx="5181600" cy="3790619"/>
          </a:xfrm>
          <a:prstGeom prst="rect">
            <a:avLst/>
          </a:prstGeom>
        </p:spPr>
        <p:txBody>
          <a:bodyPr lIns="0" tIns="45710" rIns="0" bIns="45710" anchor="ctr" anchorCtr="0">
            <a:noAutofit/>
          </a:bodyPr>
          <a:lstStyle>
            <a:lvl1pPr marL="232828" indent="-156629" algn="l">
              <a:lnSpc>
                <a:spcPct val="95000"/>
              </a:lnSpc>
              <a:spcBef>
                <a:spcPts val="1480"/>
              </a:spcBef>
              <a:buClr>
                <a:schemeClr val="tx1"/>
              </a:buClr>
              <a:buSzPct val="60000"/>
              <a:buFont typeface="Arial"/>
              <a:buChar char="•"/>
              <a:defRPr sz="2667" b="0" i="0">
                <a:solidFill>
                  <a:schemeClr val="tx1"/>
                </a:solidFill>
                <a:latin typeface="+mn-lt"/>
                <a:cs typeface="Arial" panose="020B0604020202020204" pitchFamily="34" charset="0"/>
              </a:defRPr>
            </a:lvl1pPr>
            <a:lvl2pPr marL="385224" indent="-152396" algn="l">
              <a:lnSpc>
                <a:spcPct val="95000"/>
              </a:lnSpc>
              <a:spcBef>
                <a:spcPts val="600"/>
              </a:spcBef>
              <a:buClr>
                <a:schemeClr val="tx1"/>
              </a:buClr>
              <a:buSzPct val="60000"/>
              <a:buFont typeface="Arial"/>
              <a:buChar char="•"/>
              <a:defRPr sz="2400" b="0" i="0">
                <a:solidFill>
                  <a:schemeClr val="tx1"/>
                </a:solidFill>
                <a:latin typeface="+mn-lt"/>
                <a:cs typeface="Arial" panose="020B0604020202020204" pitchFamily="34" charset="0"/>
              </a:defRPr>
            </a:lvl2pPr>
            <a:lvl3pPr marL="537620" indent="-152396" algn="l">
              <a:buClr>
                <a:schemeClr val="tx1"/>
              </a:buClr>
              <a:buSzPct val="60000"/>
              <a:buFont typeface="Arial"/>
              <a:buChar char="•"/>
              <a:defRPr sz="2133" b="0" i="0">
                <a:solidFill>
                  <a:schemeClr val="tx1"/>
                </a:solidFill>
                <a:latin typeface="+mn-lt"/>
                <a:cs typeface="Arial" panose="020B0604020202020204" pitchFamily="34" charset="0"/>
              </a:defRPr>
            </a:lvl3pPr>
            <a:lvl4pPr marL="690016" indent="-152396" algn="l">
              <a:buClr>
                <a:schemeClr val="tx1"/>
              </a:buClr>
              <a:buSzPct val="60000"/>
              <a:buFont typeface="Arial"/>
              <a:buChar char="•"/>
              <a:defRPr sz="1867" b="0" i="0">
                <a:solidFill>
                  <a:schemeClr val="tx1"/>
                </a:solidFill>
                <a:latin typeface="+mn-lt"/>
                <a:cs typeface="Arial" panose="020B0604020202020204" pitchFamily="34" charset="0"/>
              </a:defRPr>
            </a:lvl4pPr>
            <a:lvl5pPr marL="842412" indent="-152396" algn="l">
              <a:buClr>
                <a:schemeClr val="tx1"/>
              </a:buClr>
              <a:buSzPct val="60000"/>
              <a:buFont typeface="Arial"/>
              <a:buChar char="•"/>
              <a:defRPr sz="1600" b="0" i="0">
                <a:solidFill>
                  <a:schemeClr val="tx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260296"/>
            <a:ext cx="5181600" cy="4458360"/>
          </a:xfrm>
          <a:prstGeom prst="rect">
            <a:avLst/>
          </a:prstGeom>
        </p:spPr>
        <p:txBody>
          <a:bodyPr lIns="0" tIns="45710" rIns="0" bIns="45710" anchor="ctr" anchorCtr="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Arial" panose="020B0604020202020204" pitchFamily="34" charset="0"/>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Arial" panose="020B0604020202020204" pitchFamily="34" charset="0"/>
              </a:defRPr>
            </a:lvl2pPr>
            <a:lvl3pPr marL="537620" indent="-152396">
              <a:buClr>
                <a:schemeClr val="tx1"/>
              </a:buClr>
              <a:buSzPct val="60000"/>
              <a:buFont typeface="Arial"/>
              <a:buChar char="•"/>
              <a:defRPr sz="2133" b="0" i="0">
                <a:solidFill>
                  <a:schemeClr val="tx1"/>
                </a:solidFill>
                <a:latin typeface="+mn-lt"/>
                <a:cs typeface="Arial" panose="020B0604020202020204" pitchFamily="34" charset="0"/>
              </a:defRPr>
            </a:lvl3pPr>
            <a:lvl4pPr marL="690016" indent="-152396">
              <a:buClr>
                <a:schemeClr val="tx1"/>
              </a:buClr>
              <a:buSzPct val="60000"/>
              <a:buFont typeface="Arial"/>
              <a:buChar char="•"/>
              <a:defRPr sz="1867" b="0" i="0">
                <a:solidFill>
                  <a:schemeClr val="tx1"/>
                </a:solidFill>
                <a:latin typeface="+mn-lt"/>
                <a:cs typeface="Arial" panose="020B0604020202020204" pitchFamily="34" charset="0"/>
              </a:defRPr>
            </a:lvl4pPr>
            <a:lvl5pPr marL="842412" indent="-152396">
              <a:buClr>
                <a:schemeClr val="tx1"/>
              </a:buClr>
              <a:buSzPct val="60000"/>
              <a:buFont typeface="Arial"/>
              <a:buChar char="•"/>
              <a:defRPr sz="1600" b="0" i="0">
                <a:solidFill>
                  <a:schemeClr val="tx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hasCustomPrompt="1"/>
          </p:nvPr>
        </p:nvSpPr>
        <p:spPr bwMode="auto">
          <a:xfrm>
            <a:off x="711199" y="688705"/>
            <a:ext cx="5181600" cy="865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latin typeface="+mn-lt"/>
                <a:cs typeface="Arial" panose="020B0604020202020204" pitchFamily="34" charset="0"/>
              </a:defRPr>
            </a:lvl1pPr>
          </a:lstStyle>
          <a:p>
            <a:pPr lvl="0"/>
            <a:r>
              <a:rPr lang="en-US" dirty="0"/>
              <a:t>Master title style</a:t>
            </a:r>
            <a:endParaRPr lang="en-GB" dirty="0"/>
          </a:p>
        </p:txBody>
      </p:sp>
      <p:cxnSp>
        <p:nvCxnSpPr>
          <p:cNvPr id="6" name="Straight Connector 5"/>
          <p:cNvCxnSpPr/>
          <p:nvPr/>
        </p:nvCxnSpPr>
        <p:spPr>
          <a:xfrm>
            <a:off x="6146800"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0780942"/>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nap 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24384" y="36576"/>
            <a:ext cx="11127317" cy="865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124921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65429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164405"/>
            <a:ext cx="10820400" cy="4177617"/>
          </a:xfrm>
          <a:prstGeom prst="rect">
            <a:avLst/>
          </a:prstGeom>
        </p:spPr>
        <p:txBody>
          <a:bodyPr lIns="91420" tIns="45710" rIns="91420" bIns="45710">
            <a:noAutofit/>
          </a:bodyPr>
          <a:lstStyle>
            <a:lvl1pPr marL="0" indent="0" algn="ctr">
              <a:buNone/>
              <a:defRPr sz="2667" baseline="0">
                <a:solidFill>
                  <a:schemeClr val="tx1"/>
                </a:solidFill>
                <a:latin typeface="Arial" panose="020B0604020202020204" pitchFamily="34" charset="0"/>
                <a:cs typeface="Arial" panose="020B0604020202020204" pitchFamily="34" charset="0"/>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Arial" panose="020B0604020202020204" pitchFamily="34" charset="0"/>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24384" y="36576"/>
            <a:ext cx="11127317" cy="865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latin typeface="+mj-lt"/>
                <a:cs typeface="Arial" panose="020B0604020202020204" pitchFamily="34" charset="0"/>
              </a:defRPr>
            </a:lvl1pPr>
          </a:lstStyle>
          <a:p>
            <a:pPr lvl="0"/>
            <a:r>
              <a:rPr lang="en-US"/>
              <a:t>Click to edit Master title style</a:t>
            </a:r>
            <a:endParaRPr lang="en-GB" dirty="0"/>
          </a:p>
        </p:txBody>
      </p:sp>
    </p:spTree>
    <p:extLst>
      <p:ext uri="{BB962C8B-B14F-4D97-AF65-F5344CB8AC3E}">
        <p14:creationId xmlns:p14="http://schemas.microsoft.com/office/powerpoint/2010/main" val="36820423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NAP Prime Agenda Slide">
    <p:spTree>
      <p:nvGrpSpPr>
        <p:cNvPr id="1" name=""/>
        <p:cNvGrpSpPr/>
        <p:nvPr/>
      </p:nvGrpSpPr>
      <p:grpSpPr>
        <a:xfrm>
          <a:off x="0" y="0"/>
          <a:ext cx="0" cy="0"/>
          <a:chOff x="0" y="0"/>
          <a:chExt cx="0" cy="0"/>
        </a:xfrm>
      </p:grpSpPr>
      <p:cxnSp>
        <p:nvCxnSpPr>
          <p:cNvPr id="5" name="Straight Connector 4"/>
          <p:cNvCxnSpPr/>
          <p:nvPr/>
        </p:nvCxnSpPr>
        <p:spPr>
          <a:xfrm>
            <a:off x="6146800"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618351" y="1918747"/>
            <a:ext cx="5093797" cy="3020519"/>
          </a:xfrm>
        </p:spPr>
        <p:txBody>
          <a:bodyPr lIns="61715" tIns="34288" rIns="61715" bIns="34288" rtlCol="0">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4267" b="0" kern="1200" spc="0" baseline="0" dirty="0">
                <a:solidFill>
                  <a:schemeClr val="bg1"/>
                </a:solidFill>
                <a:latin typeface="+mj-lt"/>
                <a:ea typeface="+mj-ea"/>
                <a:cs typeface="Arial" panose="020B0604020202020204" pitchFamily="34" charset="0"/>
              </a:defRPr>
            </a:lvl1pPr>
          </a:lstStyle>
          <a:p>
            <a:r>
              <a:rPr lang="en-US"/>
              <a:t>Click to edit Master title style</a:t>
            </a:r>
            <a:endParaRPr lang="en-US" dirty="0"/>
          </a:p>
        </p:txBody>
      </p:sp>
      <p:sp>
        <p:nvSpPr>
          <p:cNvPr id="9" name="Text Placeholder 3"/>
          <p:cNvSpPr>
            <a:spLocks noGrp="1"/>
          </p:cNvSpPr>
          <p:nvPr>
            <p:ph type="body" sz="quarter" idx="11"/>
          </p:nvPr>
        </p:nvSpPr>
        <p:spPr>
          <a:xfrm>
            <a:off x="6563360" y="872691"/>
            <a:ext cx="5154507" cy="5120640"/>
          </a:xfrm>
          <a:prstGeom prst="rect">
            <a:avLst/>
          </a:prstGeom>
        </p:spPr>
        <p:txBody>
          <a:bodyPr lIns="91420" tIns="45710" rIns="91420" bIns="45710" anchor="ctr" anchorCtr="0">
            <a:noAutofit/>
          </a:bodyPr>
          <a:lstStyle>
            <a:lvl1pPr marL="0" indent="0">
              <a:buFontTx/>
              <a:buNone/>
              <a:defRPr sz="2133" baseline="0">
                <a:solidFill>
                  <a:schemeClr val="tx1"/>
                </a:solidFill>
                <a:latin typeface="+mn-lt"/>
                <a:cs typeface="Arial" panose="020B0604020202020204" pitchFamily="34" charset="0"/>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3452000386"/>
      </p:ext>
    </p:extLst>
  </p:cSld>
  <p:clrMapOvr>
    <a:masterClrMapping/>
  </p:clrMapOvr>
  <p:transition spd="slow">
    <p:wip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156997"/>
            <a:ext cx="10820400" cy="4189705"/>
          </a:xfrm>
          <a:prstGeom prst="rect">
            <a:avLst/>
          </a:prstGeom>
        </p:spPr>
        <p:txBody>
          <a:bodyPr vert="horz" lIns="91420" tIns="45710" rIns="91420" bIns="45710">
            <a:noAutofit/>
          </a:bodyPr>
          <a:lstStyle>
            <a:lvl1pPr marL="0" indent="0" algn="ctr">
              <a:buNone/>
              <a:defRPr sz="2667" b="0" i="0">
                <a:solidFill>
                  <a:schemeClr val="tx1"/>
                </a:solidFill>
                <a:latin typeface="Arial" panose="020B0604020202020204" pitchFamily="34" charset="0"/>
                <a:cs typeface="Arial" panose="020B0604020202020204" pitchFamily="34" charset="0"/>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Arial" panose="020B0604020202020204" pitchFamily="34" charset="0"/>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24384" y="36576"/>
            <a:ext cx="11127317" cy="865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j-lt"/>
                <a:cs typeface="Arial" panose="020B0604020202020204" pitchFamily="34" charset="0"/>
              </a:defRPr>
            </a:lvl1pPr>
          </a:lstStyle>
          <a:p>
            <a:pPr lvl="0"/>
            <a:r>
              <a:rPr lang="en-US"/>
              <a:t>Click to edit Master title style</a:t>
            </a:r>
            <a:endParaRPr lang="en-GB" dirty="0"/>
          </a:p>
        </p:txBody>
      </p:sp>
    </p:spTree>
    <p:extLst>
      <p:ext uri="{BB962C8B-B14F-4D97-AF65-F5344CB8AC3E}">
        <p14:creationId xmlns:p14="http://schemas.microsoft.com/office/powerpoint/2010/main" val="6657882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194319"/>
            <a:ext cx="11040076" cy="4701327"/>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Title Placeholder 5"/>
          <p:cNvSpPr>
            <a:spLocks noGrp="1"/>
          </p:cNvSpPr>
          <p:nvPr>
            <p:ph type="title"/>
          </p:nvPr>
        </p:nvSpPr>
        <p:spPr bwMode="auto">
          <a:xfrm>
            <a:off x="24384" y="36576"/>
            <a:ext cx="11127317" cy="8656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latin typeface="+mj-lt"/>
                <a:cs typeface="Arial" panose="020B0604020202020204" pitchFamily="34" charset="0"/>
              </a:defRPr>
            </a:lvl1pPr>
          </a:lstStyle>
          <a:p>
            <a:pPr lvl="0"/>
            <a:r>
              <a:rPr lang="en-US"/>
              <a:t>Click to edit Master title style</a:t>
            </a:r>
            <a:endParaRPr lang="en-GB" dirty="0"/>
          </a:p>
        </p:txBody>
      </p:sp>
    </p:spTree>
    <p:extLst>
      <p:ext uri="{BB962C8B-B14F-4D97-AF65-F5344CB8AC3E}">
        <p14:creationId xmlns:p14="http://schemas.microsoft.com/office/powerpoint/2010/main" val="555105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Arial" panose="020B0604020202020204" pitchFamily="34" charset="0"/>
                <a:cs typeface="Arial" panose="020B0604020202020204" pitchFamily="34"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Arial" panose="020B0604020202020204" pitchFamily="34" charset="0"/>
                <a:cs typeface="Arial" panose="020B0604020202020204" pitchFamily="34" charset="0"/>
              </a:defRPr>
            </a:lvl2pPr>
            <a:lvl3pPr marL="537620" indent="-152396">
              <a:buClr>
                <a:schemeClr val="tx2"/>
              </a:buClr>
              <a:buSzPct val="60000"/>
              <a:buFont typeface="Arial"/>
              <a:buChar char="•"/>
              <a:defRPr sz="2133" b="0" i="0">
                <a:solidFill>
                  <a:schemeClr val="bg1"/>
                </a:solidFill>
                <a:latin typeface="+mn-lt"/>
                <a:ea typeface="Arial" panose="020B0604020202020204" pitchFamily="34" charset="0"/>
                <a:cs typeface="Arial" panose="020B0604020202020204" pitchFamily="34" charset="0"/>
              </a:defRPr>
            </a:lvl3pPr>
            <a:lvl4pPr marL="690016" indent="-152396">
              <a:buClr>
                <a:schemeClr val="tx2"/>
              </a:buClr>
              <a:buSzPct val="60000"/>
              <a:buFont typeface="Arial"/>
              <a:buChar char="•"/>
              <a:defRPr sz="1867" b="0" i="0">
                <a:solidFill>
                  <a:schemeClr val="bg1"/>
                </a:solidFill>
                <a:latin typeface="+mn-lt"/>
                <a:ea typeface="Arial" panose="020B0604020202020204" pitchFamily="34" charset="0"/>
                <a:cs typeface="Arial" panose="020B0604020202020204" pitchFamily="34" charset="0"/>
              </a:defRPr>
            </a:lvl4pPr>
            <a:lvl5pPr marL="842412" indent="-152396">
              <a:buClr>
                <a:schemeClr val="tx2"/>
              </a:buClr>
              <a:buSzPct val="60000"/>
              <a:buFont typeface="Arial"/>
              <a:buChar char="•"/>
              <a:defRPr sz="1600" b="0" i="0">
                <a:solidFill>
                  <a:schemeClr val="bg1"/>
                </a:solidFill>
                <a:latin typeface="+mn-lt"/>
                <a:ea typeface="Arial" panose="020B0604020202020204" pitchFamily="34" charset="0"/>
                <a:cs typeface="Arial" panose="020B060402020202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solidFill>
                <a:latin typeface="+mj-lt"/>
                <a:cs typeface="Arial" panose="020B0604020202020204" pitchFamily="34"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1950776706"/>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3229192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5217" y="2889504"/>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Arial" panose="020B0604020202020204" pitchFamily="34"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atin typeface="+mn-lt"/>
                <a:cs typeface="Arial" panose="020B0604020202020204" pitchFamily="34" charset="0"/>
              </a:defRPr>
            </a:lvl1pPr>
            <a:lvl2pPr marL="461422" indent="-228594">
              <a:lnSpc>
                <a:spcPct val="100000"/>
              </a:lnSpc>
              <a:buClr>
                <a:schemeClr val="tx1"/>
              </a:buClr>
              <a:buSzPct val="60000"/>
              <a:buFont typeface="Arial" panose="020B0604020202020204" pitchFamily="34" charset="0"/>
              <a:buChar char="•"/>
              <a:defRPr sz="2933">
                <a:latin typeface="+mn-lt"/>
                <a:cs typeface="Arial" panose="020B0604020202020204" pitchFamily="34" charset="0"/>
              </a:defRPr>
            </a:lvl2pPr>
            <a:lvl3pPr marL="609585" indent="-156629">
              <a:lnSpc>
                <a:spcPct val="100000"/>
              </a:lnSpc>
              <a:buClr>
                <a:schemeClr val="tx1"/>
              </a:buClr>
              <a:buSzPct val="60000"/>
              <a:buFont typeface="Arial" panose="020B0604020202020204" pitchFamily="34" charset="0"/>
              <a:buChar char="•"/>
              <a:defRPr sz="2667">
                <a:latin typeface="+mn-lt"/>
                <a:cs typeface="Arial" panose="020B0604020202020204" pitchFamily="34" charset="0"/>
              </a:defRPr>
            </a:lvl3pPr>
            <a:lvl4pPr marL="766214" indent="-156629">
              <a:lnSpc>
                <a:spcPct val="100000"/>
              </a:lnSpc>
              <a:buClr>
                <a:schemeClr val="tx1"/>
              </a:buClr>
              <a:buSzPct val="60000"/>
              <a:buFont typeface="Arial" panose="020B0604020202020204" pitchFamily="34" charset="0"/>
              <a:buChar char="•"/>
              <a:tabLst/>
              <a:defRPr sz="2400">
                <a:latin typeface="+mn-lt"/>
                <a:cs typeface="Arial" panose="020B0604020202020204" pitchFamily="34" charset="0"/>
              </a:defRPr>
            </a:lvl4pPr>
            <a:lvl5pPr marL="992693" indent="-150280">
              <a:lnSpc>
                <a:spcPct val="100000"/>
              </a:lnSpc>
              <a:buClr>
                <a:schemeClr val="tx1"/>
              </a:buClr>
              <a:buSzPct val="60000"/>
              <a:buFont typeface="Arial" panose="020B0604020202020204" pitchFamily="34" charset="0"/>
              <a:buChar char="•"/>
              <a:defRPr sz="2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226028664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89" y="695589"/>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Arial" panose="020B0604020202020204" pitchFamily="34"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atin typeface="+mn-lt"/>
                <a:cs typeface="Arial" panose="020B0604020202020204" pitchFamily="34" charset="0"/>
              </a:defRPr>
            </a:lvl1pPr>
            <a:lvl2pPr marL="304792" indent="-152396">
              <a:lnSpc>
                <a:spcPct val="100000"/>
              </a:lnSpc>
              <a:buClr>
                <a:schemeClr val="tx1"/>
              </a:buClr>
              <a:buSzPct val="60000"/>
              <a:defRPr sz="2667">
                <a:latin typeface="+mn-lt"/>
                <a:cs typeface="Arial" panose="020B0604020202020204" pitchFamily="34" charset="0"/>
              </a:defRPr>
            </a:lvl2pPr>
            <a:lvl3pPr marL="457189" indent="-152396">
              <a:lnSpc>
                <a:spcPct val="100000"/>
              </a:lnSpc>
              <a:buClr>
                <a:schemeClr val="tx1"/>
              </a:buClr>
              <a:buSzPct val="60000"/>
              <a:defRPr sz="2400">
                <a:latin typeface="+mn-lt"/>
                <a:cs typeface="Arial" panose="020B0604020202020204" pitchFamily="34" charset="0"/>
              </a:defRPr>
            </a:lvl3pPr>
            <a:lvl4pPr marL="609585" indent="-165096">
              <a:lnSpc>
                <a:spcPct val="100000"/>
              </a:lnSpc>
              <a:buClr>
                <a:schemeClr val="tx1"/>
              </a:buClr>
              <a:buSzPct val="60000"/>
              <a:defRPr sz="2133">
                <a:latin typeface="+mn-lt"/>
                <a:cs typeface="Arial" panose="020B0604020202020204" pitchFamily="34" charset="0"/>
              </a:defRPr>
            </a:lvl4pPr>
            <a:lvl5pPr marL="766214" indent="-156629">
              <a:lnSpc>
                <a:spcPct val="100000"/>
              </a:lnSpc>
              <a:buClr>
                <a:schemeClr val="tx1"/>
              </a:buClr>
              <a:buSzPct val="60000"/>
              <a:defRPr sz="2133">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Arial" panose="020B0604020202020204" pitchFamily="34" charset="0"/>
              </a:defRPr>
            </a:lvl1pPr>
            <a:lvl2pPr marL="304792" indent="-152396">
              <a:buClr>
                <a:schemeClr val="tx2"/>
              </a:buClr>
              <a:buSzPct val="60000"/>
              <a:defRPr sz="2667">
                <a:solidFill>
                  <a:schemeClr val="bg1"/>
                </a:solidFill>
                <a:latin typeface="+mn-lt"/>
                <a:cs typeface="Arial" panose="020B0604020202020204" pitchFamily="34" charset="0"/>
              </a:defRPr>
            </a:lvl2pPr>
            <a:lvl3pPr marL="457189" indent="-152396">
              <a:buClr>
                <a:schemeClr val="tx2"/>
              </a:buClr>
              <a:buSzPct val="60000"/>
              <a:defRPr sz="2400">
                <a:solidFill>
                  <a:schemeClr val="bg1"/>
                </a:solidFill>
                <a:latin typeface="+mn-lt"/>
                <a:cs typeface="Arial" panose="020B0604020202020204" pitchFamily="34" charset="0"/>
              </a:defRPr>
            </a:lvl3pPr>
            <a:lvl4pPr marL="609585" indent="-165096">
              <a:buClr>
                <a:schemeClr val="tx2"/>
              </a:buClr>
              <a:buSzPct val="60000"/>
              <a:defRPr sz="2133">
                <a:solidFill>
                  <a:schemeClr val="bg1"/>
                </a:solidFill>
                <a:latin typeface="+mn-lt"/>
                <a:cs typeface="Arial" panose="020B0604020202020204" pitchFamily="34" charset="0"/>
              </a:defRPr>
            </a:lvl4pPr>
            <a:lvl5pPr marL="766214" indent="-156629">
              <a:buClr>
                <a:schemeClr val="tx2"/>
              </a:buClr>
              <a:buSzPct val="60000"/>
              <a:defRPr sz="2133">
                <a:solidFill>
                  <a:schemeClr val="bg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3515131256"/>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Headline with 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Arial" panose="020B0604020202020204" pitchFamily="34"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nchor="ctr" anchorCtr="0"/>
          <a:lstStyle>
            <a:lvl1pPr marL="152396" indent="-152396">
              <a:lnSpc>
                <a:spcPct val="100000"/>
              </a:lnSpc>
              <a:buClr>
                <a:schemeClr val="tx1"/>
              </a:buClr>
              <a:buSzPct val="60000"/>
              <a:defRPr sz="2667">
                <a:latin typeface="+mn-lt"/>
                <a:cs typeface="Arial" panose="020B0604020202020204" pitchFamily="34" charset="0"/>
              </a:defRPr>
            </a:lvl1pPr>
            <a:lvl2pPr marL="304792" indent="-152396">
              <a:lnSpc>
                <a:spcPct val="100000"/>
              </a:lnSpc>
              <a:buClr>
                <a:schemeClr val="tx1"/>
              </a:buClr>
              <a:buSzPct val="60000"/>
              <a:defRPr sz="2667">
                <a:latin typeface="+mn-lt"/>
                <a:cs typeface="Arial" panose="020B0604020202020204" pitchFamily="34" charset="0"/>
              </a:defRPr>
            </a:lvl2pPr>
            <a:lvl3pPr marL="457189" indent="-152396">
              <a:lnSpc>
                <a:spcPct val="100000"/>
              </a:lnSpc>
              <a:buClr>
                <a:schemeClr val="tx1"/>
              </a:buClr>
              <a:buSzPct val="60000"/>
              <a:defRPr sz="2400">
                <a:latin typeface="+mn-lt"/>
                <a:cs typeface="Arial" panose="020B0604020202020204" pitchFamily="34" charset="0"/>
              </a:defRPr>
            </a:lvl3pPr>
            <a:lvl4pPr marL="609585" indent="-165096">
              <a:lnSpc>
                <a:spcPct val="100000"/>
              </a:lnSpc>
              <a:buClr>
                <a:schemeClr val="tx1"/>
              </a:buClr>
              <a:buSzPct val="60000"/>
              <a:defRPr sz="2133">
                <a:latin typeface="+mn-lt"/>
                <a:cs typeface="Arial" panose="020B0604020202020204" pitchFamily="34" charset="0"/>
              </a:defRPr>
            </a:lvl4pPr>
            <a:lvl5pPr marL="766214" indent="-156629">
              <a:lnSpc>
                <a:spcPct val="100000"/>
              </a:lnSpc>
              <a:buClr>
                <a:schemeClr val="tx1"/>
              </a:buClr>
              <a:buSzPct val="60000"/>
              <a:defRPr sz="2133">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hasCustomPrompt="1"/>
          </p:nvPr>
        </p:nvSpPr>
        <p:spPr>
          <a:xfrm>
            <a:off x="583689" y="2213123"/>
            <a:ext cx="5078396" cy="3908277"/>
          </a:xfrm>
          <a:prstGeom prst="rect">
            <a:avLst/>
          </a:prstGeom>
        </p:spPr>
        <p:txBody>
          <a:bodyPr/>
          <a:lstStyle>
            <a:lvl1pPr marL="0" indent="0">
              <a:buClr>
                <a:schemeClr val="tx2"/>
              </a:buClr>
              <a:buSzPct val="60000"/>
              <a:buNone/>
              <a:defRPr lang="en-US" sz="3200" kern="1200" dirty="0" smtClean="0">
                <a:solidFill>
                  <a:schemeClr val="bg1"/>
                </a:solidFill>
                <a:latin typeface="+mn-lt"/>
                <a:ea typeface="ＭＳ Ｐゴシック" charset="0"/>
                <a:cs typeface="Arial" panose="020B0604020202020204" pitchFamily="34" charset="0"/>
              </a:defRPr>
            </a:lvl1pPr>
            <a:lvl2pPr marL="152396" indent="0">
              <a:buClr>
                <a:schemeClr val="tx2"/>
              </a:buClr>
              <a:buSzPct val="60000"/>
              <a:buNone/>
              <a:defRPr sz="3200">
                <a:solidFill>
                  <a:schemeClr val="bg1"/>
                </a:solidFill>
                <a:latin typeface="Arial" panose="020B0604020202020204" pitchFamily="34" charset="0"/>
                <a:cs typeface="Arial" panose="020B0604020202020204" pitchFamily="34" charset="0"/>
              </a:defRPr>
            </a:lvl2pPr>
            <a:lvl3pPr marL="304792" indent="0">
              <a:buClr>
                <a:schemeClr val="tx2"/>
              </a:buClr>
              <a:buSzPct val="60000"/>
              <a:buNone/>
              <a:defRPr sz="3200">
                <a:solidFill>
                  <a:schemeClr val="bg1"/>
                </a:solidFill>
                <a:latin typeface="Arial" panose="020B0604020202020204" pitchFamily="34" charset="0"/>
                <a:cs typeface="Arial" panose="020B0604020202020204" pitchFamily="34" charset="0"/>
              </a:defRPr>
            </a:lvl3pPr>
            <a:lvl4pPr marL="444489" indent="0">
              <a:buClr>
                <a:schemeClr val="tx2"/>
              </a:buClr>
              <a:buSzPct val="60000"/>
              <a:buNone/>
              <a:defRPr sz="3200">
                <a:solidFill>
                  <a:schemeClr val="bg1"/>
                </a:solidFill>
                <a:latin typeface="Arial" panose="020B0604020202020204" pitchFamily="34" charset="0"/>
                <a:cs typeface="Arial" panose="020B0604020202020204" pitchFamily="34" charset="0"/>
              </a:defRPr>
            </a:lvl4pPr>
            <a:lvl5pPr marL="609585" indent="0">
              <a:buClr>
                <a:schemeClr val="tx2"/>
              </a:buClr>
              <a:buSzPct val="60000"/>
              <a:buNone/>
              <a:defRPr sz="32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0"/>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2973191631"/>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89" y="2889504"/>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Arial" panose="020B0604020202020204" pitchFamily="34"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atin typeface="+mn-lt"/>
                <a:cs typeface="Arial" panose="020B0604020202020204" pitchFamily="34" charset="0"/>
              </a:defRPr>
            </a:lvl1pPr>
          </a:lstStyle>
          <a:p>
            <a:pPr lvl="0"/>
            <a:r>
              <a:rPr lang="en-US"/>
              <a:t>Click to 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103776886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89" y="2889504"/>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Arial" panose="020B0604020202020204" pitchFamily="34"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3059639256"/>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89" y="2889504"/>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Arial" panose="020B0604020202020204" pitchFamily="34"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350664904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89" y="2889504"/>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Arial" panose="020B0604020202020204" pitchFamily="34"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374166995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83689" y="2889504"/>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Arial" panose="020B0604020202020204" pitchFamily="34"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3392150809"/>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509347" y="2904372"/>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Arial" panose="020B0604020202020204" pitchFamily="34"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atin typeface="Arial" panose="020B0604020202020204" pitchFamily="34" charset="0"/>
                <a:cs typeface="Arial" panose="020B0604020202020204" pitchFamily="34" charset="0"/>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Tree>
    <p:extLst>
      <p:ext uri="{BB962C8B-B14F-4D97-AF65-F5344CB8AC3E}">
        <p14:creationId xmlns:p14="http://schemas.microsoft.com/office/powerpoint/2010/main" val="123567508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a:solidFill>
                <a:schemeClr val="bg1"/>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65898" y="6212442"/>
            <a:ext cx="1796292" cy="568961"/>
          </a:xfrm>
          <a:prstGeom prst="rect">
            <a:avLst/>
          </a:prstGeom>
        </p:spPr>
      </p:pic>
    </p:spTree>
    <p:extLst>
      <p:ext uri="{BB962C8B-B14F-4D97-AF65-F5344CB8AC3E}">
        <p14:creationId xmlns:p14="http://schemas.microsoft.com/office/powerpoint/2010/main" val="2637843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image" Target="../media/image1.png"/><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theme" Target="../theme/theme2.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8" Type="http://schemas.openxmlformats.org/officeDocument/2006/relationships/slideLayout" Target="../slideLayouts/slideLayout35.xml"/><Relationship Id="rId3"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3.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theme" Target="../theme/theme4.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theme" Target="../theme/theme5.xml"/><Relationship Id="rId5" Type="http://schemas.openxmlformats.org/officeDocument/2006/relationships/slideLayout" Target="../slideLayouts/slideLayout110.xml"/><Relationship Id="rId4" Type="http://schemas.openxmlformats.org/officeDocument/2006/relationships/slideLayout" Target="../slideLayouts/slideLayout10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slideLayout" Target="../slideLayouts/slideLayout152.xml"/><Relationship Id="rId7" Type="http://schemas.openxmlformats.org/officeDocument/2006/relationships/slideLayout" Target="../slideLayouts/slideLayout11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41" Type="http://schemas.openxmlformats.org/officeDocument/2006/relationships/slideLayout" Target="../slideLayouts/slideLayout151.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slideLayout" Target="../slideLayouts/slideLayout150.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4" Type="http://schemas.openxmlformats.org/officeDocument/2006/relationships/image" Target="../media/image6.png"/><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theme" Target="../theme/theme6.xml"/><Relationship Id="rId8" Type="http://schemas.openxmlformats.org/officeDocument/2006/relationships/slideLayout" Target="../slideLayouts/slideLayout118.xml"/><Relationship Id="rId3" Type="http://schemas.openxmlformats.org/officeDocument/2006/relationships/slideLayout" Target="../slideLayouts/slideLayout113.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55.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theme" Target="../theme/theme7.xml"/><Relationship Id="rId5" Type="http://schemas.openxmlformats.org/officeDocument/2006/relationships/slideLayout" Target="../slideLayouts/slideLayout157.xml"/><Relationship Id="rId4" Type="http://schemas.openxmlformats.org/officeDocument/2006/relationships/slideLayout" Target="../slideLayouts/slideLayout156.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60.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theme" Target="../theme/theme8.xml"/><Relationship Id="rId5" Type="http://schemas.openxmlformats.org/officeDocument/2006/relationships/slideLayout" Target="../slideLayouts/slideLayout162.xml"/><Relationship Id="rId4"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8223618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8  Cisco and/or its affiliates. All rights reserved.   Cisco Public</a:t>
            </a:r>
          </a:p>
        </p:txBody>
      </p:sp>
      <p:pic>
        <p:nvPicPr>
          <p:cNvPr id="3" name="Picture 2">
            <a:extLst>
              <a:ext uri="{FF2B5EF4-FFF2-40B4-BE49-F238E27FC236}">
                <a16:creationId xmlns:a16="http://schemas.microsoft.com/office/drawing/2014/main" id="{82FD48B3-1FCE-B649-AC6C-CD1C21D5B8E5}"/>
              </a:ext>
            </a:extLst>
          </p:cNvPr>
          <p:cNvPicPr>
            <a:picLocks noChangeAspect="1"/>
          </p:cNvPicPr>
          <p:nvPr/>
        </p:nvPicPr>
        <p:blipFill>
          <a:blip r:embed="rId38" cstate="screen">
            <a:lum bright="70000" contrast="-70000"/>
            <a:extLst>
              <a:ext uri="{28A0092B-C50C-407E-A947-70E740481C1C}">
                <a14:useLocalDpi xmlns:a14="http://schemas.microsoft.com/office/drawing/2010/main"/>
              </a:ext>
            </a:extLst>
          </a:blip>
          <a:stretch>
            <a:fillRect/>
          </a:stretch>
        </p:blipFill>
        <p:spPr>
          <a:xfrm>
            <a:off x="10829779" y="6322205"/>
            <a:ext cx="881226" cy="272544"/>
          </a:xfrm>
          <a:prstGeom prst="rect">
            <a:avLst/>
          </a:prstGeom>
        </p:spPr>
      </p:pic>
    </p:spTree>
    <p:extLst>
      <p:ext uri="{BB962C8B-B14F-4D97-AF65-F5344CB8AC3E}">
        <p14:creationId xmlns:p14="http://schemas.microsoft.com/office/powerpoint/2010/main" val="140348180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67" r:id="rId35"/>
    <p:sldLayoutId id="2147483768"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575777"/>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4257300898"/>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hf hdr="0" ftr="0" dt="0"/>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guide id="8" orient="horz" pos="1620">
          <p15:clr>
            <a:srgbClr val="F26B43"/>
          </p15:clr>
        </p15:guide>
        <p15:guide id="9" pos="2880">
          <p15:clr>
            <a:srgbClr val="F26B43"/>
          </p15:clr>
        </p15:guide>
        <p15:guide id="10" pos="288">
          <p15:clr>
            <a:srgbClr val="F26B43"/>
          </p15:clr>
        </p15:guide>
        <p15:guide id="11" pos="5496">
          <p15:clr>
            <a:srgbClr val="F26B43"/>
          </p15:clr>
        </p15:guide>
        <p15:guide id="12" orient="horz" pos="5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24384" y="36576"/>
            <a:ext cx="11127317" cy="865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Arial" panose="020B0604020202020204" pitchFamily="34" charset="0"/>
                <a:ea typeface="+mn-ea"/>
                <a:cs typeface="Arial" panose="020B0604020202020204" pitchFamily="34" charset="0"/>
              </a:rPr>
              <a:t>© 2019  Cisco and/or its affiliates. All rights reserved.   Cisco Confidential</a:t>
            </a:r>
          </a:p>
        </p:txBody>
      </p:sp>
      <p:sp>
        <p:nvSpPr>
          <p:cNvPr id="5" name="TextBox 4">
            <a:extLst>
              <a:ext uri="{FF2B5EF4-FFF2-40B4-BE49-F238E27FC236}">
                <a16:creationId xmlns:a16="http://schemas.microsoft.com/office/drawing/2014/main" id="{4C417EB4-14CA-8449-B21E-E6C132C92492}"/>
              </a:ext>
            </a:extLst>
          </p:cNvPr>
          <p:cNvSpPr txBox="1"/>
          <p:nvPr/>
        </p:nvSpPr>
        <p:spPr>
          <a:xfrm>
            <a:off x="10095567" y="6259549"/>
            <a:ext cx="2081563" cy="564322"/>
          </a:xfrm>
          <a:prstGeom prst="rect">
            <a:avLst/>
          </a:prstGeom>
          <a:noFill/>
        </p:spPr>
        <p:txBody>
          <a:bodyPr wrap="square" rtlCol="0">
            <a:spAutoFit/>
          </a:bodyPr>
          <a:lstStyle/>
          <a:p>
            <a:r>
              <a:rPr lang="en-US" sz="1467" b="1" spc="200" baseline="0" dirty="0">
                <a:solidFill>
                  <a:srgbClr val="0070C0"/>
                </a:solidFill>
                <a:latin typeface="+mn-lt"/>
              </a:rPr>
              <a:t>Global</a:t>
            </a:r>
          </a:p>
          <a:p>
            <a:r>
              <a:rPr lang="en-US" sz="1600" spc="200" baseline="0" dirty="0">
                <a:solidFill>
                  <a:schemeClr val="tx1">
                    <a:lumMod val="90000"/>
                    <a:lumOff val="10000"/>
                  </a:schemeClr>
                </a:solidFill>
                <a:latin typeface="+mn-lt"/>
              </a:rPr>
              <a:t>Sales Training</a:t>
            </a:r>
          </a:p>
        </p:txBody>
      </p:sp>
    </p:spTree>
    <p:extLst>
      <p:ext uri="{BB962C8B-B14F-4D97-AF65-F5344CB8AC3E}">
        <p14:creationId xmlns:p14="http://schemas.microsoft.com/office/powerpoint/2010/main" val="4013730641"/>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 id="2147483762" r:id="rId27"/>
    <p:sldLayoutId id="2147483763" r:id="rId28"/>
    <p:sldLayoutId id="2147483764" r:id="rId29"/>
    <p:sldLayoutId id="2147483765" r:id="rId30"/>
    <p:sldLayoutId id="2147483766" r:id="rId31"/>
  </p:sldLayoutIdLst>
  <p:txStyles>
    <p:titleStyle>
      <a:lvl1pPr algn="l" defTabSz="912261" rtl="0" eaLnBrk="1" fontAlgn="base" hangingPunct="1">
        <a:lnSpc>
          <a:spcPct val="80000"/>
        </a:lnSpc>
        <a:spcBef>
          <a:spcPct val="0"/>
        </a:spcBef>
        <a:spcAft>
          <a:spcPct val="0"/>
        </a:spcAft>
        <a:defRPr lang="en-US" sz="3733" b="0" i="0" u="none" kern="1200" dirty="0">
          <a:solidFill>
            <a:schemeClr val="bg1"/>
          </a:solidFill>
          <a:latin typeface="+mj-lt"/>
          <a:ea typeface="CiscoSansTT Light" panose="020B0503020201020303" pitchFamily="34" charset="0"/>
          <a:cs typeface="CiscoSansTT Light" panose="020B0503020201020303" pitchFamily="34"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62736" y="587501"/>
            <a:ext cx="10866526" cy="596265"/>
          </a:xfrm>
          <a:prstGeom prst="rect">
            <a:avLst/>
          </a:prstGeom>
        </p:spPr>
        <p:txBody>
          <a:bodyPr wrap="square" lIns="0" tIns="0" rIns="0" bIns="0">
            <a:spAutoFit/>
          </a:bodyPr>
          <a:lstStyle>
            <a:lvl1pPr>
              <a:defRPr sz="3750" b="0" i="0">
                <a:solidFill>
                  <a:srgbClr val="282828"/>
                </a:solidFill>
                <a:latin typeface="Arial"/>
                <a:cs typeface="Arial"/>
              </a:defRPr>
            </a:lvl1pPr>
          </a:lstStyle>
          <a:p>
            <a:endParaRPr/>
          </a:p>
        </p:txBody>
      </p:sp>
      <p:sp>
        <p:nvSpPr>
          <p:cNvPr id="3" name="Holder 3"/>
          <p:cNvSpPr>
            <a:spLocks noGrp="1"/>
          </p:cNvSpPr>
          <p:nvPr>
            <p:ph type="body" idx="1"/>
          </p:nvPr>
        </p:nvSpPr>
        <p:spPr>
          <a:xfrm>
            <a:off x="774903" y="1186488"/>
            <a:ext cx="10514965" cy="3183254"/>
          </a:xfrm>
          <a:prstGeom prst="rect">
            <a:avLst/>
          </a:prstGeom>
        </p:spPr>
        <p:txBody>
          <a:bodyPr wrap="square" lIns="0" tIns="0" rIns="0" bIns="0">
            <a:spAutoFit/>
          </a:bodyPr>
          <a:lstStyle>
            <a:lvl1pPr>
              <a:defRPr sz="2400" b="0" i="0">
                <a:solidFill>
                  <a:srgbClr val="282828"/>
                </a:solidFill>
                <a:latin typeface="Arial"/>
                <a:cs typeface="Aria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4/20</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7826162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105EC5-0874-7E40-A126-0FC2CA189B19}"/>
              </a:ext>
            </a:extLst>
          </p:cNvPr>
          <p:cNvPicPr>
            <a:picLocks noChangeAspect="1"/>
          </p:cNvPicPr>
          <p:nvPr userDrawn="1"/>
        </p:nvPicPr>
        <p:blipFill rotWithShape="1">
          <a:blip r:embed="rId44" cstate="print">
            <a:duotone>
              <a:schemeClr val="bg2">
                <a:shade val="45000"/>
                <a:satMod val="135000"/>
              </a:schemeClr>
              <a:prstClr val="white"/>
            </a:duotone>
            <a:extLst>
              <a:ext uri="{28A0092B-C50C-407E-A947-70E740481C1C}">
                <a14:useLocalDpi xmlns:a14="http://schemas.microsoft.com/office/drawing/2010/main"/>
              </a:ext>
            </a:extLst>
          </a:blip>
          <a:srcRect t="-3307"/>
          <a:stretch/>
        </p:blipFill>
        <p:spPr>
          <a:xfrm>
            <a:off x="11249002" y="6356350"/>
            <a:ext cx="612183" cy="447035"/>
          </a:xfrm>
          <a:prstGeom prst="rect">
            <a:avLst/>
          </a:prstGeom>
        </p:spPr>
      </p:pic>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8  Cisco and/or its affiliates. All rights reserved.   Cisco Public</a:t>
            </a:r>
          </a:p>
        </p:txBody>
      </p:sp>
    </p:spTree>
    <p:extLst>
      <p:ext uri="{BB962C8B-B14F-4D97-AF65-F5344CB8AC3E}">
        <p14:creationId xmlns:p14="http://schemas.microsoft.com/office/powerpoint/2010/main" val="187748899"/>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 id="2147483807" r:id="rId32"/>
    <p:sldLayoutId id="2147483808" r:id="rId33"/>
    <p:sldLayoutId id="2147483809" r:id="rId34"/>
    <p:sldLayoutId id="2147483810" r:id="rId35"/>
    <p:sldLayoutId id="2147483811" r:id="rId36"/>
    <p:sldLayoutId id="2147483812" r:id="rId37"/>
    <p:sldLayoutId id="2147483813" r:id="rId38"/>
    <p:sldLayoutId id="2147483814" r:id="rId39"/>
    <p:sldLayoutId id="2147483815" r:id="rId40"/>
    <p:sldLayoutId id="2147483816" r:id="rId41"/>
    <p:sldLayoutId id="2147483817"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62736" y="587501"/>
            <a:ext cx="10063480" cy="596265"/>
          </a:xfrm>
          <a:prstGeom prst="rect">
            <a:avLst/>
          </a:prstGeom>
        </p:spPr>
        <p:txBody>
          <a:bodyPr wrap="square" lIns="0" tIns="0" rIns="0" bIns="0">
            <a:spAutoFit/>
          </a:bodyPr>
          <a:lstStyle>
            <a:lvl1pPr>
              <a:defRPr sz="3750" b="0" i="0">
                <a:solidFill>
                  <a:srgbClr val="005073"/>
                </a:solidFill>
                <a:latin typeface="Arial"/>
                <a:cs typeface="Arial"/>
              </a:defRPr>
            </a:lvl1pPr>
          </a:lstStyle>
          <a:p>
            <a:endParaRPr/>
          </a:p>
        </p:txBody>
      </p:sp>
      <p:sp>
        <p:nvSpPr>
          <p:cNvPr id="3" name="Holder 3"/>
          <p:cNvSpPr>
            <a:spLocks noGrp="1"/>
          </p:cNvSpPr>
          <p:nvPr>
            <p:ph type="body" idx="1"/>
          </p:nvPr>
        </p:nvSpPr>
        <p:spPr>
          <a:xfrm>
            <a:off x="774903" y="1060159"/>
            <a:ext cx="10408920" cy="2529840"/>
          </a:xfrm>
          <a:prstGeom prst="rect">
            <a:avLst/>
          </a:prstGeom>
        </p:spPr>
        <p:txBody>
          <a:bodyPr wrap="square" lIns="0" tIns="0" rIns="0" bIns="0">
            <a:spAutoFit/>
          </a:bodyPr>
          <a:lstStyle>
            <a:lvl1pPr>
              <a:defRPr sz="2400" b="0" i="0">
                <a:solidFill>
                  <a:srgbClr val="282828"/>
                </a:solidFill>
                <a:latin typeface="Arial"/>
                <a:cs typeface="Aria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4/20</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78472625"/>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85673" y="587501"/>
            <a:ext cx="11020653" cy="596265"/>
          </a:xfrm>
          <a:prstGeom prst="rect">
            <a:avLst/>
          </a:prstGeom>
        </p:spPr>
        <p:txBody>
          <a:bodyPr wrap="square" lIns="0" tIns="0" rIns="0" bIns="0">
            <a:spAutoFit/>
          </a:bodyPr>
          <a:lstStyle>
            <a:lvl1pPr>
              <a:defRPr sz="3750" b="0" i="0">
                <a:solidFill>
                  <a:srgbClr val="005073"/>
                </a:solidFill>
                <a:latin typeface="Arial"/>
                <a:cs typeface="Arial"/>
              </a:defRPr>
            </a:lvl1pPr>
          </a:lstStyle>
          <a:p>
            <a:endParaRPr/>
          </a:p>
        </p:txBody>
      </p:sp>
      <p:sp>
        <p:nvSpPr>
          <p:cNvPr id="3" name="Holder 3"/>
          <p:cNvSpPr>
            <a:spLocks noGrp="1"/>
          </p:cNvSpPr>
          <p:nvPr>
            <p:ph type="body" idx="1"/>
          </p:nvPr>
        </p:nvSpPr>
        <p:spPr>
          <a:xfrm>
            <a:off x="674979" y="1448359"/>
            <a:ext cx="10842040" cy="2525395"/>
          </a:xfrm>
          <a:prstGeom prst="rect">
            <a:avLst/>
          </a:prstGeom>
        </p:spPr>
        <p:txBody>
          <a:bodyPr wrap="square" lIns="0" tIns="0" rIns="0" bIns="0">
            <a:spAutoFit/>
          </a:bodyPr>
          <a:lstStyle>
            <a:lvl1pPr>
              <a:defRPr sz="2650" b="0" i="0">
                <a:solidFill>
                  <a:srgbClr val="282828"/>
                </a:solidFill>
                <a:latin typeface="Arial"/>
                <a:cs typeface="Arial"/>
              </a:defRPr>
            </a:lvl1pPr>
          </a:lstStyle>
          <a:p>
            <a:endParaRPr/>
          </a:p>
        </p:txBody>
      </p:sp>
      <p:sp>
        <p:nvSpPr>
          <p:cNvPr id="4" name="Holder 4"/>
          <p:cNvSpPr>
            <a:spLocks noGrp="1"/>
          </p:cNvSpPr>
          <p:nvPr>
            <p:ph type="ftr" sz="quarter" idx="5"/>
          </p:nvPr>
        </p:nvSpPr>
        <p:spPr>
          <a:xfrm>
            <a:off x="706627" y="6355181"/>
            <a:ext cx="3641090" cy="162559"/>
          </a:xfrm>
          <a:prstGeom prst="rect">
            <a:avLst/>
          </a:prstGeom>
        </p:spPr>
        <p:txBody>
          <a:bodyPr wrap="square" lIns="0" tIns="0" rIns="0" bIns="0">
            <a:spAutoFit/>
          </a:bodyPr>
          <a:lstStyle>
            <a:lvl1pPr>
              <a:defRPr sz="800" b="0" i="0">
                <a:solidFill>
                  <a:srgbClr val="A6A6A6"/>
                </a:solidFill>
                <a:latin typeface="Arial"/>
                <a:cs typeface="Arial"/>
              </a:defRPr>
            </a:lvl1pPr>
          </a:lstStyle>
          <a:p>
            <a:pPr marL="12700">
              <a:lnSpc>
                <a:spcPct val="100000"/>
              </a:lnSpc>
              <a:spcBef>
                <a:spcPts val="90"/>
              </a:spcBef>
            </a:pPr>
            <a:r>
              <a:rPr spc="80" dirty="0"/>
              <a:t>© </a:t>
            </a:r>
            <a:r>
              <a:rPr spc="40" dirty="0"/>
              <a:t>2017  </a:t>
            </a:r>
            <a:r>
              <a:rPr spc="10" dirty="0"/>
              <a:t>Cisco </a:t>
            </a:r>
            <a:r>
              <a:rPr spc="15" dirty="0"/>
              <a:t>and/or  </a:t>
            </a:r>
            <a:r>
              <a:rPr spc="5" dirty="0"/>
              <a:t>its affiliates.  </a:t>
            </a:r>
            <a:r>
              <a:rPr dirty="0"/>
              <a:t>All </a:t>
            </a:r>
            <a:r>
              <a:rPr spc="5" dirty="0"/>
              <a:t>rights  </a:t>
            </a:r>
            <a:r>
              <a:rPr spc="10" dirty="0"/>
              <a:t>reserved.    Cisco</a:t>
            </a:r>
            <a:r>
              <a:rPr spc="100" dirty="0"/>
              <a:t> </a:t>
            </a:r>
            <a:r>
              <a:rPr spc="5" dirty="0"/>
              <a:t>Confidential</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5/20</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02060759"/>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62.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59.xml"/><Relationship Id="rId5" Type="http://schemas.openxmlformats.org/officeDocument/2006/relationships/image" Target="../media/image30.jp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59.xml"/><Relationship Id="rId5" Type="http://schemas.openxmlformats.org/officeDocument/2006/relationships/image" Target="../media/image30.jp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5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07.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png"/><Relationship Id="rId1" Type="http://schemas.openxmlformats.org/officeDocument/2006/relationships/slideLayout" Target="../slideLayouts/slideLayout108.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08.xml"/><Relationship Id="rId6" Type="http://schemas.openxmlformats.org/officeDocument/2006/relationships/image" Target="../media/image37.png"/><Relationship Id="rId5" Type="http://schemas.openxmlformats.org/officeDocument/2006/relationships/image" Target="../media/image31.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1.png"/><Relationship Id="rId1" Type="http://schemas.openxmlformats.org/officeDocument/2006/relationships/slideLayout" Target="../slideLayouts/slideLayout10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hyperlink" Target="http://docs.ansible.com/ansible/latest/intro_configuration.html" TargetMode="External"/><Relationship Id="rId1" Type="http://schemas.openxmlformats.org/officeDocument/2006/relationships/slideLayout" Target="../slideLayouts/slideLayout107.xml"/></Relationships>
</file>

<file path=ppt/slides/_rels/slide21.xml.rels><?xml version="1.0" encoding="UTF-8" standalone="yes"?>
<Relationships xmlns="http://schemas.openxmlformats.org/package/2006/relationships"><Relationship Id="rId2" Type="http://schemas.openxmlformats.org/officeDocument/2006/relationships/hyperlink" Target="mailto:root@10.10.20.20" TargetMode="External"/><Relationship Id="rId1" Type="http://schemas.openxmlformats.org/officeDocument/2006/relationships/slideLayout" Target="../slideLayouts/slideLayout10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3.xml"/></Relationships>
</file>

<file path=ppt/slides/_rels/slide26.xml.rels><?xml version="1.0" encoding="UTF-8" standalone="yes"?>
<Relationships xmlns="http://schemas.openxmlformats.org/package/2006/relationships"><Relationship Id="rId3" Type="http://schemas.openxmlformats.org/officeDocument/2006/relationships/hyperlink" Target="http://docs.ansible.com/ansible/latest/playbooks.html" TargetMode="External"/><Relationship Id="rId2" Type="http://schemas.openxmlformats.org/officeDocument/2006/relationships/hyperlink" Target="http://docs.ansible.com/ansible/latest/list_of_all_modules.html" TargetMode="External"/><Relationship Id="rId1" Type="http://schemas.openxmlformats.org/officeDocument/2006/relationships/slideLayout" Target="../slideLayouts/slideLayout107.xml"/></Relationships>
</file>

<file path=ppt/slides/_rels/slide27.xml.rels><?xml version="1.0" encoding="UTF-8" standalone="yes"?>
<Relationships xmlns="http://schemas.openxmlformats.org/package/2006/relationships"><Relationship Id="rId3" Type="http://schemas.openxmlformats.org/officeDocument/2006/relationships/hyperlink" Target="http://docs.ansible.com/ansible/latest/YAMLSyntax.html" TargetMode="External"/><Relationship Id="rId2" Type="http://schemas.openxmlformats.org/officeDocument/2006/relationships/image" Target="../media/image40.png"/><Relationship Id="rId1" Type="http://schemas.openxmlformats.org/officeDocument/2006/relationships/slideLayout" Target="../slideLayouts/slideLayout10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0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3.xml"/></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08.xml"/><Relationship Id="rId4" Type="http://schemas.openxmlformats.org/officeDocument/2006/relationships/hyperlink" Target="http://docs.ansible.com/ansible/latest/playbooks_templating.html"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3.xml"/></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5.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image" Target="../media/image34.png"/><Relationship Id="rId1" Type="http://schemas.openxmlformats.org/officeDocument/2006/relationships/slideLayout" Target="../slideLayouts/slideLayout107.xml"/><Relationship Id="rId6" Type="http://schemas.openxmlformats.org/officeDocument/2006/relationships/image" Target="../media/image37.png"/><Relationship Id="rId11" Type="http://schemas.openxmlformats.org/officeDocument/2006/relationships/image" Target="../media/image50.png"/><Relationship Id="rId5" Type="http://schemas.openxmlformats.org/officeDocument/2006/relationships/image" Target="../media/image45.png"/><Relationship Id="rId10" Type="http://schemas.openxmlformats.org/officeDocument/2006/relationships/image" Target="../media/image49.png"/><Relationship Id="rId4" Type="http://schemas.openxmlformats.org/officeDocument/2006/relationships/image" Target="../media/image36.png"/><Relationship Id="rId9" Type="http://schemas.openxmlformats.org/officeDocument/2006/relationships/image" Target="../media/image48.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38.xml.rels><?xml version="1.0" encoding="UTF-8" standalone="yes"?>
<Relationships xmlns="http://schemas.openxmlformats.org/package/2006/relationships"><Relationship Id="rId2" Type="http://schemas.openxmlformats.org/officeDocument/2006/relationships/hyperlink" Target="http://docs.ansible.com/ansible/latest/intro_configuration.html" TargetMode="External"/><Relationship Id="rId1" Type="http://schemas.openxmlformats.org/officeDocument/2006/relationships/slideLayout" Target="../slideLayouts/slideLayout10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36.xml"/><Relationship Id="rId7" Type="http://schemas.openxmlformats.org/officeDocument/2006/relationships/image" Target="../media/image5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36.xml"/><Relationship Id="rId7" Type="http://schemas.openxmlformats.org/officeDocument/2006/relationships/image" Target="../media/image5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2.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36.xml"/><Relationship Id="rId7" Type="http://schemas.openxmlformats.org/officeDocument/2006/relationships/image" Target="../media/image5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2.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136.xml"/><Relationship Id="rId7" Type="http://schemas.openxmlformats.org/officeDocument/2006/relationships/image" Target="../media/image56.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2.emf"/><Relationship Id="rId5" Type="http://schemas.openxmlformats.org/officeDocument/2006/relationships/oleObject" Target="../embeddings/oleObject1.bin"/><Relationship Id="rId10" Type="http://schemas.openxmlformats.org/officeDocument/2006/relationships/image" Target="../media/image59.png"/><Relationship Id="rId4" Type="http://schemas.openxmlformats.org/officeDocument/2006/relationships/notesSlide" Target="../notesSlides/notesSlide4.xml"/><Relationship Id="rId9" Type="http://schemas.openxmlformats.org/officeDocument/2006/relationships/image" Target="../media/image58.png"/></Relationships>
</file>

<file path=ppt/slides/_rels/slide4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136.xml"/><Relationship Id="rId7" Type="http://schemas.openxmlformats.org/officeDocument/2006/relationships/image" Target="../media/image60.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2.emf"/><Relationship Id="rId5" Type="http://schemas.openxmlformats.org/officeDocument/2006/relationships/oleObject" Target="../embeddings/oleObject1.bin"/><Relationship Id="rId10" Type="http://schemas.openxmlformats.org/officeDocument/2006/relationships/image" Target="../media/image63.png"/><Relationship Id="rId4" Type="http://schemas.openxmlformats.org/officeDocument/2006/relationships/notesSlide" Target="../notesSlides/notesSlide5.xml"/><Relationship Id="rId9" Type="http://schemas.openxmlformats.org/officeDocument/2006/relationships/image" Target="../media/image62.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36.xml"/><Relationship Id="rId7" Type="http://schemas.openxmlformats.org/officeDocument/2006/relationships/image" Target="../media/image64.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2.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4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54.xml"/></Relationships>
</file>

<file path=ppt/slides/_rels/slide4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3" Type="http://schemas.openxmlformats.org/officeDocument/2006/relationships/hyperlink" Target="https://www.learnpython.org/" TargetMode="External"/><Relationship Id="rId2" Type="http://schemas.openxmlformats.org/officeDocument/2006/relationships/hyperlink" Target="https://developer.cisco.com/video/net-prog-basics/" TargetMode="External"/><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image" Target="../media/image22.tiff"/><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25.tiff"/><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FAD8C31-63DA-7748-9452-094F4A7E4147}"/>
              </a:ext>
            </a:extLst>
          </p:cNvPr>
          <p:cNvSpPr>
            <a:spLocks noGrp="1"/>
          </p:cNvSpPr>
          <p:nvPr>
            <p:ph type="subTitle" idx="1"/>
          </p:nvPr>
        </p:nvSpPr>
        <p:spPr/>
        <p:txBody>
          <a:bodyPr/>
          <a:lstStyle/>
          <a:p>
            <a:endParaRPr lang="en-CN" dirty="0"/>
          </a:p>
        </p:txBody>
      </p:sp>
      <p:sp>
        <p:nvSpPr>
          <p:cNvPr id="3" name="Text Placeholder 2">
            <a:extLst>
              <a:ext uri="{FF2B5EF4-FFF2-40B4-BE49-F238E27FC236}">
                <a16:creationId xmlns:a16="http://schemas.microsoft.com/office/drawing/2014/main" id="{42A236F9-5B58-6243-B1C9-F5E70C369E2F}"/>
              </a:ext>
            </a:extLst>
          </p:cNvPr>
          <p:cNvSpPr>
            <a:spLocks noGrp="1"/>
          </p:cNvSpPr>
          <p:nvPr>
            <p:ph type="body" sz="quarter" idx="11"/>
          </p:nvPr>
        </p:nvSpPr>
        <p:spPr/>
        <p:txBody>
          <a:bodyPr/>
          <a:lstStyle/>
          <a:p>
            <a:endParaRPr lang="en-CN"/>
          </a:p>
        </p:txBody>
      </p:sp>
      <p:sp>
        <p:nvSpPr>
          <p:cNvPr id="4" name="Text Placeholder 3">
            <a:extLst>
              <a:ext uri="{FF2B5EF4-FFF2-40B4-BE49-F238E27FC236}">
                <a16:creationId xmlns:a16="http://schemas.microsoft.com/office/drawing/2014/main" id="{51397A6E-1AB3-6143-A3EB-5351D6193E1E}"/>
              </a:ext>
            </a:extLst>
          </p:cNvPr>
          <p:cNvSpPr>
            <a:spLocks noGrp="1"/>
          </p:cNvSpPr>
          <p:nvPr>
            <p:ph type="body" sz="quarter" idx="12"/>
          </p:nvPr>
        </p:nvSpPr>
        <p:spPr/>
        <p:txBody>
          <a:bodyPr/>
          <a:lstStyle/>
          <a:p>
            <a:endParaRPr lang="en-CN" dirty="0"/>
          </a:p>
        </p:txBody>
      </p:sp>
      <p:sp>
        <p:nvSpPr>
          <p:cNvPr id="5" name="Text Placeholder 4">
            <a:extLst>
              <a:ext uri="{FF2B5EF4-FFF2-40B4-BE49-F238E27FC236}">
                <a16:creationId xmlns:a16="http://schemas.microsoft.com/office/drawing/2014/main" id="{690C8D39-1DA4-1A4F-96EE-E5E97F0772CC}"/>
              </a:ext>
            </a:extLst>
          </p:cNvPr>
          <p:cNvSpPr>
            <a:spLocks noGrp="1"/>
          </p:cNvSpPr>
          <p:nvPr>
            <p:ph type="body" sz="quarter" idx="13"/>
          </p:nvPr>
        </p:nvSpPr>
        <p:spPr/>
        <p:txBody>
          <a:bodyPr/>
          <a:lstStyle/>
          <a:p>
            <a:r>
              <a:rPr lang="en-US" altLang="zh-CN" dirty="0"/>
              <a:t>5</a:t>
            </a:r>
            <a:r>
              <a:rPr lang="zh-CN" altLang="en-US" dirty="0"/>
              <a:t> </a:t>
            </a:r>
            <a:r>
              <a:rPr lang="en-US" altLang="zh-CN" dirty="0"/>
              <a:t>–</a:t>
            </a:r>
            <a:r>
              <a:rPr lang="zh-CN" altLang="en-US" dirty="0"/>
              <a:t> </a:t>
            </a:r>
            <a:r>
              <a:rPr lang="en-CN" altLang="zh-CN" dirty="0"/>
              <a:t>NetDevOps</a:t>
            </a:r>
            <a:endParaRPr lang="en-CN" dirty="0"/>
          </a:p>
        </p:txBody>
      </p:sp>
      <p:sp>
        <p:nvSpPr>
          <p:cNvPr id="6" name="Title 5">
            <a:extLst>
              <a:ext uri="{FF2B5EF4-FFF2-40B4-BE49-F238E27FC236}">
                <a16:creationId xmlns:a16="http://schemas.microsoft.com/office/drawing/2014/main" id="{BB6D2400-87FB-3B4D-861A-B277F028C9D3}"/>
              </a:ext>
            </a:extLst>
          </p:cNvPr>
          <p:cNvSpPr>
            <a:spLocks noGrp="1"/>
          </p:cNvSpPr>
          <p:nvPr>
            <p:ph type="ctrTitle"/>
          </p:nvPr>
        </p:nvSpPr>
        <p:spPr/>
        <p:txBody>
          <a:bodyPr/>
          <a:lstStyle/>
          <a:p>
            <a:r>
              <a:rPr lang="en-CN" dirty="0"/>
              <a:t>Dev</a:t>
            </a:r>
            <a:r>
              <a:rPr lang="en-US" altLang="zh-CN" dirty="0"/>
              <a:t>Ne</a:t>
            </a:r>
            <a:r>
              <a:rPr lang="en-CN" dirty="0"/>
              <a:t>t</a:t>
            </a:r>
            <a:r>
              <a:rPr lang="zh-CN" altLang="en-US" dirty="0"/>
              <a:t> </a:t>
            </a:r>
            <a:r>
              <a:rPr lang="en-US" altLang="zh-CN" dirty="0"/>
              <a:t>Learning</a:t>
            </a:r>
            <a:r>
              <a:rPr lang="zh-CN" altLang="en-US" dirty="0"/>
              <a:t> </a:t>
            </a:r>
            <a:r>
              <a:rPr lang="en-US" altLang="zh-CN" dirty="0"/>
              <a:t>Forum</a:t>
            </a:r>
            <a:endParaRPr lang="en-CN" dirty="0"/>
          </a:p>
        </p:txBody>
      </p:sp>
    </p:spTree>
    <p:extLst>
      <p:ext uri="{BB962C8B-B14F-4D97-AF65-F5344CB8AC3E}">
        <p14:creationId xmlns:p14="http://schemas.microsoft.com/office/powerpoint/2010/main" val="21938315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662736" y="587501"/>
            <a:ext cx="5455920" cy="5071745"/>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3750" b="0" i="0" u="none" strike="noStrike" kern="1200" cap="none" spc="0" normalizeH="0" baseline="0" noProof="0" dirty="0">
                <a:ln>
                  <a:noFill/>
                </a:ln>
                <a:solidFill>
                  <a:srgbClr val="005073"/>
                </a:solidFill>
                <a:effectLst/>
                <a:uLnTx/>
                <a:uFillTx/>
                <a:latin typeface="Arial"/>
                <a:ea typeface="+mn-ea"/>
                <a:cs typeface="Arial"/>
              </a:rPr>
              <a:t>Mechanism </a:t>
            </a:r>
            <a:r>
              <a:rPr kumimoji="0" sz="3750" b="0" i="0" u="none" strike="noStrike" kern="1200" cap="none" spc="50" normalizeH="0" baseline="0" noProof="0" dirty="0">
                <a:ln>
                  <a:noFill/>
                </a:ln>
                <a:solidFill>
                  <a:srgbClr val="005073"/>
                </a:solidFill>
                <a:effectLst/>
                <a:uLnTx/>
                <a:uFillTx/>
                <a:latin typeface="Arial"/>
                <a:ea typeface="+mn-ea"/>
                <a:cs typeface="Arial"/>
              </a:rPr>
              <a:t>=</a:t>
            </a:r>
            <a:r>
              <a:rPr kumimoji="0" sz="3750" b="0" i="0" u="none" strike="noStrike" kern="1200" cap="none" spc="55" normalizeH="0" baseline="0" noProof="0" dirty="0">
                <a:ln>
                  <a:noFill/>
                </a:ln>
                <a:solidFill>
                  <a:srgbClr val="005073"/>
                </a:solidFill>
                <a:effectLst/>
                <a:uLnTx/>
                <a:uFillTx/>
                <a:latin typeface="Arial"/>
                <a:ea typeface="+mn-ea"/>
                <a:cs typeface="Arial"/>
              </a:rPr>
              <a:t> </a:t>
            </a:r>
            <a:r>
              <a:rPr kumimoji="0" sz="3750" b="0" i="0" u="none" strike="noStrike" kern="1200" cap="none" spc="0" normalizeH="0" baseline="0" noProof="0" dirty="0">
                <a:ln>
                  <a:noFill/>
                </a:ln>
                <a:solidFill>
                  <a:srgbClr val="005073"/>
                </a:solidFill>
                <a:effectLst/>
                <a:uLnTx/>
                <a:uFillTx/>
                <a:latin typeface="Arial"/>
                <a:ea typeface="+mn-ea"/>
                <a:cs typeface="Arial"/>
              </a:rPr>
              <a:t>Automation</a:t>
            </a:r>
            <a:endParaRPr kumimoji="0" sz="3750" b="0" i="0" u="none" strike="noStrike" kern="1200" cap="none" spc="0" normalizeH="0" baseline="0" noProof="0">
              <a:ln>
                <a:noFill/>
              </a:ln>
              <a:solidFill>
                <a:prstClr val="black"/>
              </a:solidFill>
              <a:effectLst/>
              <a:uLnTx/>
              <a:uFillTx/>
              <a:latin typeface="Arial"/>
              <a:ea typeface="+mn-ea"/>
              <a:cs typeface="Arial"/>
            </a:endParaRPr>
          </a:p>
          <a:p>
            <a:pPr marL="280035" marR="0" lvl="0" indent="-155575" algn="l" defTabSz="914400" rtl="0" eaLnBrk="1" fontAlgn="auto" latinLnBrk="0" hangingPunct="1">
              <a:lnSpc>
                <a:spcPts val="3100"/>
              </a:lnSpc>
              <a:spcBef>
                <a:spcPts val="3675"/>
              </a:spcBef>
              <a:spcAft>
                <a:spcPts val="0"/>
              </a:spcAft>
              <a:buClrTx/>
              <a:buSzPct val="60377"/>
              <a:buFontTx/>
              <a:buChar char="•"/>
              <a:tabLst>
                <a:tab pos="280670" algn="l"/>
              </a:tabLst>
              <a:defRPr/>
            </a:pPr>
            <a:r>
              <a:rPr kumimoji="0" sz="2650" b="0" i="0" u="none" strike="noStrike" kern="1200" cap="none" spc="10" normalizeH="0" baseline="0" noProof="0" dirty="0">
                <a:ln>
                  <a:noFill/>
                </a:ln>
                <a:solidFill>
                  <a:srgbClr val="282828"/>
                </a:solidFill>
                <a:effectLst/>
                <a:uLnTx/>
                <a:uFillTx/>
                <a:latin typeface="Arial"/>
                <a:ea typeface="+mn-ea"/>
                <a:cs typeface="Arial"/>
              </a:rPr>
              <a:t>No </a:t>
            </a:r>
            <a:r>
              <a:rPr kumimoji="0" sz="2650" b="0" i="0" u="none" strike="noStrike" kern="1200" cap="none" spc="40" normalizeH="0" baseline="0" noProof="0" dirty="0">
                <a:ln>
                  <a:noFill/>
                </a:ln>
                <a:solidFill>
                  <a:srgbClr val="282828"/>
                </a:solidFill>
                <a:effectLst/>
                <a:uLnTx/>
                <a:uFillTx/>
                <a:latin typeface="Arial"/>
                <a:ea typeface="+mn-ea"/>
                <a:cs typeface="Arial"/>
              </a:rPr>
              <a:t>more </a:t>
            </a:r>
            <a:r>
              <a:rPr kumimoji="0" sz="2650" b="0" i="0" u="none" strike="noStrike" kern="1200" cap="none" spc="-5" normalizeH="0" baseline="0" noProof="0" dirty="0">
                <a:ln>
                  <a:noFill/>
                </a:ln>
                <a:solidFill>
                  <a:srgbClr val="282828"/>
                </a:solidFill>
                <a:effectLst/>
                <a:uLnTx/>
                <a:uFillTx/>
                <a:latin typeface="Arial"/>
                <a:ea typeface="+mn-ea"/>
                <a:cs typeface="Arial"/>
              </a:rPr>
              <a:t>hand </a:t>
            </a:r>
            <a:r>
              <a:rPr kumimoji="0" sz="2650" b="0" i="0" u="none" strike="noStrike" kern="1200" cap="none" spc="55" normalizeH="0" baseline="0" noProof="0" dirty="0">
                <a:ln>
                  <a:noFill/>
                </a:ln>
                <a:solidFill>
                  <a:srgbClr val="282828"/>
                </a:solidFill>
                <a:effectLst/>
                <a:uLnTx/>
                <a:uFillTx/>
                <a:latin typeface="Arial"/>
                <a:ea typeface="+mn-ea"/>
                <a:cs typeface="Arial"/>
              </a:rPr>
              <a:t>to </a:t>
            </a:r>
            <a:r>
              <a:rPr kumimoji="0" sz="2650" b="0" i="0" u="none" strike="noStrike" kern="1200" cap="none" spc="-5" normalizeH="0" baseline="0" noProof="0" dirty="0">
                <a:ln>
                  <a:noFill/>
                </a:ln>
                <a:solidFill>
                  <a:srgbClr val="282828"/>
                </a:solidFill>
                <a:effectLst/>
                <a:uLnTx/>
                <a:uFillTx/>
                <a:latin typeface="Arial"/>
                <a:ea typeface="+mn-ea"/>
                <a:cs typeface="Arial"/>
              </a:rPr>
              <a:t>hand</a:t>
            </a:r>
            <a:r>
              <a:rPr kumimoji="0" sz="2650" b="0" i="0" u="none" strike="noStrike" kern="1200" cap="none" spc="160" normalizeH="0" baseline="0" noProof="0" dirty="0">
                <a:ln>
                  <a:noFill/>
                </a:ln>
                <a:solidFill>
                  <a:srgbClr val="282828"/>
                </a:solidFill>
                <a:effectLst/>
                <a:uLnTx/>
                <a:uFillTx/>
                <a:latin typeface="Arial"/>
                <a:ea typeface="+mn-ea"/>
                <a:cs typeface="Arial"/>
              </a:rPr>
              <a:t> </a:t>
            </a:r>
            <a:r>
              <a:rPr kumimoji="0" sz="2650" b="0" i="0" u="none" strike="noStrike" kern="1200" cap="none" spc="50" normalizeH="0" baseline="0" noProof="0" dirty="0">
                <a:ln>
                  <a:noFill/>
                </a:ln>
                <a:solidFill>
                  <a:srgbClr val="282828"/>
                </a:solidFill>
                <a:effectLst/>
                <a:uLnTx/>
                <a:uFillTx/>
                <a:latin typeface="Arial"/>
                <a:ea typeface="+mn-ea"/>
                <a:cs typeface="Arial"/>
              </a:rPr>
              <a:t>combat</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280035" marR="0" lvl="0" indent="0" algn="l" defTabSz="914400" rtl="0" eaLnBrk="1" fontAlgn="auto" latinLnBrk="0" hangingPunct="1">
              <a:lnSpc>
                <a:spcPts val="3100"/>
              </a:lnSpc>
              <a:spcBef>
                <a:spcPts val="0"/>
              </a:spcBef>
              <a:spcAft>
                <a:spcPts val="0"/>
              </a:spcAft>
              <a:buClrTx/>
              <a:buSzTx/>
              <a:buFontTx/>
              <a:buNone/>
              <a:tabLst/>
              <a:defRPr/>
            </a:pPr>
            <a:r>
              <a:rPr kumimoji="0" sz="2650" b="0" i="0" u="none" strike="noStrike" kern="1200" cap="none" spc="15" normalizeH="0" baseline="0" noProof="0" dirty="0">
                <a:ln>
                  <a:noFill/>
                </a:ln>
                <a:solidFill>
                  <a:srgbClr val="282828"/>
                </a:solidFill>
                <a:effectLst/>
                <a:uLnTx/>
                <a:uFillTx/>
                <a:latin typeface="Arial"/>
                <a:ea typeface="+mn-ea"/>
                <a:cs typeface="Arial"/>
              </a:rPr>
              <a:t>configuration </a:t>
            </a:r>
            <a:r>
              <a:rPr kumimoji="0" sz="2650" b="0" i="0" u="none" strike="noStrike" kern="1200" cap="none" spc="10" normalizeH="0" baseline="0" noProof="0" dirty="0">
                <a:ln>
                  <a:noFill/>
                </a:ln>
                <a:solidFill>
                  <a:srgbClr val="282828"/>
                </a:solidFill>
                <a:effectLst/>
                <a:uLnTx/>
                <a:uFillTx/>
                <a:latin typeface="Arial"/>
                <a:ea typeface="+mn-ea"/>
                <a:cs typeface="Arial"/>
              </a:rPr>
              <a:t>management</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280035" marR="930275" lvl="0" indent="-155575" algn="l" defTabSz="914400" rtl="0" eaLnBrk="1" fontAlgn="auto" latinLnBrk="0" hangingPunct="1">
              <a:lnSpc>
                <a:spcPts val="3115"/>
              </a:lnSpc>
              <a:spcBef>
                <a:spcPts val="1360"/>
              </a:spcBef>
              <a:spcAft>
                <a:spcPts val="0"/>
              </a:spcAft>
              <a:buClrTx/>
              <a:buSzPct val="60377"/>
              <a:buFontTx/>
              <a:buChar char="•"/>
              <a:tabLst>
                <a:tab pos="280670" algn="l"/>
              </a:tabLst>
              <a:defRPr/>
            </a:pPr>
            <a:r>
              <a:rPr kumimoji="0" sz="2650" b="0" i="0" u="none" strike="noStrike" kern="1200" cap="none" spc="5" normalizeH="0" baseline="0" noProof="0" dirty="0">
                <a:ln>
                  <a:noFill/>
                </a:ln>
                <a:solidFill>
                  <a:srgbClr val="282828"/>
                </a:solidFill>
                <a:effectLst/>
                <a:uLnTx/>
                <a:uFillTx/>
                <a:latin typeface="Arial"/>
                <a:ea typeface="+mn-ea"/>
                <a:cs typeface="Arial"/>
              </a:rPr>
              <a:t>Configuration</a:t>
            </a:r>
            <a:r>
              <a:rPr kumimoji="0" sz="2650" b="0" i="0" u="none" strike="noStrike" kern="1200" cap="none" spc="-10" normalizeH="0" baseline="0" noProof="0" dirty="0">
                <a:ln>
                  <a:noFill/>
                </a:ln>
                <a:solidFill>
                  <a:srgbClr val="282828"/>
                </a:solidFill>
                <a:effectLst/>
                <a:uLnTx/>
                <a:uFillTx/>
                <a:latin typeface="Arial"/>
                <a:ea typeface="+mn-ea"/>
                <a:cs typeface="Arial"/>
              </a:rPr>
              <a:t> </a:t>
            </a:r>
            <a:r>
              <a:rPr kumimoji="0" sz="2650" b="0" i="0" u="none" strike="noStrike" kern="1200" cap="none" spc="10" normalizeH="0" baseline="0" noProof="0" dirty="0">
                <a:ln>
                  <a:noFill/>
                </a:ln>
                <a:solidFill>
                  <a:srgbClr val="282828"/>
                </a:solidFill>
                <a:effectLst/>
                <a:uLnTx/>
                <a:uFillTx/>
                <a:latin typeface="Arial"/>
                <a:ea typeface="+mn-ea"/>
                <a:cs typeface="Arial"/>
              </a:rPr>
              <a:t>Management</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0" marR="1050290" lvl="0" indent="0" algn="ctr" defTabSz="914400" rtl="0" eaLnBrk="1" fontAlgn="auto" latinLnBrk="0" hangingPunct="1">
              <a:lnSpc>
                <a:spcPts val="3115"/>
              </a:lnSpc>
              <a:spcBef>
                <a:spcPts val="0"/>
              </a:spcBef>
              <a:spcAft>
                <a:spcPts val="0"/>
              </a:spcAft>
              <a:buClrTx/>
              <a:buSzTx/>
              <a:buFontTx/>
              <a:buNone/>
              <a:tabLst/>
              <a:defRPr/>
            </a:pPr>
            <a:r>
              <a:rPr kumimoji="0" sz="2650" b="0" i="0" u="none" strike="noStrike" kern="1200" cap="none" spc="15" normalizeH="0" baseline="0" noProof="0" dirty="0">
                <a:ln>
                  <a:noFill/>
                </a:ln>
                <a:solidFill>
                  <a:srgbClr val="282828"/>
                </a:solidFill>
                <a:effectLst/>
                <a:uLnTx/>
                <a:uFillTx/>
                <a:latin typeface="Arial"/>
                <a:ea typeface="+mn-ea"/>
                <a:cs typeface="Arial"/>
              </a:rPr>
              <a:t>today </a:t>
            </a:r>
            <a:r>
              <a:rPr kumimoji="0" sz="2650" b="0" i="0" u="none" strike="noStrike" kern="1200" cap="none" spc="-20" normalizeH="0" baseline="0" noProof="0" dirty="0">
                <a:ln>
                  <a:noFill/>
                </a:ln>
                <a:solidFill>
                  <a:srgbClr val="282828"/>
                </a:solidFill>
                <a:effectLst/>
                <a:uLnTx/>
                <a:uFillTx/>
                <a:latin typeface="Arial"/>
                <a:ea typeface="+mn-ea"/>
                <a:cs typeface="Arial"/>
              </a:rPr>
              <a:t>is </a:t>
            </a:r>
            <a:r>
              <a:rPr kumimoji="0" sz="2650" b="0" i="0" u="none" strike="noStrike" kern="1200" cap="none" spc="10" normalizeH="0" baseline="0" noProof="0" dirty="0">
                <a:ln>
                  <a:noFill/>
                </a:ln>
                <a:solidFill>
                  <a:srgbClr val="282828"/>
                </a:solidFill>
                <a:effectLst/>
                <a:uLnTx/>
                <a:uFillTx/>
                <a:latin typeface="Arial"/>
                <a:ea typeface="+mn-ea"/>
                <a:cs typeface="Arial"/>
              </a:rPr>
              <a:t>about </a:t>
            </a:r>
            <a:r>
              <a:rPr kumimoji="0" sz="2650" b="0" i="0" u="none" strike="noStrike" kern="1200" cap="none" spc="30" normalizeH="0" baseline="0" noProof="0" dirty="0">
                <a:ln>
                  <a:noFill/>
                </a:ln>
                <a:solidFill>
                  <a:srgbClr val="282828"/>
                </a:solidFill>
                <a:effectLst/>
                <a:uLnTx/>
                <a:uFillTx/>
                <a:latin typeface="Arial"/>
                <a:ea typeface="+mn-ea"/>
                <a:cs typeface="Arial"/>
              </a:rPr>
              <a:t>the</a:t>
            </a:r>
            <a:r>
              <a:rPr kumimoji="0" sz="2650" b="0" i="0" u="none" strike="noStrike" kern="1200" cap="none" spc="235" normalizeH="0" baseline="0" noProof="0" dirty="0">
                <a:ln>
                  <a:noFill/>
                </a:ln>
                <a:solidFill>
                  <a:srgbClr val="282828"/>
                </a:solidFill>
                <a:effectLst/>
                <a:uLnTx/>
                <a:uFillTx/>
                <a:latin typeface="Arial"/>
                <a:ea typeface="+mn-ea"/>
                <a:cs typeface="Arial"/>
              </a:rPr>
              <a:t> </a:t>
            </a:r>
            <a:r>
              <a:rPr kumimoji="0" sz="2650" b="0" i="0" u="none" strike="noStrike" kern="1200" cap="none" spc="75" normalizeH="0" baseline="0" noProof="0" dirty="0">
                <a:ln>
                  <a:noFill/>
                </a:ln>
                <a:solidFill>
                  <a:srgbClr val="282828"/>
                </a:solidFill>
                <a:effectLst/>
                <a:uLnTx/>
                <a:uFillTx/>
                <a:latin typeface="Arial"/>
                <a:ea typeface="+mn-ea"/>
                <a:cs typeface="Arial"/>
              </a:rPr>
              <a:t>“tools”</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0" marR="1019175" lvl="0" indent="0" algn="ctr" defTabSz="914400" rtl="0" eaLnBrk="1" fontAlgn="auto" latinLnBrk="0" hangingPunct="1">
              <a:lnSpc>
                <a:spcPts val="5150"/>
              </a:lnSpc>
              <a:spcBef>
                <a:spcPts val="2450"/>
              </a:spcBef>
              <a:spcAft>
                <a:spcPts val="0"/>
              </a:spcAft>
              <a:buClrTx/>
              <a:buSzTx/>
              <a:buFontTx/>
              <a:buNone/>
              <a:tabLst/>
              <a:defRPr/>
            </a:pPr>
            <a:r>
              <a:rPr kumimoji="0" sz="4400" b="0" i="0" u="none" strike="noStrike" kern="1200" cap="none" spc="15" normalizeH="0" baseline="0" noProof="0" dirty="0">
                <a:ln>
                  <a:noFill/>
                </a:ln>
                <a:solidFill>
                  <a:srgbClr val="282828"/>
                </a:solidFill>
                <a:effectLst/>
                <a:uLnTx/>
                <a:uFillTx/>
                <a:latin typeface="Arial"/>
                <a:ea typeface="+mn-ea"/>
                <a:cs typeface="Arial"/>
              </a:rPr>
              <a:t>Consistency</a:t>
            </a:r>
            <a:endParaRPr kumimoji="0" sz="4400" b="0" i="0" u="none" strike="noStrike" kern="1200" cap="none" spc="0" normalizeH="0" baseline="0" noProof="0">
              <a:ln>
                <a:noFill/>
              </a:ln>
              <a:solidFill>
                <a:prstClr val="black"/>
              </a:solidFill>
              <a:effectLst/>
              <a:uLnTx/>
              <a:uFillTx/>
              <a:latin typeface="Arial"/>
              <a:ea typeface="+mn-ea"/>
              <a:cs typeface="Arial"/>
            </a:endParaRPr>
          </a:p>
          <a:p>
            <a:pPr marL="0" marR="1125220" lvl="0" indent="0" algn="ctr" defTabSz="914400" rtl="0" eaLnBrk="1" fontAlgn="auto" latinLnBrk="0" hangingPunct="1">
              <a:lnSpc>
                <a:spcPts val="5020"/>
              </a:lnSpc>
              <a:spcBef>
                <a:spcPts val="0"/>
              </a:spcBef>
              <a:spcAft>
                <a:spcPts val="0"/>
              </a:spcAft>
              <a:buClrTx/>
              <a:buSzTx/>
              <a:buFontTx/>
              <a:buNone/>
              <a:tabLst>
                <a:tab pos="1285875" algn="l"/>
              </a:tabLst>
              <a:defRPr/>
            </a:pPr>
            <a:r>
              <a:rPr kumimoji="0" sz="4400" b="0" i="0" u="heavy" strike="noStrike" kern="1200" cap="none" spc="90" normalizeH="0" baseline="0" noProof="0" dirty="0">
                <a:ln>
                  <a:noFill/>
                </a:ln>
                <a:solidFill>
                  <a:srgbClr val="282828"/>
                </a:solidFill>
                <a:effectLst/>
                <a:uLnTx/>
                <a:uFillTx/>
                <a:latin typeface="Arial"/>
                <a:ea typeface="+mn-ea"/>
                <a:cs typeface="Arial"/>
              </a:rPr>
              <a:t> 	</a:t>
            </a:r>
            <a:r>
              <a:rPr kumimoji="0" sz="4400" b="0" i="0" u="heavy" strike="noStrike" kern="1200" cap="none" spc="60" normalizeH="0" baseline="0" noProof="0" dirty="0">
                <a:ln>
                  <a:noFill/>
                </a:ln>
                <a:solidFill>
                  <a:srgbClr val="282828"/>
                </a:solidFill>
                <a:effectLst/>
                <a:uLnTx/>
                <a:uFillTx/>
                <a:latin typeface="Arial"/>
                <a:ea typeface="+mn-ea"/>
                <a:cs typeface="Arial"/>
              </a:rPr>
              <a:t>+</a:t>
            </a:r>
            <a:r>
              <a:rPr kumimoji="0" sz="4400" b="0" i="0" u="heavy" strike="noStrike" kern="1200" cap="none" spc="0" normalizeH="0" baseline="0" noProof="0" dirty="0">
                <a:ln>
                  <a:noFill/>
                </a:ln>
                <a:solidFill>
                  <a:srgbClr val="282828"/>
                </a:solidFill>
                <a:effectLst/>
                <a:uLnTx/>
                <a:uFillTx/>
                <a:latin typeface="Arial"/>
                <a:ea typeface="+mn-ea"/>
                <a:cs typeface="Arial"/>
              </a:rPr>
              <a:t> </a:t>
            </a:r>
            <a:r>
              <a:rPr kumimoji="0" sz="4400" b="0" i="0" u="heavy" strike="noStrike" kern="1200" cap="none" spc="-10" normalizeH="0" baseline="0" noProof="0" dirty="0">
                <a:ln>
                  <a:noFill/>
                </a:ln>
                <a:solidFill>
                  <a:srgbClr val="282828"/>
                </a:solidFill>
                <a:effectLst/>
                <a:uLnTx/>
                <a:uFillTx/>
                <a:latin typeface="Arial"/>
                <a:ea typeface="+mn-ea"/>
                <a:cs typeface="Arial"/>
              </a:rPr>
              <a:t>Scale</a:t>
            </a:r>
            <a:endParaRPr kumimoji="0" sz="4400" b="0" i="0" u="none" strike="noStrike" kern="1200" cap="none" spc="0" normalizeH="0" baseline="0" noProof="0">
              <a:ln>
                <a:noFill/>
              </a:ln>
              <a:solidFill>
                <a:prstClr val="black"/>
              </a:solidFill>
              <a:effectLst/>
              <a:uLnTx/>
              <a:uFillTx/>
              <a:latin typeface="Arial"/>
              <a:ea typeface="+mn-ea"/>
              <a:cs typeface="Arial"/>
            </a:endParaRPr>
          </a:p>
          <a:p>
            <a:pPr marL="1463040" marR="0" lvl="0" indent="0" algn="l" defTabSz="914400" rtl="0" eaLnBrk="1" fontAlgn="auto" latinLnBrk="0" hangingPunct="1">
              <a:lnSpc>
                <a:spcPts val="5150"/>
              </a:lnSpc>
              <a:spcBef>
                <a:spcPts val="0"/>
              </a:spcBef>
              <a:spcAft>
                <a:spcPts val="0"/>
              </a:spcAft>
              <a:buClrTx/>
              <a:buSzTx/>
              <a:buFontTx/>
              <a:buNone/>
              <a:tabLst/>
              <a:defRPr/>
            </a:pPr>
            <a:r>
              <a:rPr kumimoji="0" sz="4400" b="0" i="0" u="none" strike="noStrike" kern="1200" cap="none" spc="10" normalizeH="0" baseline="0" noProof="0" dirty="0">
                <a:ln>
                  <a:noFill/>
                </a:ln>
                <a:solidFill>
                  <a:srgbClr val="282828"/>
                </a:solidFill>
                <a:effectLst/>
                <a:uLnTx/>
                <a:uFillTx/>
                <a:latin typeface="Arial"/>
                <a:ea typeface="+mn-ea"/>
                <a:cs typeface="Arial"/>
              </a:rPr>
              <a:t>Success!</a:t>
            </a:r>
            <a:endParaRPr kumimoji="0" sz="44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p:nvPr/>
        </p:nvSpPr>
        <p:spPr>
          <a:xfrm>
            <a:off x="6763511" y="1609344"/>
            <a:ext cx="4221480" cy="3764279"/>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a:spLocks noGrp="1"/>
          </p:cNvSpPr>
          <p:nvPr>
            <p:ph type="ftr" sz="quarter" idx="5"/>
          </p:nvPr>
        </p:nvSpPr>
        <p:spPr>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p>
        </p:txBody>
      </p:sp>
    </p:spTree>
    <p:extLst>
      <p:ext uri="{BB962C8B-B14F-4D97-AF65-F5344CB8AC3E}">
        <p14:creationId xmlns:p14="http://schemas.microsoft.com/office/powerpoint/2010/main" val="34189114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74903" y="1452981"/>
            <a:ext cx="4726305" cy="2907030"/>
          </a:xfrm>
          <a:prstGeom prst="rect">
            <a:avLst/>
          </a:prstGeom>
        </p:spPr>
        <p:txBody>
          <a:bodyPr vert="horz" wrap="square" lIns="0" tIns="184785" rIns="0" bIns="0" rtlCol="0">
            <a:spAutoFit/>
          </a:bodyPr>
          <a:lstStyle/>
          <a:p>
            <a:pPr marL="167640" marR="0" lvl="0" indent="-154940" algn="l" defTabSz="914400" rtl="0" eaLnBrk="1" fontAlgn="auto" latinLnBrk="0" hangingPunct="1">
              <a:lnSpc>
                <a:spcPct val="100000"/>
              </a:lnSpc>
              <a:spcBef>
                <a:spcPts val="1455"/>
              </a:spcBef>
              <a:spcAft>
                <a:spcPts val="0"/>
              </a:spcAft>
              <a:buClrTx/>
              <a:buSzPct val="60377"/>
              <a:buFontTx/>
              <a:buChar char="•"/>
              <a:tabLst>
                <a:tab pos="168275" algn="l"/>
              </a:tabLst>
              <a:defRPr/>
            </a:pPr>
            <a:r>
              <a:rPr kumimoji="0" sz="2650" b="0" i="0" u="none" strike="noStrike" kern="1200" cap="none" spc="10" normalizeH="0" baseline="0" noProof="0" dirty="0">
                <a:ln>
                  <a:noFill/>
                </a:ln>
                <a:solidFill>
                  <a:srgbClr val="282828"/>
                </a:solidFill>
                <a:effectLst/>
                <a:uLnTx/>
                <a:uFillTx/>
                <a:latin typeface="Arial"/>
                <a:ea typeface="+mn-ea"/>
                <a:cs typeface="Arial"/>
              </a:rPr>
              <a:t>Automation </a:t>
            </a:r>
            <a:r>
              <a:rPr kumimoji="0" sz="2650" b="0" i="0" u="none" strike="noStrike" kern="1200" cap="none" spc="0" normalizeH="0" baseline="0" noProof="0" dirty="0">
                <a:ln>
                  <a:noFill/>
                </a:ln>
                <a:solidFill>
                  <a:srgbClr val="282828"/>
                </a:solidFill>
                <a:effectLst/>
                <a:uLnTx/>
                <a:uFillTx/>
                <a:latin typeface="Arial"/>
                <a:ea typeface="+mn-ea"/>
                <a:cs typeface="Arial"/>
              </a:rPr>
              <a:t>and</a:t>
            </a:r>
            <a:r>
              <a:rPr kumimoji="0" sz="2650" b="0" i="0" u="none" strike="noStrike" kern="1200" cap="none" spc="90" normalizeH="0" baseline="0" noProof="0" dirty="0">
                <a:ln>
                  <a:noFill/>
                </a:ln>
                <a:solidFill>
                  <a:srgbClr val="282828"/>
                </a:solidFill>
                <a:effectLst/>
                <a:uLnTx/>
                <a:uFillTx/>
                <a:latin typeface="Arial"/>
                <a:ea typeface="+mn-ea"/>
                <a:cs typeface="Arial"/>
              </a:rPr>
              <a:t> </a:t>
            </a:r>
            <a:r>
              <a:rPr kumimoji="0" sz="2650" b="0" i="0" u="none" strike="noStrike" kern="1200" cap="none" spc="10" normalizeH="0" baseline="0" noProof="0" dirty="0">
                <a:ln>
                  <a:noFill/>
                </a:ln>
                <a:solidFill>
                  <a:srgbClr val="282828"/>
                </a:solidFill>
                <a:effectLst/>
                <a:uLnTx/>
                <a:uFillTx/>
                <a:latin typeface="Arial"/>
                <a:ea typeface="+mn-ea"/>
                <a:cs typeface="Arial"/>
              </a:rPr>
              <a:t>Orchestration</a:t>
            </a:r>
            <a:endParaRPr kumimoji="0" sz="2650" b="0" i="0" u="none" strike="noStrike" kern="1200" cap="none" spc="0" normalizeH="0" baseline="0" noProof="0" dirty="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55"/>
              </a:spcBef>
              <a:spcAft>
                <a:spcPts val="0"/>
              </a:spcAft>
              <a:buClrTx/>
              <a:buSzPct val="60377"/>
              <a:buFontTx/>
              <a:buChar char="•"/>
              <a:tabLst>
                <a:tab pos="168275" algn="l"/>
              </a:tabLst>
              <a:defRPr/>
            </a:pPr>
            <a:r>
              <a:rPr kumimoji="0" sz="2650" b="0" i="0" u="none" strike="noStrike" kern="1200" cap="none" spc="25" normalizeH="0" baseline="0" noProof="0" dirty="0">
                <a:ln>
                  <a:noFill/>
                </a:ln>
                <a:solidFill>
                  <a:srgbClr val="282828"/>
                </a:solidFill>
                <a:effectLst/>
                <a:uLnTx/>
                <a:uFillTx/>
                <a:latin typeface="Arial"/>
                <a:ea typeface="+mn-ea"/>
                <a:cs typeface="Arial"/>
              </a:rPr>
              <a:t>Idempotent</a:t>
            </a:r>
            <a:r>
              <a:rPr kumimoji="0" sz="2650" b="0" i="0" u="none" strike="noStrike" kern="1200" cap="none" spc="75" normalizeH="0" baseline="0" noProof="0" dirty="0">
                <a:ln>
                  <a:noFill/>
                </a:ln>
                <a:solidFill>
                  <a:srgbClr val="282828"/>
                </a:solidFill>
                <a:effectLst/>
                <a:uLnTx/>
                <a:uFillTx/>
                <a:latin typeface="Arial"/>
                <a:ea typeface="+mn-ea"/>
                <a:cs typeface="Arial"/>
              </a:rPr>
              <a:t> </a:t>
            </a:r>
            <a:r>
              <a:rPr kumimoji="0" sz="2650" b="0" i="0" u="none" strike="noStrike" kern="1200" cap="none" spc="-10" normalizeH="0" baseline="0" noProof="0" dirty="0">
                <a:ln>
                  <a:noFill/>
                </a:ln>
                <a:solidFill>
                  <a:srgbClr val="282828"/>
                </a:solidFill>
                <a:effectLst/>
                <a:uLnTx/>
                <a:uFillTx/>
                <a:latin typeface="Arial"/>
                <a:ea typeface="+mn-ea"/>
                <a:cs typeface="Arial"/>
              </a:rPr>
              <a:t>Behavior</a:t>
            </a:r>
            <a:endParaRPr kumimoji="0" sz="2650" b="0" i="0" u="none" strike="noStrike" kern="1200" cap="none" spc="0" normalizeH="0" baseline="0" noProof="0" dirty="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50"/>
              </a:spcBef>
              <a:spcAft>
                <a:spcPts val="0"/>
              </a:spcAft>
              <a:buClrTx/>
              <a:buSzPct val="60377"/>
              <a:buFontTx/>
              <a:buChar char="•"/>
              <a:tabLst>
                <a:tab pos="168275" algn="l"/>
              </a:tabLst>
              <a:defRPr/>
            </a:pPr>
            <a:r>
              <a:rPr kumimoji="0" sz="2650" b="0" i="0" u="none" strike="noStrike" kern="1200" cap="none" spc="-5" normalizeH="0" baseline="0" noProof="0" dirty="0">
                <a:ln>
                  <a:noFill/>
                </a:ln>
                <a:solidFill>
                  <a:srgbClr val="282828"/>
                </a:solidFill>
                <a:effectLst/>
                <a:uLnTx/>
                <a:uFillTx/>
                <a:latin typeface="Arial"/>
                <a:ea typeface="+mn-ea"/>
                <a:cs typeface="Arial"/>
              </a:rPr>
              <a:t>Facts, </a:t>
            </a:r>
            <a:r>
              <a:rPr kumimoji="0" sz="2650" b="0" i="0" u="none" strike="noStrike" kern="1200" cap="none" spc="15" normalizeH="0" baseline="0" noProof="0" dirty="0">
                <a:ln>
                  <a:noFill/>
                </a:ln>
                <a:solidFill>
                  <a:srgbClr val="282828"/>
                </a:solidFill>
                <a:effectLst/>
                <a:uLnTx/>
                <a:uFillTx/>
                <a:latin typeface="Arial"/>
                <a:ea typeface="+mn-ea"/>
                <a:cs typeface="Arial"/>
              </a:rPr>
              <a:t>lots </a:t>
            </a:r>
            <a:r>
              <a:rPr kumimoji="0" sz="2650" b="0" i="0" u="none" strike="noStrike" kern="1200" cap="none" spc="50" normalizeH="0" baseline="0" noProof="0" dirty="0">
                <a:ln>
                  <a:noFill/>
                </a:ln>
                <a:solidFill>
                  <a:srgbClr val="282828"/>
                </a:solidFill>
                <a:effectLst/>
                <a:uLnTx/>
                <a:uFillTx/>
                <a:latin typeface="Arial"/>
                <a:ea typeface="+mn-ea"/>
                <a:cs typeface="Arial"/>
              </a:rPr>
              <a:t>of</a:t>
            </a:r>
            <a:r>
              <a:rPr kumimoji="0" sz="2650" b="0" i="0" u="none" strike="noStrike" kern="1200" cap="none" spc="80" normalizeH="0" baseline="0" noProof="0" dirty="0">
                <a:ln>
                  <a:noFill/>
                </a:ln>
                <a:solidFill>
                  <a:srgbClr val="282828"/>
                </a:solidFill>
                <a:effectLst/>
                <a:uLnTx/>
                <a:uFillTx/>
                <a:latin typeface="Arial"/>
                <a:ea typeface="+mn-ea"/>
                <a:cs typeface="Arial"/>
              </a:rPr>
              <a:t> </a:t>
            </a:r>
            <a:r>
              <a:rPr kumimoji="0" sz="2650" b="0" i="0" u="none" strike="noStrike" kern="1200" cap="none" spc="30" normalizeH="0" baseline="0" noProof="0" dirty="0">
                <a:ln>
                  <a:noFill/>
                </a:ln>
                <a:solidFill>
                  <a:srgbClr val="282828"/>
                </a:solidFill>
                <a:effectLst/>
                <a:uLnTx/>
                <a:uFillTx/>
                <a:latin typeface="Arial"/>
                <a:ea typeface="+mn-ea"/>
                <a:cs typeface="Arial"/>
              </a:rPr>
              <a:t>facts</a:t>
            </a:r>
            <a:endParaRPr kumimoji="0" sz="2650" b="0" i="0" u="none" strike="noStrike" kern="1200" cap="none" spc="0" normalizeH="0" baseline="0" noProof="0" dirty="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55"/>
              </a:spcBef>
              <a:spcAft>
                <a:spcPts val="0"/>
              </a:spcAft>
              <a:buClrTx/>
              <a:buSzPct val="60377"/>
              <a:buFontTx/>
              <a:buChar char="•"/>
              <a:tabLst>
                <a:tab pos="168275" algn="l"/>
              </a:tabLst>
              <a:defRPr/>
            </a:pPr>
            <a:r>
              <a:rPr kumimoji="0" sz="2650" b="0" i="0" u="none" strike="noStrike" kern="1200" cap="none" spc="10" normalizeH="0" baseline="0" noProof="0" dirty="0">
                <a:ln>
                  <a:noFill/>
                </a:ln>
                <a:solidFill>
                  <a:srgbClr val="282828"/>
                </a:solidFill>
                <a:effectLst/>
                <a:uLnTx/>
                <a:uFillTx/>
                <a:latin typeface="Arial"/>
                <a:ea typeface="+mn-ea"/>
                <a:cs typeface="Arial"/>
              </a:rPr>
              <a:t>Modules </a:t>
            </a:r>
            <a:r>
              <a:rPr kumimoji="0" sz="2650" b="0" i="0" u="none" strike="noStrike" kern="1200" cap="none" spc="0" normalizeH="0" baseline="0" noProof="0" dirty="0">
                <a:ln>
                  <a:noFill/>
                </a:ln>
                <a:solidFill>
                  <a:srgbClr val="282828"/>
                </a:solidFill>
                <a:effectLst/>
                <a:uLnTx/>
                <a:uFillTx/>
                <a:latin typeface="Arial"/>
                <a:ea typeface="+mn-ea"/>
                <a:cs typeface="Arial"/>
              </a:rPr>
              <a:t>and</a:t>
            </a:r>
            <a:r>
              <a:rPr kumimoji="0" sz="2650" b="0" i="0" u="none" strike="noStrike" kern="1200" cap="none" spc="75" normalizeH="0" baseline="0" noProof="0" dirty="0">
                <a:ln>
                  <a:noFill/>
                </a:ln>
                <a:solidFill>
                  <a:srgbClr val="282828"/>
                </a:solidFill>
                <a:effectLst/>
                <a:uLnTx/>
                <a:uFillTx/>
                <a:latin typeface="Arial"/>
                <a:ea typeface="+mn-ea"/>
                <a:cs typeface="Arial"/>
              </a:rPr>
              <a:t> </a:t>
            </a:r>
            <a:r>
              <a:rPr kumimoji="0" sz="2650" b="0" i="0" u="none" strike="noStrike" kern="1200" cap="none" spc="0" normalizeH="0" baseline="0" noProof="0" dirty="0">
                <a:ln>
                  <a:noFill/>
                </a:ln>
                <a:solidFill>
                  <a:srgbClr val="282828"/>
                </a:solidFill>
                <a:effectLst/>
                <a:uLnTx/>
                <a:uFillTx/>
                <a:latin typeface="Arial"/>
                <a:ea typeface="+mn-ea"/>
                <a:cs typeface="Arial"/>
              </a:rPr>
              <a:t>Libraries</a:t>
            </a:r>
            <a:endParaRPr kumimoji="0" sz="2650" b="0" i="0" u="none" strike="noStrike" kern="1200" cap="none" spc="0" normalizeH="0" baseline="0" noProof="0" dirty="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55"/>
              </a:spcBef>
              <a:spcAft>
                <a:spcPts val="0"/>
              </a:spcAft>
              <a:buClrTx/>
              <a:buSzPct val="60377"/>
              <a:buFontTx/>
              <a:buChar char="•"/>
              <a:tabLst>
                <a:tab pos="168275" algn="l"/>
              </a:tabLst>
              <a:defRPr/>
            </a:pPr>
            <a:r>
              <a:rPr kumimoji="0" sz="2650" b="0" i="0" u="none" strike="noStrike" kern="1200" cap="none" spc="5" normalizeH="0" baseline="0" noProof="0" dirty="0">
                <a:ln>
                  <a:noFill/>
                </a:ln>
                <a:solidFill>
                  <a:srgbClr val="282828"/>
                </a:solidFill>
                <a:effectLst/>
                <a:uLnTx/>
                <a:uFillTx/>
                <a:latin typeface="Arial"/>
                <a:ea typeface="+mn-ea"/>
                <a:cs typeface="Arial"/>
              </a:rPr>
              <a:t>Open </a:t>
            </a:r>
            <a:r>
              <a:rPr kumimoji="0" sz="2650" b="0" i="0" u="none" strike="noStrike" kern="1200" cap="none" spc="25" normalizeH="0" baseline="0" noProof="0" dirty="0">
                <a:ln>
                  <a:noFill/>
                </a:ln>
                <a:solidFill>
                  <a:srgbClr val="282828"/>
                </a:solidFill>
                <a:effectLst/>
                <a:uLnTx/>
                <a:uFillTx/>
                <a:latin typeface="Arial"/>
                <a:ea typeface="+mn-ea"/>
                <a:cs typeface="Arial"/>
              </a:rPr>
              <a:t>Source</a:t>
            </a:r>
            <a:r>
              <a:rPr kumimoji="0" sz="2650" b="0" i="0" u="none" strike="noStrike" kern="1200" cap="none" spc="65" normalizeH="0" baseline="0" noProof="0" dirty="0">
                <a:ln>
                  <a:noFill/>
                </a:ln>
                <a:solidFill>
                  <a:srgbClr val="282828"/>
                </a:solidFill>
                <a:effectLst/>
                <a:uLnTx/>
                <a:uFillTx/>
                <a:latin typeface="Arial"/>
                <a:ea typeface="+mn-ea"/>
                <a:cs typeface="Arial"/>
              </a:rPr>
              <a:t> </a:t>
            </a:r>
            <a:r>
              <a:rPr kumimoji="0" sz="2650" b="0" i="0" u="none" strike="noStrike" kern="1200" cap="none" spc="-5" normalizeH="0" baseline="0" noProof="0" dirty="0">
                <a:ln>
                  <a:noFill/>
                </a:ln>
                <a:solidFill>
                  <a:srgbClr val="282828"/>
                </a:solidFill>
                <a:effectLst/>
                <a:uLnTx/>
                <a:uFillTx/>
                <a:latin typeface="Arial"/>
                <a:ea typeface="+mn-ea"/>
                <a:cs typeface="Arial"/>
              </a:rPr>
              <a:t>Foundation</a:t>
            </a:r>
            <a:endParaRPr kumimoji="0" sz="2650" b="0" i="0" u="none" strike="noStrike" kern="1200" cap="none" spc="0" normalizeH="0" baseline="0" noProof="0" dirty="0">
              <a:ln>
                <a:noFill/>
              </a:ln>
              <a:solidFill>
                <a:prstClr val="black"/>
              </a:solidFill>
              <a:effectLst/>
              <a:uLnTx/>
              <a:uFillTx/>
              <a:latin typeface="Arial"/>
              <a:ea typeface="+mn-ea"/>
              <a:cs typeface="Arial"/>
            </a:endParaRPr>
          </a:p>
        </p:txBody>
      </p:sp>
      <p:sp>
        <p:nvSpPr>
          <p:cNvPr id="3" name="object 3"/>
          <p:cNvSpPr txBox="1">
            <a:spLocks noGrp="1"/>
          </p:cNvSpPr>
          <p:nvPr>
            <p:ph type="title"/>
          </p:nvPr>
        </p:nvSpPr>
        <p:spPr>
          <a:prstGeom prst="rect">
            <a:avLst/>
          </a:prstGeom>
        </p:spPr>
        <p:txBody>
          <a:bodyPr vert="horz" wrap="square" lIns="0" tIns="12065" rIns="0" bIns="0" rtlCol="0">
            <a:spAutoFit/>
          </a:bodyPr>
          <a:lstStyle/>
          <a:p>
            <a:pPr marL="89535">
              <a:lnSpc>
                <a:spcPct val="100000"/>
              </a:lnSpc>
              <a:spcBef>
                <a:spcPts val="95"/>
              </a:spcBef>
            </a:pPr>
            <a:r>
              <a:rPr dirty="0"/>
              <a:t>Configuration </a:t>
            </a:r>
            <a:r>
              <a:rPr spc="5" dirty="0"/>
              <a:t>Management</a:t>
            </a:r>
            <a:r>
              <a:rPr spc="225" dirty="0"/>
              <a:t> </a:t>
            </a:r>
            <a:r>
              <a:rPr spc="-25" dirty="0"/>
              <a:t>Tools</a:t>
            </a:r>
          </a:p>
        </p:txBody>
      </p:sp>
      <p:sp>
        <p:nvSpPr>
          <p:cNvPr id="4" name="object 4"/>
          <p:cNvSpPr/>
          <p:nvPr/>
        </p:nvSpPr>
        <p:spPr>
          <a:xfrm>
            <a:off x="6306311" y="1673351"/>
            <a:ext cx="2261616" cy="2228088"/>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8436864" y="1725167"/>
            <a:ext cx="2020824" cy="1993391"/>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8680704" y="4011167"/>
            <a:ext cx="1530096" cy="1883664"/>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5888735" y="4194047"/>
            <a:ext cx="2548127" cy="1594104"/>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txBox="1">
            <a:spLocks noGrp="1"/>
          </p:cNvSpPr>
          <p:nvPr>
            <p:ph type="ftr" sz="quarter" idx="5"/>
          </p:nvPr>
        </p:nvSpPr>
        <p:spPr>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p>
        </p:txBody>
      </p:sp>
    </p:spTree>
    <p:extLst>
      <p:ext uri="{BB962C8B-B14F-4D97-AF65-F5344CB8AC3E}">
        <p14:creationId xmlns:p14="http://schemas.microsoft.com/office/powerpoint/2010/main" val="1429805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62736" y="587501"/>
            <a:ext cx="7324725" cy="596265"/>
          </a:xfrm>
          <a:prstGeom prst="rect">
            <a:avLst/>
          </a:prstGeom>
        </p:spPr>
        <p:txBody>
          <a:bodyPr vert="horz" wrap="square" lIns="0" tIns="12065" rIns="0" bIns="0" rtlCol="0">
            <a:spAutoFit/>
          </a:bodyPr>
          <a:lstStyle/>
          <a:p>
            <a:pPr marL="12700">
              <a:lnSpc>
                <a:spcPct val="100000"/>
              </a:lnSpc>
              <a:spcBef>
                <a:spcPts val="95"/>
              </a:spcBef>
            </a:pPr>
            <a:r>
              <a:rPr dirty="0"/>
              <a:t>Matrix </a:t>
            </a:r>
            <a:r>
              <a:rPr spc="65" dirty="0"/>
              <a:t>of </a:t>
            </a:r>
            <a:r>
              <a:rPr spc="25" dirty="0"/>
              <a:t>Common </a:t>
            </a:r>
            <a:r>
              <a:rPr spc="-30" dirty="0"/>
              <a:t>Info </a:t>
            </a:r>
            <a:r>
              <a:rPr spc="-15" dirty="0"/>
              <a:t>and</a:t>
            </a:r>
            <a:r>
              <a:rPr spc="250" dirty="0"/>
              <a:t> </a:t>
            </a:r>
            <a:r>
              <a:rPr spc="-5" dirty="0"/>
              <a:t>Terms</a:t>
            </a:r>
          </a:p>
        </p:txBody>
      </p:sp>
      <p:graphicFrame>
        <p:nvGraphicFramePr>
          <p:cNvPr id="3" name="object 3"/>
          <p:cNvGraphicFramePr>
            <a:graphicFrameLocks noGrp="1"/>
          </p:cNvGraphicFramePr>
          <p:nvPr/>
        </p:nvGraphicFramePr>
        <p:xfrm>
          <a:off x="577329" y="2905379"/>
          <a:ext cx="11127371" cy="2806700"/>
        </p:xfrm>
        <a:graphic>
          <a:graphicData uri="http://schemas.openxmlformats.org/drawingml/2006/table">
            <a:tbl>
              <a:tblPr firstRow="1" bandRow="1">
                <a:tableStyleId>{2D5ABB26-0587-4C30-8999-92F81FD0307C}</a:tableStyleId>
              </a:tblPr>
              <a:tblGrid>
                <a:gridCol w="2365895">
                  <a:extLst>
                    <a:ext uri="{9D8B030D-6E8A-4147-A177-3AD203B41FA5}">
                      <a16:colId xmlns:a16="http://schemas.microsoft.com/office/drawing/2014/main" val="20000"/>
                    </a:ext>
                  </a:extLst>
                </a:gridCol>
                <a:gridCol w="2085086">
                  <a:extLst>
                    <a:ext uri="{9D8B030D-6E8A-4147-A177-3AD203B41FA5}">
                      <a16:colId xmlns:a16="http://schemas.microsoft.com/office/drawing/2014/main" val="20001"/>
                    </a:ext>
                  </a:extLst>
                </a:gridCol>
                <a:gridCol w="2225421">
                  <a:extLst>
                    <a:ext uri="{9D8B030D-6E8A-4147-A177-3AD203B41FA5}">
                      <a16:colId xmlns:a16="http://schemas.microsoft.com/office/drawing/2014/main" val="20002"/>
                    </a:ext>
                  </a:extLst>
                </a:gridCol>
                <a:gridCol w="2225421">
                  <a:extLst>
                    <a:ext uri="{9D8B030D-6E8A-4147-A177-3AD203B41FA5}">
                      <a16:colId xmlns:a16="http://schemas.microsoft.com/office/drawing/2014/main" val="20003"/>
                    </a:ext>
                  </a:extLst>
                </a:gridCol>
                <a:gridCol w="2225548">
                  <a:extLst>
                    <a:ext uri="{9D8B030D-6E8A-4147-A177-3AD203B41FA5}">
                      <a16:colId xmlns:a16="http://schemas.microsoft.com/office/drawing/2014/main" val="20004"/>
                    </a:ext>
                  </a:extLst>
                </a:gridCol>
              </a:tblGrid>
              <a:tr h="355600">
                <a:tc>
                  <a:txBody>
                    <a:bodyPr/>
                    <a:lstStyle/>
                    <a:p>
                      <a:pPr>
                        <a:lnSpc>
                          <a:spcPct val="100000"/>
                        </a:lnSpc>
                      </a:pPr>
                      <a:endParaRPr sz="1800">
                        <a:latin typeface="Times New Roman"/>
                        <a:cs typeface="Times New Roman"/>
                      </a:endParaRPr>
                    </a:p>
                  </a:txBody>
                  <a:tcPr marL="0" marR="0" marT="0" marB="0">
                    <a:lnL w="12700">
                      <a:solidFill>
                        <a:srgbClr val="005073"/>
                      </a:solidFill>
                      <a:prstDash val="solid"/>
                    </a:lnL>
                    <a:lnR w="12700">
                      <a:solidFill>
                        <a:srgbClr val="005073"/>
                      </a:solidFill>
                      <a:prstDash val="solid"/>
                    </a:lnR>
                    <a:lnT w="12700">
                      <a:solidFill>
                        <a:srgbClr val="005073"/>
                      </a:solidFill>
                      <a:prstDash val="solid"/>
                    </a:lnT>
                    <a:lnB w="38100">
                      <a:solidFill>
                        <a:srgbClr val="005073"/>
                      </a:solidFill>
                      <a:prstDash val="solid"/>
                    </a:lnB>
                    <a:solidFill>
                      <a:srgbClr val="00BBEB"/>
                    </a:solidFill>
                  </a:tcPr>
                </a:tc>
                <a:tc>
                  <a:txBody>
                    <a:bodyPr/>
                    <a:lstStyle/>
                    <a:p>
                      <a:pPr marL="85725">
                        <a:lnSpc>
                          <a:spcPct val="100000"/>
                        </a:lnSpc>
                        <a:spcBef>
                          <a:spcPts val="340"/>
                        </a:spcBef>
                      </a:pPr>
                      <a:r>
                        <a:rPr sz="1850" spc="25" dirty="0">
                          <a:solidFill>
                            <a:srgbClr val="005073"/>
                          </a:solidFill>
                          <a:latin typeface="Arial"/>
                          <a:cs typeface="Arial"/>
                        </a:rPr>
                        <a:t>Puppet</a:t>
                      </a:r>
                      <a:endParaRPr sz="1850">
                        <a:latin typeface="Arial"/>
                        <a:cs typeface="Arial"/>
                      </a:endParaRPr>
                    </a:p>
                  </a:txBody>
                  <a:tcPr marL="0" marR="0" marT="43180" marB="0">
                    <a:lnL w="12700">
                      <a:solidFill>
                        <a:srgbClr val="005073"/>
                      </a:solidFill>
                      <a:prstDash val="solid"/>
                    </a:lnL>
                    <a:lnR w="12700">
                      <a:solidFill>
                        <a:srgbClr val="005073"/>
                      </a:solidFill>
                      <a:prstDash val="solid"/>
                    </a:lnR>
                    <a:lnT w="12700">
                      <a:solidFill>
                        <a:srgbClr val="005073"/>
                      </a:solidFill>
                      <a:prstDash val="solid"/>
                    </a:lnT>
                    <a:lnB w="38100">
                      <a:solidFill>
                        <a:srgbClr val="005073"/>
                      </a:solidFill>
                      <a:prstDash val="solid"/>
                    </a:lnB>
                    <a:solidFill>
                      <a:srgbClr val="00BBEB"/>
                    </a:solidFill>
                  </a:tcPr>
                </a:tc>
                <a:tc>
                  <a:txBody>
                    <a:bodyPr/>
                    <a:lstStyle/>
                    <a:p>
                      <a:pPr marL="86360">
                        <a:lnSpc>
                          <a:spcPct val="100000"/>
                        </a:lnSpc>
                        <a:spcBef>
                          <a:spcPts val="340"/>
                        </a:spcBef>
                      </a:pPr>
                      <a:r>
                        <a:rPr sz="1850" spc="10" dirty="0">
                          <a:solidFill>
                            <a:srgbClr val="005073"/>
                          </a:solidFill>
                          <a:latin typeface="Arial"/>
                          <a:cs typeface="Arial"/>
                        </a:rPr>
                        <a:t>Ansible</a:t>
                      </a:r>
                      <a:endParaRPr sz="1850">
                        <a:latin typeface="Arial"/>
                        <a:cs typeface="Arial"/>
                      </a:endParaRPr>
                    </a:p>
                  </a:txBody>
                  <a:tcPr marL="0" marR="0" marT="43180" marB="0">
                    <a:lnL w="12700">
                      <a:solidFill>
                        <a:srgbClr val="005073"/>
                      </a:solidFill>
                      <a:prstDash val="solid"/>
                    </a:lnL>
                    <a:lnR w="12700">
                      <a:solidFill>
                        <a:srgbClr val="005073"/>
                      </a:solidFill>
                      <a:prstDash val="solid"/>
                    </a:lnR>
                    <a:lnT w="12700">
                      <a:solidFill>
                        <a:srgbClr val="005073"/>
                      </a:solidFill>
                      <a:prstDash val="solid"/>
                    </a:lnT>
                    <a:lnB w="38100">
                      <a:solidFill>
                        <a:srgbClr val="005073"/>
                      </a:solidFill>
                      <a:prstDash val="solid"/>
                    </a:lnB>
                    <a:solidFill>
                      <a:srgbClr val="00BBEB"/>
                    </a:solidFill>
                  </a:tcPr>
                </a:tc>
                <a:tc>
                  <a:txBody>
                    <a:bodyPr/>
                    <a:lstStyle/>
                    <a:p>
                      <a:pPr marL="86360">
                        <a:lnSpc>
                          <a:spcPct val="100000"/>
                        </a:lnSpc>
                        <a:spcBef>
                          <a:spcPts val="340"/>
                        </a:spcBef>
                      </a:pPr>
                      <a:r>
                        <a:rPr sz="1850" spc="30" dirty="0">
                          <a:solidFill>
                            <a:srgbClr val="005073"/>
                          </a:solidFill>
                          <a:latin typeface="Arial"/>
                          <a:cs typeface="Arial"/>
                        </a:rPr>
                        <a:t>Chef</a:t>
                      </a:r>
                      <a:endParaRPr sz="1850">
                        <a:latin typeface="Arial"/>
                        <a:cs typeface="Arial"/>
                      </a:endParaRPr>
                    </a:p>
                  </a:txBody>
                  <a:tcPr marL="0" marR="0" marT="43180" marB="0">
                    <a:lnL w="12700">
                      <a:solidFill>
                        <a:srgbClr val="005073"/>
                      </a:solidFill>
                      <a:prstDash val="solid"/>
                    </a:lnL>
                    <a:lnR w="12700">
                      <a:solidFill>
                        <a:srgbClr val="005073"/>
                      </a:solidFill>
                      <a:prstDash val="solid"/>
                    </a:lnR>
                    <a:lnT w="12700">
                      <a:solidFill>
                        <a:srgbClr val="005073"/>
                      </a:solidFill>
                      <a:prstDash val="solid"/>
                    </a:lnT>
                    <a:lnB w="38100">
                      <a:solidFill>
                        <a:srgbClr val="005073"/>
                      </a:solidFill>
                      <a:prstDash val="solid"/>
                    </a:lnB>
                    <a:solidFill>
                      <a:srgbClr val="00BBEB"/>
                    </a:solidFill>
                  </a:tcPr>
                </a:tc>
                <a:tc>
                  <a:txBody>
                    <a:bodyPr/>
                    <a:lstStyle/>
                    <a:p>
                      <a:pPr marL="86995">
                        <a:lnSpc>
                          <a:spcPct val="100000"/>
                        </a:lnSpc>
                        <a:spcBef>
                          <a:spcPts val="340"/>
                        </a:spcBef>
                      </a:pPr>
                      <a:r>
                        <a:rPr sz="1850" spc="0" dirty="0">
                          <a:solidFill>
                            <a:srgbClr val="005073"/>
                          </a:solidFill>
                          <a:latin typeface="Arial"/>
                          <a:cs typeface="Arial"/>
                        </a:rPr>
                        <a:t>SaltStack</a:t>
                      </a:r>
                      <a:endParaRPr sz="1850">
                        <a:latin typeface="Arial"/>
                        <a:cs typeface="Arial"/>
                      </a:endParaRPr>
                    </a:p>
                  </a:txBody>
                  <a:tcPr marL="0" marR="0" marT="43180" marB="0">
                    <a:lnL w="12700">
                      <a:solidFill>
                        <a:srgbClr val="005073"/>
                      </a:solidFill>
                      <a:prstDash val="solid"/>
                    </a:lnL>
                    <a:lnR w="12700">
                      <a:solidFill>
                        <a:srgbClr val="005073"/>
                      </a:solidFill>
                      <a:prstDash val="solid"/>
                    </a:lnR>
                    <a:lnT w="12700">
                      <a:solidFill>
                        <a:srgbClr val="005073"/>
                      </a:solidFill>
                      <a:prstDash val="solid"/>
                    </a:lnT>
                    <a:lnB w="38100">
                      <a:solidFill>
                        <a:srgbClr val="005073"/>
                      </a:solidFill>
                      <a:prstDash val="solid"/>
                    </a:lnB>
                    <a:solidFill>
                      <a:srgbClr val="00BBEB"/>
                    </a:solidFill>
                  </a:tcPr>
                </a:tc>
                <a:extLst>
                  <a:ext uri="{0D108BD9-81ED-4DB2-BD59-A6C34878D82A}">
                    <a16:rowId xmlns:a16="http://schemas.microsoft.com/office/drawing/2014/main" val="10000"/>
                  </a:ext>
                </a:extLst>
              </a:tr>
              <a:tr h="393700">
                <a:tc>
                  <a:txBody>
                    <a:bodyPr/>
                    <a:lstStyle/>
                    <a:p>
                      <a:pPr marL="85090">
                        <a:lnSpc>
                          <a:spcPct val="100000"/>
                        </a:lnSpc>
                        <a:spcBef>
                          <a:spcPts val="245"/>
                        </a:spcBef>
                      </a:pPr>
                      <a:r>
                        <a:rPr sz="1850" dirty="0">
                          <a:solidFill>
                            <a:srgbClr val="282828"/>
                          </a:solidFill>
                          <a:latin typeface="Arial"/>
                          <a:cs typeface="Arial"/>
                        </a:rPr>
                        <a:t>Language</a:t>
                      </a:r>
                      <a:endParaRPr sz="1850">
                        <a:latin typeface="Arial"/>
                        <a:cs typeface="Arial"/>
                      </a:endParaRPr>
                    </a:p>
                  </a:txBody>
                  <a:tcPr marL="0" marR="0" marT="31115" marB="0">
                    <a:lnL w="12700">
                      <a:solidFill>
                        <a:srgbClr val="005073"/>
                      </a:solidFill>
                      <a:prstDash val="solid"/>
                    </a:lnL>
                    <a:lnR w="12700">
                      <a:solidFill>
                        <a:srgbClr val="005073"/>
                      </a:solidFill>
                      <a:prstDash val="solid"/>
                    </a:lnR>
                    <a:lnT w="38100">
                      <a:solidFill>
                        <a:srgbClr val="005073"/>
                      </a:solidFill>
                      <a:prstDash val="solid"/>
                    </a:lnT>
                    <a:lnB w="12700">
                      <a:solidFill>
                        <a:srgbClr val="005073"/>
                      </a:solidFill>
                      <a:prstDash val="solid"/>
                    </a:lnB>
                    <a:solidFill>
                      <a:srgbClr val="CAE7F7"/>
                    </a:solidFill>
                  </a:tcPr>
                </a:tc>
                <a:tc>
                  <a:txBody>
                    <a:bodyPr/>
                    <a:lstStyle/>
                    <a:p>
                      <a:pPr marL="85725">
                        <a:lnSpc>
                          <a:spcPct val="100000"/>
                        </a:lnSpc>
                        <a:spcBef>
                          <a:spcPts val="245"/>
                        </a:spcBef>
                      </a:pPr>
                      <a:r>
                        <a:rPr sz="1850" spc="-25" dirty="0">
                          <a:solidFill>
                            <a:srgbClr val="282828"/>
                          </a:solidFill>
                          <a:latin typeface="Arial"/>
                          <a:cs typeface="Arial"/>
                        </a:rPr>
                        <a:t>Ruby</a:t>
                      </a:r>
                      <a:r>
                        <a:rPr sz="1850" spc="-40" dirty="0">
                          <a:solidFill>
                            <a:srgbClr val="282828"/>
                          </a:solidFill>
                          <a:latin typeface="Arial"/>
                          <a:cs typeface="Arial"/>
                        </a:rPr>
                        <a:t> </a:t>
                      </a:r>
                      <a:r>
                        <a:rPr sz="1850" dirty="0">
                          <a:solidFill>
                            <a:srgbClr val="282828"/>
                          </a:solidFill>
                          <a:latin typeface="Arial"/>
                          <a:cs typeface="Arial"/>
                        </a:rPr>
                        <a:t>Based</a:t>
                      </a:r>
                      <a:endParaRPr sz="1850">
                        <a:latin typeface="Arial"/>
                        <a:cs typeface="Arial"/>
                      </a:endParaRPr>
                    </a:p>
                  </a:txBody>
                  <a:tcPr marL="0" marR="0" marT="31115" marB="0">
                    <a:lnL w="12700">
                      <a:solidFill>
                        <a:srgbClr val="005073"/>
                      </a:solidFill>
                      <a:prstDash val="solid"/>
                    </a:lnL>
                    <a:lnR w="12700">
                      <a:solidFill>
                        <a:srgbClr val="005073"/>
                      </a:solidFill>
                      <a:prstDash val="solid"/>
                    </a:lnR>
                    <a:lnT w="38100">
                      <a:solidFill>
                        <a:srgbClr val="005073"/>
                      </a:solidFill>
                      <a:prstDash val="solid"/>
                    </a:lnT>
                    <a:lnB w="12700">
                      <a:solidFill>
                        <a:srgbClr val="005073"/>
                      </a:solidFill>
                      <a:prstDash val="solid"/>
                    </a:lnB>
                    <a:solidFill>
                      <a:srgbClr val="CAE7F7"/>
                    </a:solidFill>
                  </a:tcPr>
                </a:tc>
                <a:tc>
                  <a:txBody>
                    <a:bodyPr/>
                    <a:lstStyle/>
                    <a:p>
                      <a:pPr marL="86360">
                        <a:lnSpc>
                          <a:spcPct val="100000"/>
                        </a:lnSpc>
                        <a:spcBef>
                          <a:spcPts val="245"/>
                        </a:spcBef>
                      </a:pPr>
                      <a:r>
                        <a:rPr sz="1850" spc="0" dirty="0">
                          <a:solidFill>
                            <a:srgbClr val="282828"/>
                          </a:solidFill>
                          <a:latin typeface="Arial"/>
                          <a:cs typeface="Arial"/>
                        </a:rPr>
                        <a:t>Python </a:t>
                      </a:r>
                      <a:r>
                        <a:rPr sz="1850" spc="35" dirty="0">
                          <a:solidFill>
                            <a:srgbClr val="282828"/>
                          </a:solidFill>
                          <a:latin typeface="Arial"/>
                          <a:cs typeface="Arial"/>
                        </a:rPr>
                        <a:t>+</a:t>
                      </a:r>
                      <a:r>
                        <a:rPr sz="1850" spc="5" dirty="0">
                          <a:solidFill>
                            <a:srgbClr val="282828"/>
                          </a:solidFill>
                          <a:latin typeface="Arial"/>
                          <a:cs typeface="Arial"/>
                        </a:rPr>
                        <a:t> </a:t>
                      </a:r>
                      <a:r>
                        <a:rPr sz="1850" spc="-10" dirty="0">
                          <a:solidFill>
                            <a:srgbClr val="282828"/>
                          </a:solidFill>
                          <a:latin typeface="Arial"/>
                          <a:cs typeface="Arial"/>
                        </a:rPr>
                        <a:t>YAML</a:t>
                      </a:r>
                      <a:endParaRPr sz="1850">
                        <a:latin typeface="Arial"/>
                        <a:cs typeface="Arial"/>
                      </a:endParaRPr>
                    </a:p>
                  </a:txBody>
                  <a:tcPr marL="0" marR="0" marT="31115" marB="0">
                    <a:lnL w="12700">
                      <a:solidFill>
                        <a:srgbClr val="005073"/>
                      </a:solidFill>
                      <a:prstDash val="solid"/>
                    </a:lnL>
                    <a:lnR w="12700">
                      <a:solidFill>
                        <a:srgbClr val="005073"/>
                      </a:solidFill>
                      <a:prstDash val="solid"/>
                    </a:lnR>
                    <a:lnT w="38100">
                      <a:solidFill>
                        <a:srgbClr val="005073"/>
                      </a:solidFill>
                      <a:prstDash val="solid"/>
                    </a:lnT>
                    <a:lnB w="12700">
                      <a:solidFill>
                        <a:srgbClr val="005073"/>
                      </a:solidFill>
                      <a:prstDash val="solid"/>
                    </a:lnB>
                    <a:solidFill>
                      <a:srgbClr val="CAE7F7"/>
                    </a:solidFill>
                  </a:tcPr>
                </a:tc>
                <a:tc>
                  <a:txBody>
                    <a:bodyPr/>
                    <a:lstStyle/>
                    <a:p>
                      <a:pPr marL="86360">
                        <a:lnSpc>
                          <a:spcPct val="100000"/>
                        </a:lnSpc>
                        <a:spcBef>
                          <a:spcPts val="245"/>
                        </a:spcBef>
                      </a:pPr>
                      <a:r>
                        <a:rPr sz="1850" spc="-25" dirty="0">
                          <a:solidFill>
                            <a:srgbClr val="282828"/>
                          </a:solidFill>
                          <a:latin typeface="Arial"/>
                          <a:cs typeface="Arial"/>
                        </a:rPr>
                        <a:t>Ruby</a:t>
                      </a:r>
                      <a:endParaRPr sz="1850">
                        <a:latin typeface="Arial"/>
                        <a:cs typeface="Arial"/>
                      </a:endParaRPr>
                    </a:p>
                  </a:txBody>
                  <a:tcPr marL="0" marR="0" marT="31115" marB="0">
                    <a:lnL w="12700">
                      <a:solidFill>
                        <a:srgbClr val="005073"/>
                      </a:solidFill>
                      <a:prstDash val="solid"/>
                    </a:lnL>
                    <a:lnR w="12700">
                      <a:solidFill>
                        <a:srgbClr val="005073"/>
                      </a:solidFill>
                      <a:prstDash val="solid"/>
                    </a:lnR>
                    <a:lnT w="38100">
                      <a:solidFill>
                        <a:srgbClr val="005073"/>
                      </a:solidFill>
                      <a:prstDash val="solid"/>
                    </a:lnT>
                    <a:lnB w="12700">
                      <a:solidFill>
                        <a:srgbClr val="005073"/>
                      </a:solidFill>
                      <a:prstDash val="solid"/>
                    </a:lnB>
                    <a:solidFill>
                      <a:srgbClr val="CAE7F7"/>
                    </a:solidFill>
                  </a:tcPr>
                </a:tc>
                <a:tc>
                  <a:txBody>
                    <a:bodyPr/>
                    <a:lstStyle/>
                    <a:p>
                      <a:pPr marL="86995">
                        <a:lnSpc>
                          <a:spcPct val="100000"/>
                        </a:lnSpc>
                        <a:spcBef>
                          <a:spcPts val="245"/>
                        </a:spcBef>
                      </a:pPr>
                      <a:r>
                        <a:rPr sz="1850" spc="0" dirty="0">
                          <a:solidFill>
                            <a:srgbClr val="282828"/>
                          </a:solidFill>
                          <a:latin typeface="Arial"/>
                          <a:cs typeface="Arial"/>
                        </a:rPr>
                        <a:t>Python</a:t>
                      </a:r>
                      <a:endParaRPr sz="1850">
                        <a:latin typeface="Arial"/>
                        <a:cs typeface="Arial"/>
                      </a:endParaRPr>
                    </a:p>
                  </a:txBody>
                  <a:tcPr marL="0" marR="0" marT="31115" marB="0">
                    <a:lnL w="12700">
                      <a:solidFill>
                        <a:srgbClr val="005073"/>
                      </a:solidFill>
                      <a:prstDash val="solid"/>
                    </a:lnL>
                    <a:lnR w="12700">
                      <a:solidFill>
                        <a:srgbClr val="005073"/>
                      </a:solidFill>
                      <a:prstDash val="solid"/>
                    </a:lnR>
                    <a:lnT w="38100">
                      <a:solidFill>
                        <a:srgbClr val="005073"/>
                      </a:solidFill>
                      <a:prstDash val="solid"/>
                    </a:lnT>
                    <a:lnB w="12700">
                      <a:solidFill>
                        <a:srgbClr val="005073"/>
                      </a:solidFill>
                      <a:prstDash val="solid"/>
                    </a:lnB>
                    <a:solidFill>
                      <a:srgbClr val="CAE7F7"/>
                    </a:solidFill>
                  </a:tcPr>
                </a:tc>
                <a:extLst>
                  <a:ext uri="{0D108BD9-81ED-4DB2-BD59-A6C34878D82A}">
                    <a16:rowId xmlns:a16="http://schemas.microsoft.com/office/drawing/2014/main" val="10001"/>
                  </a:ext>
                </a:extLst>
              </a:tr>
              <a:tr h="723900">
                <a:tc>
                  <a:txBody>
                    <a:bodyPr/>
                    <a:lstStyle/>
                    <a:p>
                      <a:pPr marL="85090" marR="615950">
                        <a:lnSpc>
                          <a:spcPct val="100600"/>
                        </a:lnSpc>
                        <a:spcBef>
                          <a:spcPts val="330"/>
                        </a:spcBef>
                      </a:pPr>
                      <a:r>
                        <a:rPr sz="1850" spc="5" dirty="0">
                          <a:solidFill>
                            <a:srgbClr val="282828"/>
                          </a:solidFill>
                          <a:latin typeface="Arial"/>
                          <a:cs typeface="Arial"/>
                        </a:rPr>
                        <a:t>Managed</a:t>
                      </a:r>
                      <a:r>
                        <a:rPr sz="1850" spc="-25" dirty="0">
                          <a:solidFill>
                            <a:srgbClr val="282828"/>
                          </a:solidFill>
                          <a:latin typeface="Arial"/>
                          <a:cs typeface="Arial"/>
                        </a:rPr>
                        <a:t> </a:t>
                      </a:r>
                      <a:r>
                        <a:rPr sz="1850" spc="25" dirty="0">
                          <a:solidFill>
                            <a:srgbClr val="282828"/>
                          </a:solidFill>
                          <a:latin typeface="Arial"/>
                          <a:cs typeface="Arial"/>
                        </a:rPr>
                        <a:t>Node  </a:t>
                      </a:r>
                      <a:r>
                        <a:rPr sz="1850" spc="0" dirty="0">
                          <a:solidFill>
                            <a:srgbClr val="282828"/>
                          </a:solidFill>
                          <a:latin typeface="Arial"/>
                          <a:cs typeface="Arial"/>
                        </a:rPr>
                        <a:t>Requirements</a:t>
                      </a:r>
                      <a:endParaRPr sz="1850">
                        <a:latin typeface="Arial"/>
                        <a:cs typeface="Arial"/>
                      </a:endParaRPr>
                    </a:p>
                  </a:txBody>
                  <a:tcPr marL="0" marR="0" marT="4191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5725" marR="603885">
                        <a:lnSpc>
                          <a:spcPct val="100600"/>
                        </a:lnSpc>
                        <a:spcBef>
                          <a:spcPts val="330"/>
                        </a:spcBef>
                      </a:pPr>
                      <a:r>
                        <a:rPr sz="1850" spc="-10" dirty="0">
                          <a:solidFill>
                            <a:srgbClr val="282828"/>
                          </a:solidFill>
                          <a:latin typeface="Arial"/>
                          <a:cs typeface="Arial"/>
                        </a:rPr>
                        <a:t>Traditionally  </a:t>
                      </a:r>
                      <a:r>
                        <a:rPr sz="1850" spc="25" dirty="0">
                          <a:solidFill>
                            <a:srgbClr val="282828"/>
                          </a:solidFill>
                          <a:latin typeface="Arial"/>
                          <a:cs typeface="Arial"/>
                        </a:rPr>
                        <a:t>Agent</a:t>
                      </a:r>
                      <a:r>
                        <a:rPr sz="1850" spc="-30" dirty="0">
                          <a:solidFill>
                            <a:srgbClr val="282828"/>
                          </a:solidFill>
                          <a:latin typeface="Arial"/>
                          <a:cs typeface="Arial"/>
                        </a:rPr>
                        <a:t> </a:t>
                      </a:r>
                      <a:r>
                        <a:rPr sz="1850" dirty="0">
                          <a:solidFill>
                            <a:srgbClr val="282828"/>
                          </a:solidFill>
                          <a:latin typeface="Arial"/>
                          <a:cs typeface="Arial"/>
                        </a:rPr>
                        <a:t>Based</a:t>
                      </a:r>
                      <a:endParaRPr sz="1850">
                        <a:latin typeface="Arial"/>
                        <a:cs typeface="Arial"/>
                      </a:endParaRPr>
                    </a:p>
                  </a:txBody>
                  <a:tcPr marL="0" marR="0" marT="4191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6360">
                        <a:lnSpc>
                          <a:spcPct val="100000"/>
                        </a:lnSpc>
                        <a:spcBef>
                          <a:spcPts val="345"/>
                        </a:spcBef>
                      </a:pPr>
                      <a:r>
                        <a:rPr sz="1850" spc="10" dirty="0">
                          <a:solidFill>
                            <a:srgbClr val="282828"/>
                          </a:solidFill>
                          <a:latin typeface="Arial"/>
                          <a:cs typeface="Arial"/>
                        </a:rPr>
                        <a:t>Agentless</a:t>
                      </a:r>
                      <a:endParaRPr sz="1850">
                        <a:latin typeface="Arial"/>
                        <a:cs typeface="Arial"/>
                      </a:endParaRPr>
                    </a:p>
                  </a:txBody>
                  <a:tcPr marL="0" marR="0" marT="438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6360">
                        <a:lnSpc>
                          <a:spcPct val="100000"/>
                        </a:lnSpc>
                        <a:spcBef>
                          <a:spcPts val="345"/>
                        </a:spcBef>
                      </a:pPr>
                      <a:r>
                        <a:rPr sz="1850" spc="25" dirty="0">
                          <a:solidFill>
                            <a:srgbClr val="282828"/>
                          </a:solidFill>
                          <a:latin typeface="Arial"/>
                          <a:cs typeface="Arial"/>
                        </a:rPr>
                        <a:t>Agent</a:t>
                      </a:r>
                      <a:r>
                        <a:rPr sz="1850" spc="-30" dirty="0">
                          <a:solidFill>
                            <a:srgbClr val="282828"/>
                          </a:solidFill>
                          <a:latin typeface="Arial"/>
                          <a:cs typeface="Arial"/>
                        </a:rPr>
                        <a:t> </a:t>
                      </a:r>
                      <a:r>
                        <a:rPr sz="1850" dirty="0">
                          <a:solidFill>
                            <a:srgbClr val="282828"/>
                          </a:solidFill>
                          <a:latin typeface="Arial"/>
                          <a:cs typeface="Arial"/>
                        </a:rPr>
                        <a:t>Based</a:t>
                      </a:r>
                      <a:endParaRPr sz="1850">
                        <a:latin typeface="Arial"/>
                        <a:cs typeface="Arial"/>
                      </a:endParaRPr>
                    </a:p>
                  </a:txBody>
                  <a:tcPr marL="0" marR="0" marT="438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6995">
                        <a:lnSpc>
                          <a:spcPct val="100000"/>
                        </a:lnSpc>
                        <a:spcBef>
                          <a:spcPts val="345"/>
                        </a:spcBef>
                      </a:pPr>
                      <a:r>
                        <a:rPr sz="1850" spc="25" dirty="0">
                          <a:solidFill>
                            <a:srgbClr val="282828"/>
                          </a:solidFill>
                          <a:latin typeface="Arial"/>
                          <a:cs typeface="Arial"/>
                        </a:rPr>
                        <a:t>Agent</a:t>
                      </a:r>
                      <a:r>
                        <a:rPr sz="1850" spc="-40" dirty="0">
                          <a:solidFill>
                            <a:srgbClr val="282828"/>
                          </a:solidFill>
                          <a:latin typeface="Arial"/>
                          <a:cs typeface="Arial"/>
                        </a:rPr>
                        <a:t> </a:t>
                      </a:r>
                      <a:r>
                        <a:rPr sz="1850" spc="0" dirty="0">
                          <a:solidFill>
                            <a:srgbClr val="282828"/>
                          </a:solidFill>
                          <a:latin typeface="Arial"/>
                          <a:cs typeface="Arial"/>
                        </a:rPr>
                        <a:t>Based</a:t>
                      </a:r>
                      <a:endParaRPr sz="1850">
                        <a:latin typeface="Arial"/>
                        <a:cs typeface="Arial"/>
                      </a:endParaRPr>
                    </a:p>
                    <a:p>
                      <a:pPr marL="86995">
                        <a:lnSpc>
                          <a:spcPct val="100000"/>
                        </a:lnSpc>
                        <a:spcBef>
                          <a:spcPts val="15"/>
                        </a:spcBef>
                      </a:pPr>
                      <a:r>
                        <a:rPr sz="1850" spc="35" dirty="0">
                          <a:solidFill>
                            <a:srgbClr val="282828"/>
                          </a:solidFill>
                          <a:latin typeface="Arial"/>
                          <a:cs typeface="Arial"/>
                        </a:rPr>
                        <a:t>“minions”</a:t>
                      </a:r>
                      <a:endParaRPr sz="1850">
                        <a:latin typeface="Arial"/>
                        <a:cs typeface="Arial"/>
                      </a:endParaRPr>
                    </a:p>
                  </a:txBody>
                  <a:tcPr marL="0" marR="0" marT="438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extLst>
                  <a:ext uri="{0D108BD9-81ED-4DB2-BD59-A6C34878D82A}">
                    <a16:rowId xmlns:a16="http://schemas.microsoft.com/office/drawing/2014/main" val="10002"/>
                  </a:ext>
                </a:extLst>
              </a:tr>
              <a:tr h="685800">
                <a:tc>
                  <a:txBody>
                    <a:bodyPr/>
                    <a:lstStyle/>
                    <a:p>
                      <a:pPr marL="85090">
                        <a:lnSpc>
                          <a:spcPct val="100000"/>
                        </a:lnSpc>
                        <a:spcBef>
                          <a:spcPts val="345"/>
                        </a:spcBef>
                      </a:pPr>
                      <a:r>
                        <a:rPr sz="1850" spc="0" dirty="0">
                          <a:solidFill>
                            <a:srgbClr val="282828"/>
                          </a:solidFill>
                          <a:latin typeface="Arial"/>
                          <a:cs typeface="Arial"/>
                        </a:rPr>
                        <a:t>Centralized</a:t>
                      </a:r>
                      <a:endParaRPr sz="1850">
                        <a:latin typeface="Arial"/>
                        <a:cs typeface="Arial"/>
                      </a:endParaRPr>
                    </a:p>
                    <a:p>
                      <a:pPr marL="85090">
                        <a:lnSpc>
                          <a:spcPct val="100000"/>
                        </a:lnSpc>
                        <a:spcBef>
                          <a:spcPts val="10"/>
                        </a:spcBef>
                      </a:pPr>
                      <a:r>
                        <a:rPr sz="1850" spc="10" dirty="0">
                          <a:solidFill>
                            <a:srgbClr val="282828"/>
                          </a:solidFill>
                          <a:latin typeface="Arial"/>
                          <a:cs typeface="Arial"/>
                        </a:rPr>
                        <a:t>Management</a:t>
                      </a:r>
                      <a:endParaRPr sz="1850">
                        <a:latin typeface="Arial"/>
                        <a:cs typeface="Arial"/>
                      </a:endParaRPr>
                    </a:p>
                  </a:txBody>
                  <a:tcPr marL="0" marR="0" marT="438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tc>
                  <a:txBody>
                    <a:bodyPr/>
                    <a:lstStyle/>
                    <a:p>
                      <a:pPr marL="85725">
                        <a:lnSpc>
                          <a:spcPct val="100000"/>
                        </a:lnSpc>
                        <a:spcBef>
                          <a:spcPts val="345"/>
                        </a:spcBef>
                      </a:pPr>
                      <a:r>
                        <a:rPr sz="1850" spc="15" dirty="0">
                          <a:solidFill>
                            <a:srgbClr val="282828"/>
                          </a:solidFill>
                          <a:latin typeface="Arial"/>
                          <a:cs typeface="Arial"/>
                        </a:rPr>
                        <a:t>Puppet</a:t>
                      </a:r>
                      <a:r>
                        <a:rPr sz="1850" spc="-35" dirty="0">
                          <a:solidFill>
                            <a:srgbClr val="282828"/>
                          </a:solidFill>
                          <a:latin typeface="Arial"/>
                          <a:cs typeface="Arial"/>
                        </a:rPr>
                        <a:t> </a:t>
                      </a:r>
                      <a:r>
                        <a:rPr sz="1850" spc="10" dirty="0">
                          <a:solidFill>
                            <a:srgbClr val="282828"/>
                          </a:solidFill>
                          <a:latin typeface="Arial"/>
                          <a:cs typeface="Arial"/>
                        </a:rPr>
                        <a:t>Master</a:t>
                      </a:r>
                      <a:endParaRPr sz="1850">
                        <a:latin typeface="Arial"/>
                        <a:cs typeface="Arial"/>
                      </a:endParaRPr>
                    </a:p>
                  </a:txBody>
                  <a:tcPr marL="0" marR="0" marT="438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tc>
                  <a:txBody>
                    <a:bodyPr/>
                    <a:lstStyle/>
                    <a:p>
                      <a:pPr marL="86360">
                        <a:lnSpc>
                          <a:spcPct val="100000"/>
                        </a:lnSpc>
                        <a:spcBef>
                          <a:spcPts val="345"/>
                        </a:spcBef>
                      </a:pPr>
                      <a:r>
                        <a:rPr sz="1850" spc="0" dirty="0">
                          <a:solidFill>
                            <a:srgbClr val="282828"/>
                          </a:solidFill>
                          <a:latin typeface="Arial"/>
                          <a:cs typeface="Arial"/>
                        </a:rPr>
                        <a:t>Any </a:t>
                      </a:r>
                      <a:r>
                        <a:rPr sz="1850" spc="40" dirty="0">
                          <a:solidFill>
                            <a:srgbClr val="282828"/>
                          </a:solidFill>
                          <a:latin typeface="Arial"/>
                          <a:cs typeface="Arial"/>
                        </a:rPr>
                        <a:t>computer</a:t>
                      </a:r>
                      <a:r>
                        <a:rPr sz="1850" spc="-30" dirty="0">
                          <a:solidFill>
                            <a:srgbClr val="282828"/>
                          </a:solidFill>
                          <a:latin typeface="Arial"/>
                          <a:cs typeface="Arial"/>
                        </a:rPr>
                        <a:t> </a:t>
                      </a:r>
                      <a:r>
                        <a:rPr sz="1850" spc="10" dirty="0">
                          <a:solidFill>
                            <a:srgbClr val="282828"/>
                          </a:solidFill>
                          <a:latin typeface="Arial"/>
                          <a:cs typeface="Arial"/>
                        </a:rPr>
                        <a:t>can</a:t>
                      </a:r>
                      <a:endParaRPr sz="1850">
                        <a:latin typeface="Arial"/>
                        <a:cs typeface="Arial"/>
                      </a:endParaRPr>
                    </a:p>
                    <a:p>
                      <a:pPr marL="86360">
                        <a:lnSpc>
                          <a:spcPct val="100000"/>
                        </a:lnSpc>
                        <a:spcBef>
                          <a:spcPts val="10"/>
                        </a:spcBef>
                      </a:pPr>
                      <a:r>
                        <a:rPr sz="1850" spc="35" dirty="0">
                          <a:solidFill>
                            <a:srgbClr val="282828"/>
                          </a:solidFill>
                          <a:latin typeface="Arial"/>
                          <a:cs typeface="Arial"/>
                        </a:rPr>
                        <a:t>be</a:t>
                      </a:r>
                      <a:r>
                        <a:rPr sz="1850" spc="15" dirty="0">
                          <a:solidFill>
                            <a:srgbClr val="282828"/>
                          </a:solidFill>
                          <a:latin typeface="Arial"/>
                          <a:cs typeface="Arial"/>
                        </a:rPr>
                        <a:t> </a:t>
                      </a:r>
                      <a:r>
                        <a:rPr sz="1850" spc="40" dirty="0">
                          <a:solidFill>
                            <a:srgbClr val="282828"/>
                          </a:solidFill>
                          <a:latin typeface="Arial"/>
                          <a:cs typeface="Arial"/>
                        </a:rPr>
                        <a:t>“controller”</a:t>
                      </a:r>
                      <a:endParaRPr sz="1850">
                        <a:latin typeface="Arial"/>
                        <a:cs typeface="Arial"/>
                      </a:endParaRPr>
                    </a:p>
                  </a:txBody>
                  <a:tcPr marL="0" marR="0" marT="438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tc>
                  <a:txBody>
                    <a:bodyPr/>
                    <a:lstStyle/>
                    <a:p>
                      <a:pPr marL="86360">
                        <a:lnSpc>
                          <a:spcPct val="100000"/>
                        </a:lnSpc>
                        <a:spcBef>
                          <a:spcPts val="345"/>
                        </a:spcBef>
                      </a:pPr>
                      <a:r>
                        <a:rPr sz="1850" spc="25" dirty="0">
                          <a:solidFill>
                            <a:srgbClr val="282828"/>
                          </a:solidFill>
                          <a:latin typeface="Arial"/>
                          <a:cs typeface="Arial"/>
                        </a:rPr>
                        <a:t>Chef</a:t>
                      </a:r>
                      <a:r>
                        <a:rPr sz="1850" spc="-50" dirty="0">
                          <a:solidFill>
                            <a:srgbClr val="282828"/>
                          </a:solidFill>
                          <a:latin typeface="Arial"/>
                          <a:cs typeface="Arial"/>
                        </a:rPr>
                        <a:t> </a:t>
                      </a:r>
                      <a:r>
                        <a:rPr sz="1850" spc="10" dirty="0">
                          <a:solidFill>
                            <a:srgbClr val="282828"/>
                          </a:solidFill>
                          <a:latin typeface="Arial"/>
                          <a:cs typeface="Arial"/>
                        </a:rPr>
                        <a:t>Server</a:t>
                      </a:r>
                      <a:endParaRPr sz="1850">
                        <a:latin typeface="Arial"/>
                        <a:cs typeface="Arial"/>
                      </a:endParaRPr>
                    </a:p>
                  </a:txBody>
                  <a:tcPr marL="0" marR="0" marT="438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tc>
                  <a:txBody>
                    <a:bodyPr/>
                    <a:lstStyle/>
                    <a:p>
                      <a:pPr marL="86995">
                        <a:lnSpc>
                          <a:spcPct val="100000"/>
                        </a:lnSpc>
                        <a:spcBef>
                          <a:spcPts val="345"/>
                        </a:spcBef>
                      </a:pPr>
                      <a:r>
                        <a:rPr sz="1850" spc="-15" dirty="0">
                          <a:solidFill>
                            <a:srgbClr val="282828"/>
                          </a:solidFill>
                          <a:latin typeface="Arial"/>
                          <a:cs typeface="Arial"/>
                        </a:rPr>
                        <a:t>Salt </a:t>
                      </a:r>
                      <a:r>
                        <a:rPr sz="1850" spc="10" dirty="0">
                          <a:solidFill>
                            <a:srgbClr val="282828"/>
                          </a:solidFill>
                          <a:latin typeface="Arial"/>
                          <a:cs typeface="Arial"/>
                        </a:rPr>
                        <a:t>Master</a:t>
                      </a:r>
                      <a:endParaRPr sz="1850">
                        <a:latin typeface="Arial"/>
                        <a:cs typeface="Arial"/>
                      </a:endParaRPr>
                    </a:p>
                  </a:txBody>
                  <a:tcPr marL="0" marR="0" marT="438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extLst>
                  <a:ext uri="{0D108BD9-81ED-4DB2-BD59-A6C34878D82A}">
                    <a16:rowId xmlns:a16="http://schemas.microsoft.com/office/drawing/2014/main" val="10003"/>
                  </a:ext>
                </a:extLst>
              </a:tr>
              <a:tr h="647700">
                <a:tc>
                  <a:txBody>
                    <a:bodyPr/>
                    <a:lstStyle/>
                    <a:p>
                      <a:pPr marL="85090">
                        <a:lnSpc>
                          <a:spcPct val="100000"/>
                        </a:lnSpc>
                        <a:spcBef>
                          <a:spcPts val="350"/>
                        </a:spcBef>
                      </a:pPr>
                      <a:r>
                        <a:rPr sz="1850" spc="25" dirty="0">
                          <a:solidFill>
                            <a:srgbClr val="282828"/>
                          </a:solidFill>
                          <a:latin typeface="Arial"/>
                          <a:cs typeface="Arial"/>
                        </a:rPr>
                        <a:t>Script</a:t>
                      </a:r>
                      <a:r>
                        <a:rPr sz="1850" spc="-40" dirty="0">
                          <a:solidFill>
                            <a:srgbClr val="282828"/>
                          </a:solidFill>
                          <a:latin typeface="Arial"/>
                          <a:cs typeface="Arial"/>
                        </a:rPr>
                        <a:t> </a:t>
                      </a:r>
                      <a:r>
                        <a:rPr sz="1850" spc="5" dirty="0">
                          <a:solidFill>
                            <a:srgbClr val="282828"/>
                          </a:solidFill>
                          <a:latin typeface="Arial"/>
                          <a:cs typeface="Arial"/>
                        </a:rPr>
                        <a:t>Names</a:t>
                      </a:r>
                      <a:endParaRPr sz="1850">
                        <a:latin typeface="Arial"/>
                        <a:cs typeface="Arial"/>
                      </a:endParaRPr>
                    </a:p>
                  </a:txBody>
                  <a:tcPr marL="0" marR="0" marT="4445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5725">
                        <a:lnSpc>
                          <a:spcPct val="100000"/>
                        </a:lnSpc>
                        <a:spcBef>
                          <a:spcPts val="350"/>
                        </a:spcBef>
                      </a:pPr>
                      <a:r>
                        <a:rPr sz="1850" spc="5" dirty="0">
                          <a:solidFill>
                            <a:srgbClr val="282828"/>
                          </a:solidFill>
                          <a:latin typeface="Arial"/>
                          <a:cs typeface="Arial"/>
                        </a:rPr>
                        <a:t>Manifest</a:t>
                      </a:r>
                      <a:r>
                        <a:rPr sz="1850" spc="-55" dirty="0">
                          <a:solidFill>
                            <a:srgbClr val="282828"/>
                          </a:solidFill>
                          <a:latin typeface="Arial"/>
                          <a:cs typeface="Arial"/>
                        </a:rPr>
                        <a:t> </a:t>
                      </a:r>
                      <a:r>
                        <a:rPr sz="1850" spc="150" dirty="0">
                          <a:solidFill>
                            <a:srgbClr val="282828"/>
                          </a:solidFill>
                          <a:latin typeface="Arial"/>
                          <a:cs typeface="Arial"/>
                        </a:rPr>
                        <a:t>/</a:t>
                      </a:r>
                      <a:endParaRPr sz="1850">
                        <a:latin typeface="Arial"/>
                        <a:cs typeface="Arial"/>
                      </a:endParaRPr>
                    </a:p>
                    <a:p>
                      <a:pPr marL="85725">
                        <a:lnSpc>
                          <a:spcPct val="100000"/>
                        </a:lnSpc>
                        <a:spcBef>
                          <a:spcPts val="15"/>
                        </a:spcBef>
                      </a:pPr>
                      <a:r>
                        <a:rPr sz="1850" spc="15" dirty="0">
                          <a:solidFill>
                            <a:srgbClr val="282828"/>
                          </a:solidFill>
                          <a:latin typeface="Arial"/>
                          <a:cs typeface="Arial"/>
                        </a:rPr>
                        <a:t>Module</a:t>
                      </a:r>
                      <a:endParaRPr sz="1850">
                        <a:latin typeface="Arial"/>
                        <a:cs typeface="Arial"/>
                      </a:endParaRPr>
                    </a:p>
                  </a:txBody>
                  <a:tcPr marL="0" marR="0" marT="4445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6360">
                        <a:lnSpc>
                          <a:spcPct val="100000"/>
                        </a:lnSpc>
                        <a:spcBef>
                          <a:spcPts val="350"/>
                        </a:spcBef>
                      </a:pPr>
                      <a:r>
                        <a:rPr sz="1850" dirty="0">
                          <a:solidFill>
                            <a:srgbClr val="282828"/>
                          </a:solidFill>
                          <a:latin typeface="Arial"/>
                          <a:cs typeface="Arial"/>
                        </a:rPr>
                        <a:t>Playbook</a:t>
                      </a:r>
                      <a:r>
                        <a:rPr sz="1850" spc="-50" dirty="0">
                          <a:solidFill>
                            <a:srgbClr val="282828"/>
                          </a:solidFill>
                          <a:latin typeface="Arial"/>
                          <a:cs typeface="Arial"/>
                        </a:rPr>
                        <a:t> </a:t>
                      </a:r>
                      <a:r>
                        <a:rPr sz="1850" spc="150" dirty="0">
                          <a:solidFill>
                            <a:srgbClr val="282828"/>
                          </a:solidFill>
                          <a:latin typeface="Arial"/>
                          <a:cs typeface="Arial"/>
                        </a:rPr>
                        <a:t>/</a:t>
                      </a:r>
                      <a:endParaRPr sz="1850">
                        <a:latin typeface="Arial"/>
                        <a:cs typeface="Arial"/>
                      </a:endParaRPr>
                    </a:p>
                    <a:p>
                      <a:pPr marL="86360">
                        <a:lnSpc>
                          <a:spcPct val="100000"/>
                        </a:lnSpc>
                        <a:spcBef>
                          <a:spcPts val="15"/>
                        </a:spcBef>
                      </a:pPr>
                      <a:r>
                        <a:rPr sz="1850" spc="-20" dirty="0">
                          <a:solidFill>
                            <a:srgbClr val="282828"/>
                          </a:solidFill>
                          <a:latin typeface="Arial"/>
                          <a:cs typeface="Arial"/>
                        </a:rPr>
                        <a:t>Roles</a:t>
                      </a:r>
                      <a:endParaRPr sz="1850">
                        <a:latin typeface="Arial"/>
                        <a:cs typeface="Arial"/>
                      </a:endParaRPr>
                    </a:p>
                  </a:txBody>
                  <a:tcPr marL="0" marR="0" marT="4445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6360">
                        <a:lnSpc>
                          <a:spcPct val="100000"/>
                        </a:lnSpc>
                        <a:spcBef>
                          <a:spcPts val="350"/>
                        </a:spcBef>
                      </a:pPr>
                      <a:r>
                        <a:rPr sz="1850" spc="0" dirty="0">
                          <a:solidFill>
                            <a:srgbClr val="282828"/>
                          </a:solidFill>
                          <a:latin typeface="Arial"/>
                          <a:cs typeface="Arial"/>
                        </a:rPr>
                        <a:t>Recipe</a:t>
                      </a:r>
                      <a:r>
                        <a:rPr sz="1850" spc="-55" dirty="0">
                          <a:solidFill>
                            <a:srgbClr val="282828"/>
                          </a:solidFill>
                          <a:latin typeface="Arial"/>
                          <a:cs typeface="Arial"/>
                        </a:rPr>
                        <a:t> </a:t>
                      </a:r>
                      <a:r>
                        <a:rPr sz="1850" spc="150" dirty="0">
                          <a:solidFill>
                            <a:srgbClr val="282828"/>
                          </a:solidFill>
                          <a:latin typeface="Arial"/>
                          <a:cs typeface="Arial"/>
                        </a:rPr>
                        <a:t>/</a:t>
                      </a:r>
                      <a:endParaRPr sz="1850">
                        <a:latin typeface="Arial"/>
                        <a:cs typeface="Arial"/>
                      </a:endParaRPr>
                    </a:p>
                    <a:p>
                      <a:pPr marL="86360">
                        <a:lnSpc>
                          <a:spcPct val="100000"/>
                        </a:lnSpc>
                        <a:spcBef>
                          <a:spcPts val="15"/>
                        </a:spcBef>
                      </a:pPr>
                      <a:r>
                        <a:rPr sz="1850" spc="25" dirty="0">
                          <a:solidFill>
                            <a:srgbClr val="282828"/>
                          </a:solidFill>
                          <a:latin typeface="Arial"/>
                          <a:cs typeface="Arial"/>
                        </a:rPr>
                        <a:t>Cookbook</a:t>
                      </a:r>
                      <a:endParaRPr sz="1850">
                        <a:latin typeface="Arial"/>
                        <a:cs typeface="Arial"/>
                      </a:endParaRPr>
                    </a:p>
                  </a:txBody>
                  <a:tcPr marL="0" marR="0" marT="4445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6995">
                        <a:lnSpc>
                          <a:spcPct val="100000"/>
                        </a:lnSpc>
                        <a:spcBef>
                          <a:spcPts val="350"/>
                        </a:spcBef>
                      </a:pPr>
                      <a:r>
                        <a:rPr sz="1850" spc="-30" dirty="0">
                          <a:solidFill>
                            <a:srgbClr val="282828"/>
                          </a:solidFill>
                          <a:latin typeface="Arial"/>
                          <a:cs typeface="Arial"/>
                        </a:rPr>
                        <a:t>Pillar</a:t>
                      </a:r>
                      <a:r>
                        <a:rPr sz="1850" spc="-25" dirty="0">
                          <a:solidFill>
                            <a:srgbClr val="282828"/>
                          </a:solidFill>
                          <a:latin typeface="Arial"/>
                          <a:cs typeface="Arial"/>
                        </a:rPr>
                        <a:t> </a:t>
                      </a:r>
                      <a:r>
                        <a:rPr sz="1850" spc="150" dirty="0">
                          <a:solidFill>
                            <a:srgbClr val="282828"/>
                          </a:solidFill>
                          <a:latin typeface="Arial"/>
                          <a:cs typeface="Arial"/>
                        </a:rPr>
                        <a:t>/</a:t>
                      </a:r>
                      <a:endParaRPr sz="1850">
                        <a:latin typeface="Arial"/>
                        <a:cs typeface="Arial"/>
                      </a:endParaRPr>
                    </a:p>
                    <a:p>
                      <a:pPr marL="86995">
                        <a:lnSpc>
                          <a:spcPct val="100000"/>
                        </a:lnSpc>
                        <a:spcBef>
                          <a:spcPts val="15"/>
                        </a:spcBef>
                      </a:pPr>
                      <a:r>
                        <a:rPr sz="1850" spc="0" dirty="0">
                          <a:solidFill>
                            <a:srgbClr val="282828"/>
                          </a:solidFill>
                          <a:latin typeface="Arial"/>
                          <a:cs typeface="Arial"/>
                        </a:rPr>
                        <a:t>Include</a:t>
                      </a:r>
                      <a:endParaRPr sz="1850">
                        <a:latin typeface="Arial"/>
                        <a:cs typeface="Arial"/>
                      </a:endParaRPr>
                    </a:p>
                  </a:txBody>
                  <a:tcPr marL="0" marR="0" marT="4445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extLst>
                  <a:ext uri="{0D108BD9-81ED-4DB2-BD59-A6C34878D82A}">
                    <a16:rowId xmlns:a16="http://schemas.microsoft.com/office/drawing/2014/main" val="10004"/>
                  </a:ext>
                </a:extLst>
              </a:tr>
            </a:tbl>
          </a:graphicData>
        </a:graphic>
      </p:graphicFrame>
      <p:sp>
        <p:nvSpPr>
          <p:cNvPr id="4" name="object 4"/>
          <p:cNvSpPr/>
          <p:nvPr/>
        </p:nvSpPr>
        <p:spPr>
          <a:xfrm>
            <a:off x="3176016" y="1350263"/>
            <a:ext cx="1584959" cy="156057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7620000" y="1389888"/>
            <a:ext cx="1411224" cy="1389888"/>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5480303" y="1399032"/>
            <a:ext cx="1118616" cy="1374648"/>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9518904" y="1508760"/>
            <a:ext cx="1837944" cy="1152144"/>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txBox="1">
            <a:spLocks noGrp="1"/>
          </p:cNvSpPr>
          <p:nvPr>
            <p:ph type="ftr" sz="quarter" idx="5"/>
          </p:nvPr>
        </p:nvSpPr>
        <p:spPr>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p>
        </p:txBody>
      </p:sp>
    </p:spTree>
    <p:extLst>
      <p:ext uri="{BB962C8B-B14F-4D97-AF65-F5344CB8AC3E}">
        <p14:creationId xmlns:p14="http://schemas.microsoft.com/office/powerpoint/2010/main" val="3293178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74903" y="1452981"/>
            <a:ext cx="5098415" cy="4295140"/>
          </a:xfrm>
          <a:prstGeom prst="rect">
            <a:avLst/>
          </a:prstGeom>
        </p:spPr>
        <p:txBody>
          <a:bodyPr vert="horz" wrap="square" lIns="0" tIns="184785" rIns="0" bIns="0" rtlCol="0">
            <a:spAutoFit/>
          </a:bodyPr>
          <a:lstStyle/>
          <a:p>
            <a:pPr marL="167640" marR="0" lvl="0" indent="-154940" algn="l" defTabSz="914400" rtl="0" eaLnBrk="1" fontAlgn="auto" latinLnBrk="0" hangingPunct="1">
              <a:lnSpc>
                <a:spcPct val="100000"/>
              </a:lnSpc>
              <a:spcBef>
                <a:spcPts val="1455"/>
              </a:spcBef>
              <a:spcAft>
                <a:spcPts val="0"/>
              </a:spcAft>
              <a:buClrTx/>
              <a:buSzPct val="60377"/>
              <a:buFontTx/>
              <a:buChar char="•"/>
              <a:tabLst>
                <a:tab pos="168275" algn="l"/>
              </a:tabLst>
              <a:defRPr/>
            </a:pPr>
            <a:r>
              <a:rPr kumimoji="0" sz="2650" b="0" i="0" u="none" strike="noStrike" kern="1200" cap="none" spc="10" normalizeH="0" baseline="0" noProof="0" dirty="0">
                <a:ln>
                  <a:noFill/>
                </a:ln>
                <a:solidFill>
                  <a:srgbClr val="282828"/>
                </a:solidFill>
                <a:effectLst/>
                <a:uLnTx/>
                <a:uFillTx/>
                <a:latin typeface="Arial"/>
                <a:ea typeface="+mn-ea"/>
                <a:cs typeface="Arial"/>
              </a:rPr>
              <a:t>Agentless</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ts val="3100"/>
              </a:lnSpc>
              <a:spcBef>
                <a:spcPts val="1355"/>
              </a:spcBef>
              <a:spcAft>
                <a:spcPts val="0"/>
              </a:spcAft>
              <a:buClrTx/>
              <a:buSzPct val="60377"/>
              <a:buFontTx/>
              <a:buChar char="•"/>
              <a:tabLst>
                <a:tab pos="168275" algn="l"/>
              </a:tabLst>
              <a:defRPr/>
            </a:pPr>
            <a:r>
              <a:rPr kumimoji="0" sz="2650" b="0" i="0" u="none" strike="noStrike" kern="1200" cap="none" spc="5" normalizeH="0" baseline="0" noProof="0" dirty="0">
                <a:ln>
                  <a:noFill/>
                </a:ln>
                <a:solidFill>
                  <a:srgbClr val="282828"/>
                </a:solidFill>
                <a:effectLst/>
                <a:uLnTx/>
                <a:uFillTx/>
                <a:latin typeface="Arial"/>
                <a:ea typeface="+mn-ea"/>
                <a:cs typeface="Arial"/>
              </a:rPr>
              <a:t>Currently popular </a:t>
            </a:r>
            <a:r>
              <a:rPr kumimoji="0" sz="2650" b="0" i="0" u="none" strike="noStrike" kern="1200" cap="none" spc="-20" normalizeH="0" baseline="0" noProof="0" dirty="0">
                <a:ln>
                  <a:noFill/>
                </a:ln>
                <a:solidFill>
                  <a:srgbClr val="282828"/>
                </a:solidFill>
                <a:effectLst/>
                <a:uLnTx/>
                <a:uFillTx/>
                <a:latin typeface="Arial"/>
                <a:ea typeface="+mn-ea"/>
                <a:cs typeface="Arial"/>
              </a:rPr>
              <a:t>in</a:t>
            </a:r>
            <a:r>
              <a:rPr kumimoji="0" sz="2650" b="0" i="0" u="none" strike="noStrike" kern="1200" cap="none" spc="160" normalizeH="0" baseline="0" noProof="0" dirty="0">
                <a:ln>
                  <a:noFill/>
                </a:ln>
                <a:solidFill>
                  <a:srgbClr val="282828"/>
                </a:solidFill>
                <a:effectLst/>
                <a:uLnTx/>
                <a:uFillTx/>
                <a:latin typeface="Arial"/>
                <a:ea typeface="+mn-ea"/>
                <a:cs typeface="Arial"/>
              </a:rPr>
              <a:t> </a:t>
            </a:r>
            <a:r>
              <a:rPr kumimoji="0" sz="2650" b="0" i="0" u="none" strike="noStrike" kern="1200" cap="none" spc="30" normalizeH="0" baseline="0" noProof="0" dirty="0">
                <a:ln>
                  <a:noFill/>
                </a:ln>
                <a:solidFill>
                  <a:srgbClr val="282828"/>
                </a:solidFill>
                <a:effectLst/>
                <a:uLnTx/>
                <a:uFillTx/>
                <a:latin typeface="Arial"/>
                <a:ea typeface="+mn-ea"/>
                <a:cs typeface="Arial"/>
              </a:rPr>
              <a:t>network</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3100"/>
              </a:lnSpc>
              <a:spcBef>
                <a:spcPts val="0"/>
              </a:spcBef>
              <a:spcAft>
                <a:spcPts val="0"/>
              </a:spcAft>
              <a:buClrTx/>
              <a:buSzTx/>
              <a:buFontTx/>
              <a:buNone/>
              <a:tabLst/>
              <a:defRPr/>
            </a:pPr>
            <a:r>
              <a:rPr kumimoji="0" sz="2650" b="0" i="0" u="none" strike="noStrike" kern="1200" cap="none" spc="25" normalizeH="0" baseline="0" noProof="0" dirty="0">
                <a:ln>
                  <a:noFill/>
                </a:ln>
                <a:solidFill>
                  <a:srgbClr val="282828"/>
                </a:solidFill>
                <a:effectLst/>
                <a:uLnTx/>
                <a:uFillTx/>
                <a:latin typeface="Arial"/>
                <a:ea typeface="+mn-ea"/>
                <a:cs typeface="Arial"/>
              </a:rPr>
              <a:t>community</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80"/>
              </a:spcBef>
              <a:spcAft>
                <a:spcPts val="0"/>
              </a:spcAft>
              <a:buClrTx/>
              <a:buSzPct val="58333"/>
              <a:buFontTx/>
              <a:buChar char="•"/>
              <a:tabLst>
                <a:tab pos="320675" algn="l"/>
              </a:tabLst>
              <a:defRPr/>
            </a:pPr>
            <a:r>
              <a:rPr kumimoji="0" sz="2400" b="0" i="0" u="none" strike="noStrike" kern="1200" cap="none" spc="0" normalizeH="0" baseline="0" noProof="0" dirty="0">
                <a:ln>
                  <a:noFill/>
                </a:ln>
                <a:solidFill>
                  <a:srgbClr val="282828"/>
                </a:solidFill>
                <a:effectLst/>
                <a:uLnTx/>
                <a:uFillTx/>
                <a:latin typeface="Arial"/>
                <a:ea typeface="+mn-ea"/>
                <a:cs typeface="Arial"/>
              </a:rPr>
              <a:t>ie </a:t>
            </a:r>
            <a:r>
              <a:rPr kumimoji="0" sz="2400" b="0" i="0" u="none" strike="noStrike" kern="1200" cap="none" spc="10" normalizeH="0" baseline="0" noProof="0" dirty="0">
                <a:ln>
                  <a:noFill/>
                </a:ln>
                <a:solidFill>
                  <a:srgbClr val="282828"/>
                </a:solidFill>
                <a:effectLst/>
                <a:uLnTx/>
                <a:uFillTx/>
                <a:latin typeface="Arial"/>
                <a:ea typeface="+mn-ea"/>
                <a:cs typeface="Arial"/>
              </a:rPr>
              <a:t>Lots </a:t>
            </a:r>
            <a:r>
              <a:rPr kumimoji="0" sz="2400" b="0" i="0" u="none" strike="noStrike" kern="1200" cap="none" spc="40" normalizeH="0" baseline="0" noProof="0" dirty="0">
                <a:ln>
                  <a:noFill/>
                </a:ln>
                <a:solidFill>
                  <a:srgbClr val="282828"/>
                </a:solidFill>
                <a:effectLst/>
                <a:uLnTx/>
                <a:uFillTx/>
                <a:latin typeface="Arial"/>
                <a:ea typeface="+mn-ea"/>
                <a:cs typeface="Arial"/>
              </a:rPr>
              <a:t>of</a:t>
            </a:r>
            <a:r>
              <a:rPr kumimoji="0" sz="2400" b="0" i="0" u="none" strike="noStrike" kern="1200" cap="none" spc="105" normalizeH="0" baseline="0" noProof="0" dirty="0">
                <a:ln>
                  <a:noFill/>
                </a:ln>
                <a:solidFill>
                  <a:srgbClr val="282828"/>
                </a:solidFill>
                <a:effectLst/>
                <a:uLnTx/>
                <a:uFillTx/>
                <a:latin typeface="Arial"/>
                <a:ea typeface="+mn-ea"/>
                <a:cs typeface="Arial"/>
              </a:rPr>
              <a:t> </a:t>
            </a:r>
            <a:r>
              <a:rPr kumimoji="0" sz="2400" b="0" i="0" u="none" strike="noStrike" kern="1200" cap="none" spc="0" normalizeH="0" baseline="0" noProof="0" dirty="0">
                <a:ln>
                  <a:noFill/>
                </a:ln>
                <a:solidFill>
                  <a:srgbClr val="282828"/>
                </a:solidFill>
                <a:effectLst/>
                <a:uLnTx/>
                <a:uFillTx/>
                <a:latin typeface="Arial"/>
                <a:ea typeface="+mn-ea"/>
                <a:cs typeface="Arial"/>
              </a:rPr>
              <a:t>examples!</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55"/>
              </a:spcBef>
              <a:spcAft>
                <a:spcPts val="0"/>
              </a:spcAft>
              <a:buClrTx/>
              <a:buSzPct val="60377"/>
              <a:buFontTx/>
              <a:buChar char="•"/>
              <a:tabLst>
                <a:tab pos="168275" algn="l"/>
              </a:tabLst>
              <a:defRPr/>
            </a:pPr>
            <a:r>
              <a:rPr kumimoji="0" sz="2650" b="0" i="0" u="none" strike="noStrike" kern="1200" cap="none" spc="25" normalizeH="0" baseline="0" noProof="0" dirty="0">
                <a:ln>
                  <a:noFill/>
                </a:ln>
                <a:solidFill>
                  <a:srgbClr val="282828"/>
                </a:solidFill>
                <a:effectLst/>
                <a:uLnTx/>
                <a:uFillTx/>
                <a:latin typeface="Arial"/>
                <a:ea typeface="+mn-ea"/>
                <a:cs typeface="Arial"/>
              </a:rPr>
              <a:t>Written </a:t>
            </a:r>
            <a:r>
              <a:rPr kumimoji="0" sz="2650" b="0" i="0" u="none" strike="noStrike" kern="1200" cap="none" spc="-25" normalizeH="0" baseline="0" noProof="0" dirty="0">
                <a:ln>
                  <a:noFill/>
                </a:ln>
                <a:solidFill>
                  <a:srgbClr val="282828"/>
                </a:solidFill>
                <a:effectLst/>
                <a:uLnTx/>
                <a:uFillTx/>
                <a:latin typeface="Arial"/>
                <a:ea typeface="+mn-ea"/>
                <a:cs typeface="Arial"/>
              </a:rPr>
              <a:t>in</a:t>
            </a:r>
            <a:r>
              <a:rPr kumimoji="0" sz="2650" b="0" i="0" u="none" strike="noStrike" kern="1200" cap="none" spc="35" normalizeH="0" baseline="0" noProof="0" dirty="0">
                <a:ln>
                  <a:noFill/>
                </a:ln>
                <a:solidFill>
                  <a:srgbClr val="282828"/>
                </a:solidFill>
                <a:effectLst/>
                <a:uLnTx/>
                <a:uFillTx/>
                <a:latin typeface="Arial"/>
                <a:ea typeface="+mn-ea"/>
                <a:cs typeface="Arial"/>
              </a:rPr>
              <a:t> </a:t>
            </a:r>
            <a:r>
              <a:rPr kumimoji="0" sz="2650" b="0" i="0" u="none" strike="noStrike" kern="1200" cap="none" spc="0" normalizeH="0" baseline="0" noProof="0" dirty="0">
                <a:ln>
                  <a:noFill/>
                </a:ln>
                <a:solidFill>
                  <a:srgbClr val="282828"/>
                </a:solidFill>
                <a:effectLst/>
                <a:uLnTx/>
                <a:uFillTx/>
                <a:latin typeface="Arial"/>
                <a:ea typeface="+mn-ea"/>
                <a:cs typeface="Arial"/>
              </a:rPr>
              <a:t>Python</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50"/>
              </a:spcBef>
              <a:spcAft>
                <a:spcPts val="0"/>
              </a:spcAft>
              <a:buClrTx/>
              <a:buSzPct val="60377"/>
              <a:buFontTx/>
              <a:buChar char="•"/>
              <a:tabLst>
                <a:tab pos="168275" algn="l"/>
              </a:tabLst>
              <a:defRPr/>
            </a:pPr>
            <a:r>
              <a:rPr kumimoji="0" sz="2650" b="0" i="0" u="none" strike="noStrike" kern="1200" cap="none" spc="5" normalizeH="0" baseline="0" noProof="0" dirty="0">
                <a:ln>
                  <a:noFill/>
                </a:ln>
                <a:solidFill>
                  <a:srgbClr val="282828"/>
                </a:solidFill>
                <a:effectLst/>
                <a:uLnTx/>
                <a:uFillTx/>
                <a:latin typeface="Arial"/>
                <a:ea typeface="+mn-ea"/>
                <a:cs typeface="Arial"/>
              </a:rPr>
              <a:t>Simple </a:t>
            </a:r>
            <a:r>
              <a:rPr kumimoji="0" sz="2650" b="0" i="0" u="none" strike="noStrike" kern="1200" cap="none" spc="55" normalizeH="0" baseline="0" noProof="0" dirty="0">
                <a:ln>
                  <a:noFill/>
                </a:ln>
                <a:solidFill>
                  <a:srgbClr val="282828"/>
                </a:solidFill>
                <a:effectLst/>
                <a:uLnTx/>
                <a:uFillTx/>
                <a:latin typeface="Arial"/>
                <a:ea typeface="+mn-ea"/>
                <a:cs typeface="Arial"/>
              </a:rPr>
              <a:t>to </a:t>
            </a:r>
            <a:r>
              <a:rPr kumimoji="0" sz="2650" b="0" i="0" u="none" strike="noStrike" kern="1200" cap="none" spc="-20" normalizeH="0" baseline="0" noProof="0" dirty="0">
                <a:ln>
                  <a:noFill/>
                </a:ln>
                <a:solidFill>
                  <a:srgbClr val="282828"/>
                </a:solidFill>
                <a:effectLst/>
                <a:uLnTx/>
                <a:uFillTx/>
                <a:latin typeface="Arial"/>
                <a:ea typeface="+mn-ea"/>
                <a:cs typeface="Arial"/>
              </a:rPr>
              <a:t>install </a:t>
            </a:r>
            <a:r>
              <a:rPr kumimoji="0" sz="2650" b="0" i="0" u="none" strike="noStrike" kern="1200" cap="none" spc="0" normalizeH="0" baseline="0" noProof="0" dirty="0">
                <a:ln>
                  <a:noFill/>
                </a:ln>
                <a:solidFill>
                  <a:srgbClr val="282828"/>
                </a:solidFill>
                <a:effectLst/>
                <a:uLnTx/>
                <a:uFillTx/>
                <a:latin typeface="Arial"/>
                <a:ea typeface="+mn-ea"/>
                <a:cs typeface="Arial"/>
              </a:rPr>
              <a:t>and </a:t>
            </a:r>
            <a:r>
              <a:rPr kumimoji="0" sz="2650" b="0" i="0" u="none" strike="noStrike" kern="1200" cap="none" spc="50" normalizeH="0" baseline="0" noProof="0" dirty="0">
                <a:ln>
                  <a:noFill/>
                </a:ln>
                <a:solidFill>
                  <a:srgbClr val="282828"/>
                </a:solidFill>
                <a:effectLst/>
                <a:uLnTx/>
                <a:uFillTx/>
                <a:latin typeface="Arial"/>
                <a:ea typeface="+mn-ea"/>
                <a:cs typeface="Arial"/>
              </a:rPr>
              <a:t>get</a:t>
            </a:r>
            <a:r>
              <a:rPr kumimoji="0" sz="2650" b="0" i="0" u="none" strike="noStrike" kern="1200" cap="none" spc="250" normalizeH="0" baseline="0" noProof="0" dirty="0">
                <a:ln>
                  <a:noFill/>
                </a:ln>
                <a:solidFill>
                  <a:srgbClr val="282828"/>
                </a:solidFill>
                <a:effectLst/>
                <a:uLnTx/>
                <a:uFillTx/>
                <a:latin typeface="Arial"/>
                <a:ea typeface="+mn-ea"/>
                <a:cs typeface="Arial"/>
              </a:rPr>
              <a:t> </a:t>
            </a:r>
            <a:r>
              <a:rPr kumimoji="0" sz="2650" b="0" i="0" u="none" strike="noStrike" kern="1200" cap="none" spc="10" normalizeH="0" baseline="0" noProof="0" dirty="0">
                <a:ln>
                  <a:noFill/>
                </a:ln>
                <a:solidFill>
                  <a:srgbClr val="282828"/>
                </a:solidFill>
                <a:effectLst/>
                <a:uLnTx/>
                <a:uFillTx/>
                <a:latin typeface="Arial"/>
                <a:ea typeface="+mn-ea"/>
                <a:cs typeface="Arial"/>
              </a:rPr>
              <a:t>started!</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25"/>
              </a:spcBef>
              <a:spcAft>
                <a:spcPts val="0"/>
              </a:spcAft>
              <a:buClrTx/>
              <a:buSzTx/>
              <a:buFontTx/>
              <a:buNone/>
              <a:tabLst/>
              <a:defRPr/>
            </a:pPr>
            <a:endParaRPr kumimoji="0" sz="510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2650" b="0" i="1" u="none" strike="noStrike" kern="1200" cap="none" spc="-5" normalizeH="0" baseline="0" noProof="0" dirty="0">
                <a:ln>
                  <a:noFill/>
                </a:ln>
                <a:solidFill>
                  <a:srgbClr val="282828"/>
                </a:solidFill>
                <a:effectLst/>
                <a:uLnTx/>
                <a:uFillTx/>
                <a:latin typeface="Arial"/>
                <a:ea typeface="+mn-ea"/>
                <a:cs typeface="Arial"/>
              </a:rPr>
              <a:t>But </a:t>
            </a:r>
            <a:r>
              <a:rPr kumimoji="0" sz="2650" b="0" i="1" u="none" strike="noStrike" kern="1200" cap="none" spc="25" normalizeH="0" baseline="0" noProof="0" dirty="0">
                <a:ln>
                  <a:noFill/>
                </a:ln>
                <a:solidFill>
                  <a:srgbClr val="282828"/>
                </a:solidFill>
                <a:effectLst/>
                <a:uLnTx/>
                <a:uFillTx/>
                <a:latin typeface="Arial"/>
                <a:ea typeface="+mn-ea"/>
                <a:cs typeface="Arial"/>
              </a:rPr>
              <a:t>explore other options </a:t>
            </a:r>
            <a:r>
              <a:rPr kumimoji="0" sz="2650" b="0" i="1" u="none" strike="noStrike" kern="1200" cap="none" spc="-40" normalizeH="0" baseline="0" noProof="0" dirty="0">
                <a:ln>
                  <a:noFill/>
                </a:ln>
                <a:solidFill>
                  <a:srgbClr val="282828"/>
                </a:solidFill>
                <a:effectLst/>
                <a:uLnTx/>
                <a:uFillTx/>
                <a:latin typeface="Arial"/>
                <a:ea typeface="+mn-ea"/>
                <a:cs typeface="Arial"/>
              </a:rPr>
              <a:t>as</a:t>
            </a:r>
            <a:r>
              <a:rPr kumimoji="0" sz="2650" b="0" i="1" u="none" strike="noStrike" kern="1200" cap="none" spc="215" normalizeH="0" baseline="0" noProof="0" dirty="0">
                <a:ln>
                  <a:noFill/>
                </a:ln>
                <a:solidFill>
                  <a:srgbClr val="282828"/>
                </a:solidFill>
                <a:effectLst/>
                <a:uLnTx/>
                <a:uFillTx/>
                <a:latin typeface="Arial"/>
                <a:ea typeface="+mn-ea"/>
                <a:cs typeface="Arial"/>
              </a:rPr>
              <a:t> </a:t>
            </a:r>
            <a:r>
              <a:rPr kumimoji="0" sz="2650" b="0" i="1" u="none" strike="noStrike" kern="1200" cap="none" spc="0" normalizeH="0" baseline="0" noProof="0" dirty="0">
                <a:ln>
                  <a:noFill/>
                </a:ln>
                <a:solidFill>
                  <a:srgbClr val="282828"/>
                </a:solidFill>
                <a:effectLst/>
                <a:uLnTx/>
                <a:uFillTx/>
                <a:latin typeface="Arial"/>
                <a:ea typeface="+mn-ea"/>
                <a:cs typeface="Arial"/>
              </a:rPr>
              <a:t>well!</a:t>
            </a:r>
            <a:endParaRPr kumimoji="0" sz="265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a:spLocks noGrp="1"/>
          </p:cNvSpPr>
          <p:nvPr>
            <p:ph type="title"/>
          </p:nvPr>
        </p:nvSpPr>
        <p:spPr>
          <a:xfrm>
            <a:off x="662736" y="587501"/>
            <a:ext cx="6382385" cy="596265"/>
          </a:xfrm>
          <a:prstGeom prst="rect">
            <a:avLst/>
          </a:prstGeom>
        </p:spPr>
        <p:txBody>
          <a:bodyPr vert="horz" wrap="square" lIns="0" tIns="12065" rIns="0" bIns="0" rtlCol="0">
            <a:spAutoFit/>
          </a:bodyPr>
          <a:lstStyle/>
          <a:p>
            <a:pPr marL="12700">
              <a:lnSpc>
                <a:spcPct val="100000"/>
              </a:lnSpc>
              <a:spcBef>
                <a:spcPts val="95"/>
              </a:spcBef>
            </a:pPr>
            <a:r>
              <a:rPr dirty="0"/>
              <a:t>Why </a:t>
            </a:r>
            <a:r>
              <a:rPr spc="-10" dirty="0"/>
              <a:t>Ansible </a:t>
            </a:r>
            <a:r>
              <a:rPr spc="50" dirty="0"/>
              <a:t>for </a:t>
            </a:r>
            <a:r>
              <a:rPr spc="35" dirty="0"/>
              <a:t>the</a:t>
            </a:r>
            <a:r>
              <a:rPr spc="165" dirty="0"/>
              <a:t> </a:t>
            </a:r>
            <a:r>
              <a:rPr spc="10" dirty="0"/>
              <a:t>Network?</a:t>
            </a:r>
          </a:p>
        </p:txBody>
      </p:sp>
      <p:sp>
        <p:nvSpPr>
          <p:cNvPr id="4" name="object 4"/>
          <p:cNvSpPr/>
          <p:nvPr/>
        </p:nvSpPr>
        <p:spPr>
          <a:xfrm>
            <a:off x="7903464" y="1609344"/>
            <a:ext cx="2706624" cy="332841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txBox="1">
            <a:spLocks noGrp="1"/>
          </p:cNvSpPr>
          <p:nvPr>
            <p:ph type="ftr" sz="quarter" idx="5"/>
          </p:nvPr>
        </p:nvSpPr>
        <p:spPr>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p>
        </p:txBody>
      </p:sp>
    </p:spTree>
    <p:extLst>
      <p:ext uri="{BB962C8B-B14F-4D97-AF65-F5344CB8AC3E}">
        <p14:creationId xmlns:p14="http://schemas.microsoft.com/office/powerpoint/2010/main" val="36544101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91410B-5DD0-BE4F-B12F-737A13614620}"/>
              </a:ext>
            </a:extLst>
          </p:cNvPr>
          <p:cNvSpPr>
            <a:spLocks noGrp="1"/>
          </p:cNvSpPr>
          <p:nvPr>
            <p:ph type="ctrTitle"/>
          </p:nvPr>
        </p:nvSpPr>
        <p:spPr/>
        <p:txBody>
          <a:bodyPr/>
          <a:lstStyle/>
          <a:p>
            <a:r>
              <a:rPr lang="en-CN" altLang="zh-CN" dirty="0"/>
              <a:t>Ansible</a:t>
            </a:r>
            <a:endParaRPr lang="en-CN" dirty="0"/>
          </a:p>
        </p:txBody>
      </p:sp>
    </p:spTree>
    <p:extLst>
      <p:ext uri="{BB962C8B-B14F-4D97-AF65-F5344CB8AC3E}">
        <p14:creationId xmlns:p14="http://schemas.microsoft.com/office/powerpoint/2010/main" val="30121352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62736" y="587501"/>
            <a:ext cx="9427210" cy="596265"/>
          </a:xfrm>
          <a:prstGeom prst="rect">
            <a:avLst/>
          </a:prstGeom>
        </p:spPr>
        <p:txBody>
          <a:bodyPr vert="horz" wrap="square" lIns="0" tIns="12065" rIns="0" bIns="0" rtlCol="0">
            <a:spAutoFit/>
          </a:bodyPr>
          <a:lstStyle/>
          <a:p>
            <a:pPr marL="12700">
              <a:lnSpc>
                <a:spcPct val="100000"/>
              </a:lnSpc>
              <a:spcBef>
                <a:spcPts val="95"/>
              </a:spcBef>
            </a:pPr>
            <a:r>
              <a:rPr spc="25" dirty="0">
                <a:solidFill>
                  <a:srgbClr val="005073"/>
                </a:solidFill>
              </a:rPr>
              <a:t>Real-Time </a:t>
            </a:r>
            <a:r>
              <a:rPr spc="-10" dirty="0">
                <a:solidFill>
                  <a:srgbClr val="005073"/>
                </a:solidFill>
              </a:rPr>
              <a:t>Remote </a:t>
            </a:r>
            <a:r>
              <a:rPr spc="-15" dirty="0">
                <a:solidFill>
                  <a:srgbClr val="005073"/>
                </a:solidFill>
              </a:rPr>
              <a:t>Execution </a:t>
            </a:r>
            <a:r>
              <a:rPr spc="65" dirty="0">
                <a:solidFill>
                  <a:srgbClr val="005073"/>
                </a:solidFill>
              </a:rPr>
              <a:t>of</a:t>
            </a:r>
            <a:r>
              <a:rPr spc="250" dirty="0">
                <a:solidFill>
                  <a:srgbClr val="005073"/>
                </a:solidFill>
              </a:rPr>
              <a:t> </a:t>
            </a:r>
            <a:r>
              <a:rPr spc="10" dirty="0">
                <a:solidFill>
                  <a:srgbClr val="005073"/>
                </a:solidFill>
              </a:rPr>
              <a:t>Commands</a:t>
            </a:r>
          </a:p>
        </p:txBody>
      </p:sp>
      <p:sp>
        <p:nvSpPr>
          <p:cNvPr id="3" name="object 3"/>
          <p:cNvSpPr/>
          <p:nvPr/>
        </p:nvSpPr>
        <p:spPr>
          <a:xfrm>
            <a:off x="6095392" y="2443950"/>
            <a:ext cx="4730750" cy="2576830"/>
          </a:xfrm>
          <a:custGeom>
            <a:avLst/>
            <a:gdLst/>
            <a:ahLst/>
            <a:cxnLst/>
            <a:rect l="l" t="t" r="r" b="b"/>
            <a:pathLst>
              <a:path w="4730750" h="2576829">
                <a:moveTo>
                  <a:pt x="430121" y="848143"/>
                </a:moveTo>
                <a:lnTo>
                  <a:pt x="424697" y="807422"/>
                </a:lnTo>
                <a:lnTo>
                  <a:pt x="423342" y="767114"/>
                </a:lnTo>
                <a:lnTo>
                  <a:pt x="425934" y="727340"/>
                </a:lnTo>
                <a:lnTo>
                  <a:pt x="432350" y="688217"/>
                </a:lnTo>
                <a:lnTo>
                  <a:pt x="442468" y="649866"/>
                </a:lnTo>
                <a:lnTo>
                  <a:pt x="456166" y="612405"/>
                </a:lnTo>
                <a:lnTo>
                  <a:pt x="473321" y="575954"/>
                </a:lnTo>
                <a:lnTo>
                  <a:pt x="493812" y="540632"/>
                </a:lnTo>
                <a:lnTo>
                  <a:pt x="517516" y="506558"/>
                </a:lnTo>
                <a:lnTo>
                  <a:pt x="544312" y="473852"/>
                </a:lnTo>
                <a:lnTo>
                  <a:pt x="574075" y="442632"/>
                </a:lnTo>
                <a:lnTo>
                  <a:pt x="606686" y="413018"/>
                </a:lnTo>
                <a:lnTo>
                  <a:pt x="642020" y="385129"/>
                </a:lnTo>
                <a:lnTo>
                  <a:pt x="679956" y="359085"/>
                </a:lnTo>
                <a:lnTo>
                  <a:pt x="720373" y="335004"/>
                </a:lnTo>
                <a:lnTo>
                  <a:pt x="763147" y="313006"/>
                </a:lnTo>
                <a:lnTo>
                  <a:pt x="808156" y="293209"/>
                </a:lnTo>
                <a:lnTo>
                  <a:pt x="855278" y="275734"/>
                </a:lnTo>
                <a:lnTo>
                  <a:pt x="904391" y="260700"/>
                </a:lnTo>
                <a:lnTo>
                  <a:pt x="955373" y="248225"/>
                </a:lnTo>
                <a:lnTo>
                  <a:pt x="1008101" y="238429"/>
                </a:lnTo>
                <a:lnTo>
                  <a:pt x="1062454" y="231431"/>
                </a:lnTo>
                <a:lnTo>
                  <a:pt x="1111622" y="227678"/>
                </a:lnTo>
                <a:lnTo>
                  <a:pt x="1160797" y="226383"/>
                </a:lnTo>
                <a:lnTo>
                  <a:pt x="1209821" y="227523"/>
                </a:lnTo>
                <a:lnTo>
                  <a:pt x="1258532" y="231071"/>
                </a:lnTo>
                <a:lnTo>
                  <a:pt x="1306770" y="237003"/>
                </a:lnTo>
                <a:lnTo>
                  <a:pt x="1354376" y="245293"/>
                </a:lnTo>
                <a:lnTo>
                  <a:pt x="1401189" y="255917"/>
                </a:lnTo>
                <a:lnTo>
                  <a:pt x="1447050" y="268848"/>
                </a:lnTo>
                <a:lnTo>
                  <a:pt x="1491799" y="284063"/>
                </a:lnTo>
                <a:lnTo>
                  <a:pt x="1535275" y="301535"/>
                </a:lnTo>
                <a:lnTo>
                  <a:pt x="1562286" y="267538"/>
                </a:lnTo>
                <a:lnTo>
                  <a:pt x="1592759" y="236031"/>
                </a:lnTo>
                <a:lnTo>
                  <a:pt x="1626415" y="207078"/>
                </a:lnTo>
                <a:lnTo>
                  <a:pt x="1662975" y="180741"/>
                </a:lnTo>
                <a:lnTo>
                  <a:pt x="1702162" y="157085"/>
                </a:lnTo>
                <a:lnTo>
                  <a:pt x="1743696" y="136172"/>
                </a:lnTo>
                <a:lnTo>
                  <a:pt x="1787300" y="118065"/>
                </a:lnTo>
                <a:lnTo>
                  <a:pt x="1832695" y="102828"/>
                </a:lnTo>
                <a:lnTo>
                  <a:pt x="1879604" y="90524"/>
                </a:lnTo>
                <a:lnTo>
                  <a:pt x="1927747" y="81217"/>
                </a:lnTo>
                <a:lnTo>
                  <a:pt x="1976846" y="74969"/>
                </a:lnTo>
                <a:lnTo>
                  <a:pt x="2026624" y="71844"/>
                </a:lnTo>
                <a:lnTo>
                  <a:pt x="2076801" y="71904"/>
                </a:lnTo>
                <a:lnTo>
                  <a:pt x="2127100" y="75214"/>
                </a:lnTo>
                <a:lnTo>
                  <a:pt x="2177242" y="81837"/>
                </a:lnTo>
                <a:lnTo>
                  <a:pt x="2226949" y="91835"/>
                </a:lnTo>
                <a:lnTo>
                  <a:pt x="2275943" y="105272"/>
                </a:lnTo>
                <a:lnTo>
                  <a:pt x="2323945" y="122211"/>
                </a:lnTo>
                <a:lnTo>
                  <a:pt x="2360477" y="137866"/>
                </a:lnTo>
                <a:lnTo>
                  <a:pt x="2395319" y="155437"/>
                </a:lnTo>
                <a:lnTo>
                  <a:pt x="2428351" y="174843"/>
                </a:lnTo>
                <a:lnTo>
                  <a:pt x="2459454" y="195998"/>
                </a:lnTo>
                <a:lnTo>
                  <a:pt x="2485187" y="162374"/>
                </a:lnTo>
                <a:lnTo>
                  <a:pt x="2515033" y="131621"/>
                </a:lnTo>
                <a:lnTo>
                  <a:pt x="2548603" y="103836"/>
                </a:lnTo>
                <a:lnTo>
                  <a:pt x="2585505" y="79114"/>
                </a:lnTo>
                <a:lnTo>
                  <a:pt x="2625349" y="57554"/>
                </a:lnTo>
                <a:lnTo>
                  <a:pt x="2667744" y="39252"/>
                </a:lnTo>
                <a:lnTo>
                  <a:pt x="2712300" y="24304"/>
                </a:lnTo>
                <a:lnTo>
                  <a:pt x="2758626" y="12808"/>
                </a:lnTo>
                <a:lnTo>
                  <a:pt x="2806331" y="4861"/>
                </a:lnTo>
                <a:lnTo>
                  <a:pt x="2855026" y="559"/>
                </a:lnTo>
                <a:lnTo>
                  <a:pt x="2904319" y="0"/>
                </a:lnTo>
                <a:lnTo>
                  <a:pt x="2953819" y="3279"/>
                </a:lnTo>
                <a:lnTo>
                  <a:pt x="3003137" y="10495"/>
                </a:lnTo>
                <a:lnTo>
                  <a:pt x="3051881" y="21743"/>
                </a:lnTo>
                <a:lnTo>
                  <a:pt x="3099661" y="37121"/>
                </a:lnTo>
                <a:lnTo>
                  <a:pt x="3147054" y="57203"/>
                </a:lnTo>
                <a:lnTo>
                  <a:pt x="3190863" y="81095"/>
                </a:lnTo>
                <a:lnTo>
                  <a:pt x="3230695" y="108558"/>
                </a:lnTo>
                <a:lnTo>
                  <a:pt x="3266158" y="139356"/>
                </a:lnTo>
                <a:lnTo>
                  <a:pt x="3301098" y="111620"/>
                </a:lnTo>
                <a:lnTo>
                  <a:pt x="3338744" y="86919"/>
                </a:lnTo>
                <a:lnTo>
                  <a:pt x="3378782" y="65273"/>
                </a:lnTo>
                <a:lnTo>
                  <a:pt x="3420897" y="46701"/>
                </a:lnTo>
                <a:lnTo>
                  <a:pt x="3464778" y="31221"/>
                </a:lnTo>
                <a:lnTo>
                  <a:pt x="3510109" y="18853"/>
                </a:lnTo>
                <a:lnTo>
                  <a:pt x="3556577" y="9616"/>
                </a:lnTo>
                <a:lnTo>
                  <a:pt x="3603870" y="3529"/>
                </a:lnTo>
                <a:lnTo>
                  <a:pt x="3651672" y="610"/>
                </a:lnTo>
                <a:lnTo>
                  <a:pt x="3699671" y="880"/>
                </a:lnTo>
                <a:lnTo>
                  <a:pt x="3747553" y="4357"/>
                </a:lnTo>
                <a:lnTo>
                  <a:pt x="3795004" y="11060"/>
                </a:lnTo>
                <a:lnTo>
                  <a:pt x="3841711" y="21008"/>
                </a:lnTo>
                <a:lnTo>
                  <a:pt x="3887360" y="34221"/>
                </a:lnTo>
                <a:lnTo>
                  <a:pt x="3931637" y="50717"/>
                </a:lnTo>
                <a:lnTo>
                  <a:pt x="3974229" y="70516"/>
                </a:lnTo>
                <a:lnTo>
                  <a:pt x="4014823" y="93636"/>
                </a:lnTo>
                <a:lnTo>
                  <a:pt x="4059265" y="124909"/>
                </a:lnTo>
                <a:lnTo>
                  <a:pt x="4098285" y="159540"/>
                </a:lnTo>
                <a:lnTo>
                  <a:pt x="4131583" y="197141"/>
                </a:lnTo>
                <a:lnTo>
                  <a:pt x="4158860" y="237325"/>
                </a:lnTo>
                <a:lnTo>
                  <a:pt x="4179814" y="279703"/>
                </a:lnTo>
                <a:lnTo>
                  <a:pt x="4194147" y="323887"/>
                </a:lnTo>
                <a:lnTo>
                  <a:pt x="4247637" y="336766"/>
                </a:lnTo>
                <a:lnTo>
                  <a:pt x="4298312" y="353065"/>
                </a:lnTo>
                <a:lnTo>
                  <a:pt x="4345998" y="372561"/>
                </a:lnTo>
                <a:lnTo>
                  <a:pt x="4390525" y="395031"/>
                </a:lnTo>
                <a:lnTo>
                  <a:pt x="4431720" y="420252"/>
                </a:lnTo>
                <a:lnTo>
                  <a:pt x="4469413" y="448000"/>
                </a:lnTo>
                <a:lnTo>
                  <a:pt x="4503430" y="478051"/>
                </a:lnTo>
                <a:lnTo>
                  <a:pt x="4533601" y="510183"/>
                </a:lnTo>
                <a:lnTo>
                  <a:pt x="4559754" y="544173"/>
                </a:lnTo>
                <a:lnTo>
                  <a:pt x="4581718" y="579796"/>
                </a:lnTo>
                <a:lnTo>
                  <a:pt x="4599319" y="616830"/>
                </a:lnTo>
                <a:lnTo>
                  <a:pt x="4612388" y="655050"/>
                </a:lnTo>
                <a:lnTo>
                  <a:pt x="4620751" y="694235"/>
                </a:lnTo>
                <a:lnTo>
                  <a:pt x="4624238" y="734160"/>
                </a:lnTo>
                <a:lnTo>
                  <a:pt x="4622676" y="774602"/>
                </a:lnTo>
                <a:lnTo>
                  <a:pt x="4615895" y="815338"/>
                </a:lnTo>
                <a:lnTo>
                  <a:pt x="4603722" y="856144"/>
                </a:lnTo>
                <a:lnTo>
                  <a:pt x="4584612" y="899114"/>
                </a:lnTo>
                <a:lnTo>
                  <a:pt x="4576925" y="913040"/>
                </a:lnTo>
                <a:lnTo>
                  <a:pt x="4610433" y="948120"/>
                </a:lnTo>
                <a:lnTo>
                  <a:pt x="4639748" y="984450"/>
                </a:lnTo>
                <a:lnTo>
                  <a:pt x="4664902" y="1021856"/>
                </a:lnTo>
                <a:lnTo>
                  <a:pt x="4685923" y="1060169"/>
                </a:lnTo>
                <a:lnTo>
                  <a:pt x="4702844" y="1099216"/>
                </a:lnTo>
                <a:lnTo>
                  <a:pt x="4715694" y="1138826"/>
                </a:lnTo>
                <a:lnTo>
                  <a:pt x="4724503" y="1178827"/>
                </a:lnTo>
                <a:lnTo>
                  <a:pt x="4729303" y="1219049"/>
                </a:lnTo>
                <a:lnTo>
                  <a:pt x="4730123" y="1259319"/>
                </a:lnTo>
                <a:lnTo>
                  <a:pt x="4726995" y="1299466"/>
                </a:lnTo>
                <a:lnTo>
                  <a:pt x="4719947" y="1339319"/>
                </a:lnTo>
                <a:lnTo>
                  <a:pt x="4709012" y="1378706"/>
                </a:lnTo>
                <a:lnTo>
                  <a:pt x="4694219" y="1417455"/>
                </a:lnTo>
                <a:lnTo>
                  <a:pt x="4675599" y="1455396"/>
                </a:lnTo>
                <a:lnTo>
                  <a:pt x="4653182" y="1492356"/>
                </a:lnTo>
                <a:lnTo>
                  <a:pt x="4626999" y="1528165"/>
                </a:lnTo>
                <a:lnTo>
                  <a:pt x="4597080" y="1562650"/>
                </a:lnTo>
                <a:lnTo>
                  <a:pt x="4563455" y="1595641"/>
                </a:lnTo>
                <a:lnTo>
                  <a:pt x="4526156" y="1626965"/>
                </a:lnTo>
                <a:lnTo>
                  <a:pt x="4485212" y="1656452"/>
                </a:lnTo>
                <a:lnTo>
                  <a:pt x="4440654" y="1683930"/>
                </a:lnTo>
                <a:lnTo>
                  <a:pt x="4396290" y="1707332"/>
                </a:lnTo>
                <a:lnTo>
                  <a:pt x="4349875" y="1728186"/>
                </a:lnTo>
                <a:lnTo>
                  <a:pt x="4301614" y="1746432"/>
                </a:lnTo>
                <a:lnTo>
                  <a:pt x="4251712" y="1762009"/>
                </a:lnTo>
                <a:lnTo>
                  <a:pt x="4200372" y="1774859"/>
                </a:lnTo>
                <a:lnTo>
                  <a:pt x="4147799" y="1784921"/>
                </a:lnTo>
                <a:lnTo>
                  <a:pt x="4094198" y="1792134"/>
                </a:lnTo>
                <a:lnTo>
                  <a:pt x="4091439" y="1832577"/>
                </a:lnTo>
                <a:lnTo>
                  <a:pt x="4084173" y="1872038"/>
                </a:lnTo>
                <a:lnTo>
                  <a:pt x="4072592" y="1910378"/>
                </a:lnTo>
                <a:lnTo>
                  <a:pt x="4056886" y="1947456"/>
                </a:lnTo>
                <a:lnTo>
                  <a:pt x="4037247" y="1983134"/>
                </a:lnTo>
                <a:lnTo>
                  <a:pt x="4013866" y="2017271"/>
                </a:lnTo>
                <a:lnTo>
                  <a:pt x="3986935" y="2049728"/>
                </a:lnTo>
                <a:lnTo>
                  <a:pt x="3956646" y="2080365"/>
                </a:lnTo>
                <a:lnTo>
                  <a:pt x="3923189" y="2109043"/>
                </a:lnTo>
                <a:lnTo>
                  <a:pt x="3886757" y="2135622"/>
                </a:lnTo>
                <a:lnTo>
                  <a:pt x="3847539" y="2159963"/>
                </a:lnTo>
                <a:lnTo>
                  <a:pt x="3805729" y="2181924"/>
                </a:lnTo>
                <a:lnTo>
                  <a:pt x="3761517" y="2201368"/>
                </a:lnTo>
                <a:lnTo>
                  <a:pt x="3715095" y="2218155"/>
                </a:lnTo>
                <a:lnTo>
                  <a:pt x="3666654" y="2232144"/>
                </a:lnTo>
                <a:lnTo>
                  <a:pt x="3616386" y="2243196"/>
                </a:lnTo>
                <a:lnTo>
                  <a:pt x="3564482" y="2251172"/>
                </a:lnTo>
                <a:lnTo>
                  <a:pt x="3511133" y="2255931"/>
                </a:lnTo>
                <a:lnTo>
                  <a:pt x="3456531" y="2257335"/>
                </a:lnTo>
                <a:lnTo>
                  <a:pt x="3406703" y="2255601"/>
                </a:lnTo>
                <a:lnTo>
                  <a:pt x="3357406" y="2250978"/>
                </a:lnTo>
                <a:lnTo>
                  <a:pt x="3308861" y="2243512"/>
                </a:lnTo>
                <a:lnTo>
                  <a:pt x="3261285" y="2233255"/>
                </a:lnTo>
                <a:lnTo>
                  <a:pt x="3214901" y="2220253"/>
                </a:lnTo>
                <a:lnTo>
                  <a:pt x="3169928" y="2204557"/>
                </a:lnTo>
                <a:lnTo>
                  <a:pt x="3126585" y="2186215"/>
                </a:lnTo>
                <a:lnTo>
                  <a:pt x="3109522" y="2223358"/>
                </a:lnTo>
                <a:lnTo>
                  <a:pt x="3089281" y="2259008"/>
                </a:lnTo>
                <a:lnTo>
                  <a:pt x="3066019" y="2293103"/>
                </a:lnTo>
                <a:lnTo>
                  <a:pt x="3039890" y="2325582"/>
                </a:lnTo>
                <a:lnTo>
                  <a:pt x="3011051" y="2356381"/>
                </a:lnTo>
                <a:lnTo>
                  <a:pt x="2979656" y="2385440"/>
                </a:lnTo>
                <a:lnTo>
                  <a:pt x="2945863" y="2412696"/>
                </a:lnTo>
                <a:lnTo>
                  <a:pt x="2909825" y="2438086"/>
                </a:lnTo>
                <a:lnTo>
                  <a:pt x="2871699" y="2461549"/>
                </a:lnTo>
                <a:lnTo>
                  <a:pt x="2831641" y="2483023"/>
                </a:lnTo>
                <a:lnTo>
                  <a:pt x="2789805" y="2502445"/>
                </a:lnTo>
                <a:lnTo>
                  <a:pt x="2746349" y="2519753"/>
                </a:lnTo>
                <a:lnTo>
                  <a:pt x="2701427" y="2534885"/>
                </a:lnTo>
                <a:lnTo>
                  <a:pt x="2655195" y="2547779"/>
                </a:lnTo>
                <a:lnTo>
                  <a:pt x="2607808" y="2558373"/>
                </a:lnTo>
                <a:lnTo>
                  <a:pt x="2559423" y="2566605"/>
                </a:lnTo>
                <a:lnTo>
                  <a:pt x="2510195" y="2572412"/>
                </a:lnTo>
                <a:lnTo>
                  <a:pt x="2460279" y="2575733"/>
                </a:lnTo>
                <a:lnTo>
                  <a:pt x="2409831" y="2576505"/>
                </a:lnTo>
                <a:lnTo>
                  <a:pt x="2359007" y="2574666"/>
                </a:lnTo>
                <a:lnTo>
                  <a:pt x="2307963" y="2570154"/>
                </a:lnTo>
                <a:lnTo>
                  <a:pt x="2256853" y="2562908"/>
                </a:lnTo>
                <a:lnTo>
                  <a:pt x="2205835" y="2552864"/>
                </a:lnTo>
                <a:lnTo>
                  <a:pt x="2152166" y="2539048"/>
                </a:lnTo>
                <a:lnTo>
                  <a:pt x="2100343" y="2522310"/>
                </a:lnTo>
                <a:lnTo>
                  <a:pt x="2050566" y="2502755"/>
                </a:lnTo>
                <a:lnTo>
                  <a:pt x="2003033" y="2480492"/>
                </a:lnTo>
                <a:lnTo>
                  <a:pt x="1957946" y="2455625"/>
                </a:lnTo>
                <a:lnTo>
                  <a:pt x="1915503" y="2428263"/>
                </a:lnTo>
                <a:lnTo>
                  <a:pt x="1875905" y="2398511"/>
                </a:lnTo>
                <a:lnTo>
                  <a:pt x="1839350" y="2366476"/>
                </a:lnTo>
                <a:lnTo>
                  <a:pt x="1806039" y="2332265"/>
                </a:lnTo>
                <a:lnTo>
                  <a:pt x="1761162" y="2351019"/>
                </a:lnTo>
                <a:lnTo>
                  <a:pt x="1715426" y="2367530"/>
                </a:lnTo>
                <a:lnTo>
                  <a:pt x="1668954" y="2381821"/>
                </a:lnTo>
                <a:lnTo>
                  <a:pt x="1621865" y="2393915"/>
                </a:lnTo>
                <a:lnTo>
                  <a:pt x="1574281" y="2403833"/>
                </a:lnTo>
                <a:lnTo>
                  <a:pt x="1526324" y="2411600"/>
                </a:lnTo>
                <a:lnTo>
                  <a:pt x="1478114" y="2417236"/>
                </a:lnTo>
                <a:lnTo>
                  <a:pt x="1429773" y="2420765"/>
                </a:lnTo>
                <a:lnTo>
                  <a:pt x="1381421" y="2422209"/>
                </a:lnTo>
                <a:lnTo>
                  <a:pt x="1333180" y="2421591"/>
                </a:lnTo>
                <a:lnTo>
                  <a:pt x="1285172" y="2418933"/>
                </a:lnTo>
                <a:lnTo>
                  <a:pt x="1237516" y="2414258"/>
                </a:lnTo>
                <a:lnTo>
                  <a:pt x="1190334" y="2407588"/>
                </a:lnTo>
                <a:lnTo>
                  <a:pt x="1143748" y="2398946"/>
                </a:lnTo>
                <a:lnTo>
                  <a:pt x="1097878" y="2388354"/>
                </a:lnTo>
                <a:lnTo>
                  <a:pt x="1052846" y="2375835"/>
                </a:lnTo>
                <a:lnTo>
                  <a:pt x="1008772" y="2361412"/>
                </a:lnTo>
                <a:lnTo>
                  <a:pt x="965779" y="2345106"/>
                </a:lnTo>
                <a:lnTo>
                  <a:pt x="923986" y="2326941"/>
                </a:lnTo>
                <a:lnTo>
                  <a:pt x="883515" y="2306939"/>
                </a:lnTo>
                <a:lnTo>
                  <a:pt x="844488" y="2285122"/>
                </a:lnTo>
                <a:lnTo>
                  <a:pt x="807026" y="2261514"/>
                </a:lnTo>
                <a:lnTo>
                  <a:pt x="771248" y="2236136"/>
                </a:lnTo>
                <a:lnTo>
                  <a:pt x="737278" y="2209011"/>
                </a:lnTo>
                <a:lnTo>
                  <a:pt x="705235" y="2180162"/>
                </a:lnTo>
                <a:lnTo>
                  <a:pt x="675241" y="2149611"/>
                </a:lnTo>
                <a:lnTo>
                  <a:pt x="647418" y="2117381"/>
                </a:lnTo>
                <a:lnTo>
                  <a:pt x="641449" y="2109888"/>
                </a:lnTo>
                <a:lnTo>
                  <a:pt x="638528" y="2106078"/>
                </a:lnTo>
                <a:lnTo>
                  <a:pt x="582911" y="2108521"/>
                </a:lnTo>
                <a:lnTo>
                  <a:pt x="528450" y="2106263"/>
                </a:lnTo>
                <a:lnTo>
                  <a:pt x="475539" y="2099534"/>
                </a:lnTo>
                <a:lnTo>
                  <a:pt x="424577" y="2088568"/>
                </a:lnTo>
                <a:lnTo>
                  <a:pt x="375959" y="2073596"/>
                </a:lnTo>
                <a:lnTo>
                  <a:pt x="330081" y="2054850"/>
                </a:lnTo>
                <a:lnTo>
                  <a:pt x="287341" y="2032561"/>
                </a:lnTo>
                <a:lnTo>
                  <a:pt x="248135" y="2006962"/>
                </a:lnTo>
                <a:lnTo>
                  <a:pt x="212859" y="1978284"/>
                </a:lnTo>
                <a:lnTo>
                  <a:pt x="181911" y="1946760"/>
                </a:lnTo>
                <a:lnTo>
                  <a:pt x="155686" y="1912620"/>
                </a:lnTo>
                <a:lnTo>
                  <a:pt x="134581" y="1876098"/>
                </a:lnTo>
                <a:lnTo>
                  <a:pt x="118993" y="1837425"/>
                </a:lnTo>
                <a:lnTo>
                  <a:pt x="109319" y="1796833"/>
                </a:lnTo>
                <a:lnTo>
                  <a:pt x="106079" y="1752709"/>
                </a:lnTo>
                <a:lnTo>
                  <a:pt x="110257" y="1709050"/>
                </a:lnTo>
                <a:lnTo>
                  <a:pt x="121635" y="1666334"/>
                </a:lnTo>
                <a:lnTo>
                  <a:pt x="139996" y="1625043"/>
                </a:lnTo>
                <a:lnTo>
                  <a:pt x="165121" y="1585656"/>
                </a:lnTo>
                <a:lnTo>
                  <a:pt x="196793" y="1548652"/>
                </a:lnTo>
                <a:lnTo>
                  <a:pt x="234795" y="1514512"/>
                </a:lnTo>
                <a:lnTo>
                  <a:pt x="188594" y="1491588"/>
                </a:lnTo>
                <a:lnTo>
                  <a:pt x="147125" y="1465406"/>
                </a:lnTo>
                <a:lnTo>
                  <a:pt x="110513" y="1436328"/>
                </a:lnTo>
                <a:lnTo>
                  <a:pt x="78887" y="1404720"/>
                </a:lnTo>
                <a:lnTo>
                  <a:pt x="52374" y="1370946"/>
                </a:lnTo>
                <a:lnTo>
                  <a:pt x="31101" y="1335371"/>
                </a:lnTo>
                <a:lnTo>
                  <a:pt x="15196" y="1298358"/>
                </a:lnTo>
                <a:lnTo>
                  <a:pt x="4786" y="1260272"/>
                </a:lnTo>
                <a:lnTo>
                  <a:pt x="0" y="1221477"/>
                </a:lnTo>
                <a:lnTo>
                  <a:pt x="963" y="1182338"/>
                </a:lnTo>
                <a:lnTo>
                  <a:pt x="7804" y="1143220"/>
                </a:lnTo>
                <a:lnTo>
                  <a:pt x="20651" y="1104485"/>
                </a:lnTo>
                <a:lnTo>
                  <a:pt x="39630" y="1066499"/>
                </a:lnTo>
                <a:lnTo>
                  <a:pt x="64869" y="1029626"/>
                </a:lnTo>
                <a:lnTo>
                  <a:pt x="96203" y="994679"/>
                </a:lnTo>
                <a:lnTo>
                  <a:pt x="132451" y="963050"/>
                </a:lnTo>
                <a:lnTo>
                  <a:pt x="173130" y="934976"/>
                </a:lnTo>
                <a:lnTo>
                  <a:pt x="217761" y="910690"/>
                </a:lnTo>
                <a:lnTo>
                  <a:pt x="265862" y="890430"/>
                </a:lnTo>
                <a:lnTo>
                  <a:pt x="316954" y="874428"/>
                </a:lnTo>
                <a:lnTo>
                  <a:pt x="370555" y="862921"/>
                </a:lnTo>
                <a:lnTo>
                  <a:pt x="426184" y="856144"/>
                </a:lnTo>
                <a:lnTo>
                  <a:pt x="430121" y="848143"/>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6335267" y="3948429"/>
            <a:ext cx="277495" cy="48895"/>
          </a:xfrm>
          <a:custGeom>
            <a:avLst/>
            <a:gdLst/>
            <a:ahLst/>
            <a:cxnLst/>
            <a:rect l="l" t="t" r="r" b="b"/>
            <a:pathLst>
              <a:path w="277495" h="48895">
                <a:moveTo>
                  <a:pt x="276987" y="47625"/>
                </a:moveTo>
                <a:lnTo>
                  <a:pt x="228723" y="48577"/>
                </a:lnTo>
                <a:lnTo>
                  <a:pt x="180819" y="45889"/>
                </a:lnTo>
                <a:lnTo>
                  <a:pt x="133635" y="39624"/>
                </a:lnTo>
                <a:lnTo>
                  <a:pt x="87531" y="29844"/>
                </a:lnTo>
                <a:lnTo>
                  <a:pt x="42866" y="16615"/>
                </a:lnTo>
                <a:lnTo>
                  <a:pt x="0"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6735444" y="4515992"/>
            <a:ext cx="121285" cy="22860"/>
          </a:xfrm>
          <a:custGeom>
            <a:avLst/>
            <a:gdLst/>
            <a:ahLst/>
            <a:cxnLst/>
            <a:rect l="l" t="t" r="r" b="b"/>
            <a:pathLst>
              <a:path w="121284" h="22860">
                <a:moveTo>
                  <a:pt x="121284" y="0"/>
                </a:moveTo>
                <a:lnTo>
                  <a:pt x="91797" y="7927"/>
                </a:lnTo>
                <a:lnTo>
                  <a:pt x="61690" y="14366"/>
                </a:lnTo>
                <a:lnTo>
                  <a:pt x="31059" y="19305"/>
                </a:lnTo>
                <a:lnTo>
                  <a:pt x="0" y="22732"/>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7828026" y="4662170"/>
            <a:ext cx="73025" cy="104139"/>
          </a:xfrm>
          <a:custGeom>
            <a:avLst/>
            <a:gdLst/>
            <a:ahLst/>
            <a:cxnLst/>
            <a:rect l="l" t="t" r="r" b="b"/>
            <a:pathLst>
              <a:path w="73025" h="104139">
                <a:moveTo>
                  <a:pt x="73025" y="103758"/>
                </a:moveTo>
                <a:lnTo>
                  <a:pt x="52006" y="78884"/>
                </a:lnTo>
                <a:lnTo>
                  <a:pt x="32797" y="53260"/>
                </a:lnTo>
                <a:lnTo>
                  <a:pt x="15446" y="26945"/>
                </a:lnTo>
                <a:lnTo>
                  <a:pt x="0"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9222485" y="4507229"/>
            <a:ext cx="29209" cy="114300"/>
          </a:xfrm>
          <a:custGeom>
            <a:avLst/>
            <a:gdLst/>
            <a:ahLst/>
            <a:cxnLst/>
            <a:rect l="l" t="t" r="r" b="b"/>
            <a:pathLst>
              <a:path w="29209" h="114300">
                <a:moveTo>
                  <a:pt x="29083" y="0"/>
                </a:moveTo>
                <a:lnTo>
                  <a:pt x="24824" y="28852"/>
                </a:lnTo>
                <a:lnTo>
                  <a:pt x="18542" y="57467"/>
                </a:lnTo>
                <a:lnTo>
                  <a:pt x="10259" y="85796"/>
                </a:lnTo>
                <a:lnTo>
                  <a:pt x="0" y="113792"/>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9831451" y="3803903"/>
            <a:ext cx="355600" cy="425450"/>
          </a:xfrm>
          <a:custGeom>
            <a:avLst/>
            <a:gdLst/>
            <a:ahLst/>
            <a:cxnLst/>
            <a:rect l="l" t="t" r="r" b="b"/>
            <a:pathLst>
              <a:path w="355600" h="425450">
                <a:moveTo>
                  <a:pt x="0" y="0"/>
                </a:moveTo>
                <a:lnTo>
                  <a:pt x="53080" y="21538"/>
                </a:lnTo>
                <a:lnTo>
                  <a:pt x="102584" y="46427"/>
                </a:lnTo>
                <a:lnTo>
                  <a:pt x="148306" y="74422"/>
                </a:lnTo>
                <a:lnTo>
                  <a:pt x="190039" y="105273"/>
                </a:lnTo>
                <a:lnTo>
                  <a:pt x="227577" y="138735"/>
                </a:lnTo>
                <a:lnTo>
                  <a:pt x="260715" y="174561"/>
                </a:lnTo>
                <a:lnTo>
                  <a:pt x="289246" y="212503"/>
                </a:lnTo>
                <a:lnTo>
                  <a:pt x="312965" y="252316"/>
                </a:lnTo>
                <a:lnTo>
                  <a:pt x="331666" y="293751"/>
                </a:lnTo>
                <a:lnTo>
                  <a:pt x="345143" y="336561"/>
                </a:lnTo>
                <a:lnTo>
                  <a:pt x="353189" y="380501"/>
                </a:lnTo>
                <a:lnTo>
                  <a:pt x="355600" y="425323"/>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10511790" y="3350767"/>
            <a:ext cx="158750" cy="160020"/>
          </a:xfrm>
          <a:custGeom>
            <a:avLst/>
            <a:gdLst/>
            <a:ahLst/>
            <a:cxnLst/>
            <a:rect l="l" t="t" r="r" b="b"/>
            <a:pathLst>
              <a:path w="158750" h="160020">
                <a:moveTo>
                  <a:pt x="158368" y="0"/>
                </a:moveTo>
                <a:lnTo>
                  <a:pt x="134827" y="36072"/>
                </a:lnTo>
                <a:lnTo>
                  <a:pt x="107012" y="70248"/>
                </a:lnTo>
                <a:lnTo>
                  <a:pt x="75131" y="102339"/>
                </a:lnTo>
                <a:lnTo>
                  <a:pt x="39391" y="132157"/>
                </a:lnTo>
                <a:lnTo>
                  <a:pt x="0" y="159512"/>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10290175" y="2758820"/>
            <a:ext cx="8890" cy="75565"/>
          </a:xfrm>
          <a:custGeom>
            <a:avLst/>
            <a:gdLst/>
            <a:ahLst/>
            <a:cxnLst/>
            <a:rect l="l" t="t" r="r" b="b"/>
            <a:pathLst>
              <a:path w="8890" h="75564">
                <a:moveTo>
                  <a:pt x="0" y="0"/>
                </a:moveTo>
                <a:lnTo>
                  <a:pt x="3952" y="18732"/>
                </a:lnTo>
                <a:lnTo>
                  <a:pt x="6667" y="37560"/>
                </a:lnTo>
                <a:lnTo>
                  <a:pt x="8143" y="56435"/>
                </a:lnTo>
                <a:lnTo>
                  <a:pt x="8381" y="75311"/>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9279001" y="2574925"/>
            <a:ext cx="81280" cy="96520"/>
          </a:xfrm>
          <a:custGeom>
            <a:avLst/>
            <a:gdLst/>
            <a:ahLst/>
            <a:cxnLst/>
            <a:rect l="l" t="t" r="r" b="b"/>
            <a:pathLst>
              <a:path w="81279" h="96519">
                <a:moveTo>
                  <a:pt x="0" y="96012"/>
                </a:moveTo>
                <a:lnTo>
                  <a:pt x="16752" y="70455"/>
                </a:lnTo>
                <a:lnTo>
                  <a:pt x="35909" y="45862"/>
                </a:lnTo>
                <a:lnTo>
                  <a:pt x="57400" y="22342"/>
                </a:lnTo>
                <a:lnTo>
                  <a:pt x="81152" y="0"/>
                </a:lnTo>
              </a:path>
            </a:pathLst>
          </a:custGeom>
          <a:ln w="24383">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8520430" y="2633852"/>
            <a:ext cx="39370" cy="83185"/>
          </a:xfrm>
          <a:custGeom>
            <a:avLst/>
            <a:gdLst/>
            <a:ahLst/>
            <a:cxnLst/>
            <a:rect l="l" t="t" r="r" b="b"/>
            <a:pathLst>
              <a:path w="39370" h="83185">
                <a:moveTo>
                  <a:pt x="0" y="82931"/>
                </a:moveTo>
                <a:lnTo>
                  <a:pt x="7185" y="61561"/>
                </a:lnTo>
                <a:lnTo>
                  <a:pt x="16144" y="40560"/>
                </a:lnTo>
                <a:lnTo>
                  <a:pt x="26842" y="20012"/>
                </a:lnTo>
                <a:lnTo>
                  <a:pt x="39243"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7630159" y="2744851"/>
            <a:ext cx="142240" cy="80645"/>
          </a:xfrm>
          <a:custGeom>
            <a:avLst/>
            <a:gdLst/>
            <a:ahLst/>
            <a:cxnLst/>
            <a:rect l="l" t="t" r="r" b="b"/>
            <a:pathLst>
              <a:path w="142240" h="80644">
                <a:moveTo>
                  <a:pt x="0" y="0"/>
                </a:moveTo>
                <a:lnTo>
                  <a:pt x="37939" y="17704"/>
                </a:lnTo>
                <a:lnTo>
                  <a:pt x="74342" y="37052"/>
                </a:lnTo>
                <a:lnTo>
                  <a:pt x="109102" y="57971"/>
                </a:lnTo>
                <a:lnTo>
                  <a:pt x="142113" y="8039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6525514" y="3292094"/>
            <a:ext cx="25400" cy="85090"/>
          </a:xfrm>
          <a:custGeom>
            <a:avLst/>
            <a:gdLst/>
            <a:ahLst/>
            <a:cxnLst/>
            <a:rect l="l" t="t" r="r" b="b"/>
            <a:pathLst>
              <a:path w="25400" h="85089">
                <a:moveTo>
                  <a:pt x="24891" y="84581"/>
                </a:moveTo>
                <a:lnTo>
                  <a:pt x="16984" y="63722"/>
                </a:lnTo>
                <a:lnTo>
                  <a:pt x="10207" y="42672"/>
                </a:lnTo>
                <a:lnTo>
                  <a:pt x="4550" y="21431"/>
                </a:lnTo>
                <a:lnTo>
                  <a:pt x="0"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8083295" y="2093976"/>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36A3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8083295" y="2093976"/>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txBox="1"/>
          <p:nvPr/>
        </p:nvSpPr>
        <p:spPr>
          <a:xfrm>
            <a:off x="8293607" y="2289048"/>
            <a:ext cx="463550" cy="271780"/>
          </a:xfrm>
          <a:prstGeom prst="rect">
            <a:avLst/>
          </a:prstGeom>
          <a:solidFill>
            <a:srgbClr val="E0E0E0"/>
          </a:solidFill>
          <a:ln w="24384">
            <a:solidFill>
              <a:srgbClr val="003B55"/>
            </a:solidFill>
          </a:ln>
        </p:spPr>
        <p:txBody>
          <a:bodyPr vert="horz" wrap="square" lIns="0" tIns="61594" rIns="0" bIns="0" rtlCol="0">
            <a:spAutoFit/>
          </a:bodyPr>
          <a:lstStyle/>
          <a:p>
            <a:pPr marL="69215" marR="0" lvl="0" indent="0" algn="l" defTabSz="914400" rtl="0" eaLnBrk="1" fontAlgn="auto" latinLnBrk="0" hangingPunct="1">
              <a:lnSpc>
                <a:spcPct val="100000"/>
              </a:lnSpc>
              <a:spcBef>
                <a:spcPts val="484"/>
              </a:spcBef>
              <a:spcAft>
                <a:spcPts val="0"/>
              </a:spcAft>
              <a:buClrTx/>
              <a:buSzTx/>
              <a:buFontTx/>
              <a:buNone/>
              <a:tabLst/>
              <a:defRPr/>
            </a:pPr>
            <a:r>
              <a:rPr kumimoji="0" sz="850" b="0" i="0" u="none" strike="noStrike" kern="1200" cap="none" spc="0" normalizeH="0" baseline="0" noProof="0" dirty="0">
                <a:ln>
                  <a:noFill/>
                </a:ln>
                <a:solidFill>
                  <a:srgbClr val="282828"/>
                </a:solidFill>
                <a:effectLst/>
                <a:uLnTx/>
                <a:uFillTx/>
                <a:latin typeface="Lucida Sans Unicode"/>
                <a:ea typeface="+mn-ea"/>
                <a:cs typeface="Lucida Sans Unicode"/>
              </a:rPr>
              <a:t>VM-1</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18" name="object 18"/>
          <p:cNvSpPr/>
          <p:nvPr/>
        </p:nvSpPr>
        <p:spPr>
          <a:xfrm>
            <a:off x="9116568" y="2218944"/>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36A3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9116568" y="2218944"/>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txBox="1"/>
          <p:nvPr/>
        </p:nvSpPr>
        <p:spPr>
          <a:xfrm>
            <a:off x="9326880" y="2414016"/>
            <a:ext cx="463550" cy="268605"/>
          </a:xfrm>
          <a:prstGeom prst="rect">
            <a:avLst/>
          </a:prstGeom>
          <a:solidFill>
            <a:srgbClr val="E0E0E0"/>
          </a:solidFill>
          <a:ln w="24384">
            <a:solidFill>
              <a:srgbClr val="003B55"/>
            </a:solidFill>
          </a:ln>
        </p:spPr>
        <p:txBody>
          <a:bodyPr vert="horz" wrap="square" lIns="0" tIns="60960" rIns="0" bIns="0" rtlCol="0">
            <a:spAutoFit/>
          </a:bodyPr>
          <a:lstStyle/>
          <a:p>
            <a:pPr marL="69850" marR="0" lvl="0" indent="0" algn="l" defTabSz="914400" rtl="0" eaLnBrk="1" fontAlgn="auto" latinLnBrk="0" hangingPunct="1">
              <a:lnSpc>
                <a:spcPct val="100000"/>
              </a:lnSpc>
              <a:spcBef>
                <a:spcPts val="480"/>
              </a:spcBef>
              <a:spcAft>
                <a:spcPts val="0"/>
              </a:spcAft>
              <a:buClrTx/>
              <a:buSzTx/>
              <a:buFontTx/>
              <a:buNone/>
              <a:tabLst/>
              <a:defRPr/>
            </a:pPr>
            <a:r>
              <a:rPr kumimoji="0" sz="850" b="0" i="0" u="none" strike="noStrike" kern="1200" cap="none" spc="0" normalizeH="0" baseline="0" noProof="0" dirty="0">
                <a:ln>
                  <a:noFill/>
                </a:ln>
                <a:solidFill>
                  <a:srgbClr val="282828"/>
                </a:solidFill>
                <a:effectLst/>
                <a:uLnTx/>
                <a:uFillTx/>
                <a:latin typeface="Lucida Sans Unicode"/>
                <a:ea typeface="+mn-ea"/>
                <a:cs typeface="Lucida Sans Unicode"/>
              </a:rPr>
              <a:t>VM-2</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21" name="object 21"/>
          <p:cNvSpPr/>
          <p:nvPr/>
        </p:nvSpPr>
        <p:spPr>
          <a:xfrm>
            <a:off x="9942576" y="4026408"/>
            <a:ext cx="887094" cy="683260"/>
          </a:xfrm>
          <a:custGeom>
            <a:avLst/>
            <a:gdLst/>
            <a:ahLst/>
            <a:cxnLst/>
            <a:rect l="l" t="t" r="r" b="b"/>
            <a:pathLst>
              <a:path w="887095" h="683260">
                <a:moveTo>
                  <a:pt x="0" y="682751"/>
                </a:moveTo>
                <a:lnTo>
                  <a:pt x="886968" y="682751"/>
                </a:lnTo>
                <a:lnTo>
                  <a:pt x="886968" y="0"/>
                </a:lnTo>
                <a:lnTo>
                  <a:pt x="0" y="0"/>
                </a:lnTo>
                <a:lnTo>
                  <a:pt x="0" y="682751"/>
                </a:lnTo>
                <a:close/>
              </a:path>
            </a:pathLst>
          </a:custGeom>
          <a:solidFill>
            <a:srgbClr val="36A3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9942576" y="4026408"/>
            <a:ext cx="887094" cy="683260"/>
          </a:xfrm>
          <a:custGeom>
            <a:avLst/>
            <a:gdLst/>
            <a:ahLst/>
            <a:cxnLst/>
            <a:rect l="l" t="t" r="r" b="b"/>
            <a:pathLst>
              <a:path w="887095" h="683260">
                <a:moveTo>
                  <a:pt x="0" y="682751"/>
                </a:moveTo>
                <a:lnTo>
                  <a:pt x="886968" y="682751"/>
                </a:lnTo>
                <a:lnTo>
                  <a:pt x="886968" y="0"/>
                </a:lnTo>
                <a:lnTo>
                  <a:pt x="0" y="0"/>
                </a:lnTo>
                <a:lnTo>
                  <a:pt x="0" y="682751"/>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txBox="1"/>
          <p:nvPr/>
        </p:nvSpPr>
        <p:spPr>
          <a:xfrm>
            <a:off x="10152888" y="4221479"/>
            <a:ext cx="463550" cy="268605"/>
          </a:xfrm>
          <a:prstGeom prst="rect">
            <a:avLst/>
          </a:prstGeom>
          <a:solidFill>
            <a:srgbClr val="E0E0E0"/>
          </a:solidFill>
          <a:ln w="24384">
            <a:solidFill>
              <a:srgbClr val="003B55"/>
            </a:solidFill>
          </a:ln>
        </p:spPr>
        <p:txBody>
          <a:bodyPr vert="horz" wrap="square" lIns="0" tIns="60960" rIns="0" bIns="0" rtlCol="0">
            <a:spAutoFit/>
          </a:bodyPr>
          <a:lstStyle/>
          <a:p>
            <a:pPr marL="37465" marR="0" lvl="0" indent="0" algn="l" defTabSz="914400" rtl="0" eaLnBrk="1" fontAlgn="auto" latinLnBrk="0" hangingPunct="1">
              <a:lnSpc>
                <a:spcPct val="100000"/>
              </a:lnSpc>
              <a:spcBef>
                <a:spcPts val="480"/>
              </a:spcBef>
              <a:spcAft>
                <a:spcPts val="0"/>
              </a:spcAft>
              <a:buClrTx/>
              <a:buSzTx/>
              <a:buFontTx/>
              <a:buNone/>
              <a:tabLst/>
              <a:defRPr/>
            </a:pPr>
            <a:r>
              <a:rPr kumimoji="0" sz="850" b="0" i="0" u="none" strike="noStrike" kern="1200" cap="none" spc="5" normalizeH="0" baseline="0" noProof="0" dirty="0">
                <a:ln>
                  <a:noFill/>
                </a:ln>
                <a:solidFill>
                  <a:srgbClr val="282828"/>
                </a:solidFill>
                <a:effectLst/>
                <a:uLnTx/>
                <a:uFillTx/>
                <a:latin typeface="Lucida Sans Unicode"/>
                <a:ea typeface="+mn-ea"/>
                <a:cs typeface="Lucida Sans Unicode"/>
              </a:rPr>
              <a:t>VM-98</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24" name="object 24"/>
          <p:cNvSpPr/>
          <p:nvPr/>
        </p:nvSpPr>
        <p:spPr>
          <a:xfrm>
            <a:off x="8875776" y="4367784"/>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36A3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8875776" y="4367784"/>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txBox="1"/>
          <p:nvPr/>
        </p:nvSpPr>
        <p:spPr>
          <a:xfrm>
            <a:off x="9086088" y="4562855"/>
            <a:ext cx="463550" cy="271780"/>
          </a:xfrm>
          <a:prstGeom prst="rect">
            <a:avLst/>
          </a:prstGeom>
          <a:solidFill>
            <a:srgbClr val="E0E0E0"/>
          </a:solidFill>
          <a:ln w="24384">
            <a:solidFill>
              <a:srgbClr val="003B55"/>
            </a:solidFill>
          </a:ln>
        </p:spPr>
        <p:txBody>
          <a:bodyPr vert="horz" wrap="square" lIns="0" tIns="62230" rIns="0" bIns="0" rtlCol="0">
            <a:spAutoFit/>
          </a:bodyPr>
          <a:lstStyle/>
          <a:p>
            <a:pPr marL="36195" marR="0" lvl="0" indent="0" algn="l" defTabSz="914400" rtl="0" eaLnBrk="1" fontAlgn="auto" latinLnBrk="0" hangingPunct="1">
              <a:lnSpc>
                <a:spcPct val="100000"/>
              </a:lnSpc>
              <a:spcBef>
                <a:spcPts val="490"/>
              </a:spcBef>
              <a:spcAft>
                <a:spcPts val="0"/>
              </a:spcAft>
              <a:buClrTx/>
              <a:buSzTx/>
              <a:buFontTx/>
              <a:buNone/>
              <a:tabLst/>
              <a:defRPr/>
            </a:pPr>
            <a:r>
              <a:rPr kumimoji="0" sz="850" b="0" i="0" u="none" strike="noStrike" kern="1200" cap="none" spc="5" normalizeH="0" baseline="0" noProof="0" dirty="0">
                <a:ln>
                  <a:noFill/>
                </a:ln>
                <a:solidFill>
                  <a:srgbClr val="282828"/>
                </a:solidFill>
                <a:effectLst/>
                <a:uLnTx/>
                <a:uFillTx/>
                <a:latin typeface="Lucida Sans Unicode"/>
                <a:ea typeface="+mn-ea"/>
                <a:cs typeface="Lucida Sans Unicode"/>
              </a:rPr>
              <a:t>VM-99</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27" name="object 27"/>
          <p:cNvSpPr/>
          <p:nvPr/>
        </p:nvSpPr>
        <p:spPr>
          <a:xfrm>
            <a:off x="7805928" y="4538471"/>
            <a:ext cx="887094" cy="685800"/>
          </a:xfrm>
          <a:custGeom>
            <a:avLst/>
            <a:gdLst/>
            <a:ahLst/>
            <a:cxnLst/>
            <a:rect l="l" t="t" r="r" b="b"/>
            <a:pathLst>
              <a:path w="887095" h="685800">
                <a:moveTo>
                  <a:pt x="0" y="685800"/>
                </a:moveTo>
                <a:lnTo>
                  <a:pt x="886968" y="685800"/>
                </a:lnTo>
                <a:lnTo>
                  <a:pt x="886968" y="0"/>
                </a:lnTo>
                <a:lnTo>
                  <a:pt x="0" y="0"/>
                </a:lnTo>
                <a:lnTo>
                  <a:pt x="0" y="685800"/>
                </a:lnTo>
                <a:close/>
              </a:path>
            </a:pathLst>
          </a:custGeom>
          <a:solidFill>
            <a:srgbClr val="36A3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8"/>
          <p:cNvSpPr/>
          <p:nvPr/>
        </p:nvSpPr>
        <p:spPr>
          <a:xfrm>
            <a:off x="7805928" y="4538471"/>
            <a:ext cx="887094" cy="685800"/>
          </a:xfrm>
          <a:custGeom>
            <a:avLst/>
            <a:gdLst/>
            <a:ahLst/>
            <a:cxnLst/>
            <a:rect l="l" t="t" r="r" b="b"/>
            <a:pathLst>
              <a:path w="887095" h="685800">
                <a:moveTo>
                  <a:pt x="0" y="685800"/>
                </a:moveTo>
                <a:lnTo>
                  <a:pt x="886968" y="685800"/>
                </a:lnTo>
                <a:lnTo>
                  <a:pt x="886968"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txBox="1"/>
          <p:nvPr/>
        </p:nvSpPr>
        <p:spPr>
          <a:xfrm>
            <a:off x="8019288" y="4736591"/>
            <a:ext cx="463550" cy="268605"/>
          </a:xfrm>
          <a:prstGeom prst="rect">
            <a:avLst/>
          </a:prstGeom>
          <a:solidFill>
            <a:srgbClr val="E0E0E0"/>
          </a:solidFill>
          <a:ln w="24384">
            <a:solidFill>
              <a:srgbClr val="003B55"/>
            </a:solidFill>
          </a:ln>
        </p:spPr>
        <p:txBody>
          <a:bodyPr vert="horz" wrap="square" lIns="0" tIns="60325" rIns="0" bIns="0" rtlCol="0">
            <a:spAutoFit/>
          </a:bodyPr>
          <a:lstStyle/>
          <a:p>
            <a:pPr marL="0" marR="0" lvl="0" indent="0" algn="l" defTabSz="914400" rtl="0" eaLnBrk="1" fontAlgn="auto" latinLnBrk="0" hangingPunct="1">
              <a:lnSpc>
                <a:spcPct val="100000"/>
              </a:lnSpc>
              <a:spcBef>
                <a:spcPts val="475"/>
              </a:spcBef>
              <a:spcAft>
                <a:spcPts val="0"/>
              </a:spcAft>
              <a:buClrTx/>
              <a:buSzTx/>
              <a:buFontTx/>
              <a:buNone/>
              <a:tabLst/>
              <a:defRPr/>
            </a:pPr>
            <a:r>
              <a:rPr kumimoji="0" sz="850" b="0" i="0" u="none" strike="noStrike" kern="1200" cap="none" spc="0" normalizeH="0" baseline="0" noProof="0" dirty="0">
                <a:ln>
                  <a:noFill/>
                </a:ln>
                <a:solidFill>
                  <a:srgbClr val="282828"/>
                </a:solidFill>
                <a:effectLst/>
                <a:uLnTx/>
                <a:uFillTx/>
                <a:latin typeface="Lucida Sans Unicode"/>
                <a:ea typeface="+mn-ea"/>
                <a:cs typeface="Lucida Sans Unicode"/>
              </a:rPr>
              <a:t>VM-100</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30" name="object 30"/>
          <p:cNvSpPr txBox="1"/>
          <p:nvPr/>
        </p:nvSpPr>
        <p:spPr>
          <a:xfrm>
            <a:off x="9950577" y="3091688"/>
            <a:ext cx="233045" cy="3911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2400" b="0" i="0" u="none" strike="noStrike" kern="1200" cap="none" spc="-330" normalizeH="0" baseline="0" noProof="0" dirty="0">
                <a:ln>
                  <a:noFill/>
                </a:ln>
                <a:solidFill>
                  <a:srgbClr val="282828"/>
                </a:solidFill>
                <a:effectLst/>
                <a:uLnTx/>
                <a:uFillTx/>
                <a:latin typeface="Tahoma"/>
                <a:ea typeface="+mn-ea"/>
                <a:cs typeface="Tahoma"/>
              </a:rPr>
              <a:t>…</a:t>
            </a:r>
            <a:endParaRPr kumimoji="0" sz="2400" b="0" i="0" u="none" strike="noStrike" kern="1200" cap="none" spc="0" normalizeH="0" baseline="0" noProof="0">
              <a:ln>
                <a:noFill/>
              </a:ln>
              <a:solidFill>
                <a:prstClr val="black"/>
              </a:solidFill>
              <a:effectLst/>
              <a:uLnTx/>
              <a:uFillTx/>
              <a:latin typeface="Tahoma"/>
              <a:ea typeface="+mn-ea"/>
              <a:cs typeface="Tahoma"/>
            </a:endParaRPr>
          </a:p>
        </p:txBody>
      </p:sp>
      <p:sp>
        <p:nvSpPr>
          <p:cNvPr id="31" name="object 31"/>
          <p:cNvSpPr txBox="1"/>
          <p:nvPr/>
        </p:nvSpPr>
        <p:spPr>
          <a:xfrm>
            <a:off x="3858514" y="1692401"/>
            <a:ext cx="5005705" cy="230504"/>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350" b="0" i="0" u="none" strike="noStrike" kern="1200" cap="none" spc="-15" normalizeH="0" baseline="0" noProof="0" dirty="0">
                <a:ln>
                  <a:noFill/>
                </a:ln>
                <a:solidFill>
                  <a:srgbClr val="282828"/>
                </a:solidFill>
                <a:effectLst/>
                <a:uLnTx/>
                <a:uFillTx/>
                <a:latin typeface="Courier New"/>
                <a:ea typeface="+mn-ea"/>
                <a:cs typeface="Courier New"/>
              </a:rPr>
              <a:t>ansible -m shell -a “netstat -rn”</a:t>
            </a:r>
            <a:r>
              <a:rPr kumimoji="0" sz="1350" b="0" i="0" u="none" strike="noStrike" kern="1200" cap="none" spc="75" normalizeH="0" baseline="0" noProof="0" dirty="0">
                <a:ln>
                  <a:noFill/>
                </a:ln>
                <a:solidFill>
                  <a:srgbClr val="282828"/>
                </a:solidFill>
                <a:effectLst/>
                <a:uLnTx/>
                <a:uFillTx/>
                <a:latin typeface="Courier New"/>
                <a:ea typeface="+mn-ea"/>
                <a:cs typeface="Courier New"/>
              </a:rPr>
              <a:t> </a:t>
            </a:r>
            <a:r>
              <a:rPr kumimoji="0" sz="1350" b="0" i="0" u="none" strike="noStrike" kern="1200" cap="none" spc="-15" normalizeH="0" baseline="0" noProof="0" dirty="0">
                <a:ln>
                  <a:noFill/>
                </a:ln>
                <a:solidFill>
                  <a:srgbClr val="282828"/>
                </a:solidFill>
                <a:effectLst/>
                <a:uLnTx/>
                <a:uFillTx/>
                <a:latin typeface="Courier New"/>
                <a:ea typeface="+mn-ea"/>
                <a:cs typeface="Courier New"/>
              </a:rPr>
              <a:t>datacenter-east</a:t>
            </a:r>
            <a:endParaRPr kumimoji="0" sz="135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32" name="object 32"/>
          <p:cNvSpPr txBox="1"/>
          <p:nvPr/>
        </p:nvSpPr>
        <p:spPr>
          <a:xfrm>
            <a:off x="3864102" y="2083435"/>
            <a:ext cx="2546350" cy="677545"/>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2100" b="0" i="0" u="none" strike="noStrike" kern="1200" cap="none" spc="55" normalizeH="0" baseline="0" noProof="0" dirty="0">
                <a:ln>
                  <a:noFill/>
                </a:ln>
                <a:solidFill>
                  <a:srgbClr val="003B55"/>
                </a:solidFill>
                <a:effectLst/>
                <a:uLnTx/>
                <a:uFillTx/>
                <a:latin typeface="Arial"/>
                <a:ea typeface="+mn-ea"/>
                <a:cs typeface="Arial"/>
              </a:rPr>
              <a:t>1. </a:t>
            </a:r>
            <a:r>
              <a:rPr kumimoji="0" sz="2100" b="0" i="0" u="none" strike="noStrike" kern="1200" cap="none" spc="15" normalizeH="0" baseline="0" noProof="0" dirty="0">
                <a:ln>
                  <a:noFill/>
                </a:ln>
                <a:solidFill>
                  <a:srgbClr val="003B55"/>
                </a:solidFill>
                <a:effectLst/>
                <a:uLnTx/>
                <a:uFillTx/>
                <a:latin typeface="Arial"/>
                <a:ea typeface="+mn-ea"/>
                <a:cs typeface="Arial"/>
              </a:rPr>
              <a:t>Audit </a:t>
            </a:r>
            <a:r>
              <a:rPr kumimoji="0" sz="2100" b="0" i="0" u="none" strike="noStrike" kern="1200" cap="none" spc="25" normalizeH="0" baseline="0" noProof="0" dirty="0">
                <a:ln>
                  <a:noFill/>
                </a:ln>
                <a:solidFill>
                  <a:srgbClr val="003B55"/>
                </a:solidFill>
                <a:effectLst/>
                <a:uLnTx/>
                <a:uFillTx/>
                <a:latin typeface="Arial"/>
                <a:ea typeface="+mn-ea"/>
                <a:cs typeface="Arial"/>
              </a:rPr>
              <a:t>routes on</a:t>
            </a:r>
            <a:r>
              <a:rPr kumimoji="0" sz="2100" b="0" i="0" u="none" strike="noStrike" kern="1200" cap="none" spc="60" normalizeH="0" baseline="0" noProof="0" dirty="0">
                <a:ln>
                  <a:noFill/>
                </a:ln>
                <a:solidFill>
                  <a:srgbClr val="003B55"/>
                </a:solidFill>
                <a:effectLst/>
                <a:uLnTx/>
                <a:uFillTx/>
                <a:latin typeface="Arial"/>
                <a:ea typeface="+mn-ea"/>
                <a:cs typeface="Arial"/>
              </a:rPr>
              <a:t> </a:t>
            </a:r>
            <a:r>
              <a:rPr kumimoji="0" sz="2100" b="0" i="0" u="none" strike="noStrike" kern="1200" cap="none" spc="-30" normalizeH="0" baseline="0" noProof="0" dirty="0">
                <a:ln>
                  <a:noFill/>
                </a:ln>
                <a:solidFill>
                  <a:srgbClr val="003B55"/>
                </a:solidFill>
                <a:effectLst/>
                <a:uLnTx/>
                <a:uFillTx/>
                <a:latin typeface="Arial"/>
                <a:ea typeface="+mn-ea"/>
                <a:cs typeface="Arial"/>
              </a:rPr>
              <a:t>all</a:t>
            </a:r>
            <a:endParaRPr kumimoji="0" sz="2100" b="0" i="0" u="none" strike="noStrike" kern="1200" cap="none" spc="0" normalizeH="0" baseline="0" noProof="0">
              <a:ln>
                <a:noFill/>
              </a:ln>
              <a:solidFill>
                <a:prstClr val="black"/>
              </a:solidFill>
              <a:effectLst/>
              <a:uLnTx/>
              <a:uFillTx/>
              <a:latin typeface="Arial"/>
              <a:ea typeface="+mn-ea"/>
              <a:cs typeface="Arial"/>
            </a:endParaRPr>
          </a:p>
          <a:p>
            <a:pPr marL="573405" marR="0" lvl="0" indent="0" algn="l" defTabSz="914400" rtl="0" eaLnBrk="1" fontAlgn="auto" latinLnBrk="0" hangingPunct="1">
              <a:lnSpc>
                <a:spcPct val="100000"/>
              </a:lnSpc>
              <a:spcBef>
                <a:spcPts val="45"/>
              </a:spcBef>
              <a:spcAft>
                <a:spcPts val="0"/>
              </a:spcAft>
              <a:buClrTx/>
              <a:buSzTx/>
              <a:buFontTx/>
              <a:buNone/>
              <a:tabLst/>
              <a:defRPr/>
            </a:pPr>
            <a:r>
              <a:rPr kumimoji="0" sz="2100" b="0" i="0" u="none" strike="noStrike" kern="1200" cap="none" spc="0" normalizeH="0" baseline="0" noProof="0" dirty="0">
                <a:ln>
                  <a:noFill/>
                </a:ln>
                <a:solidFill>
                  <a:srgbClr val="003B55"/>
                </a:solidFill>
                <a:effectLst/>
                <a:uLnTx/>
                <a:uFillTx/>
                <a:latin typeface="Arial"/>
                <a:ea typeface="+mn-ea"/>
                <a:cs typeface="Arial"/>
              </a:rPr>
              <a:t>virtual</a:t>
            </a:r>
            <a:r>
              <a:rPr kumimoji="0" sz="2100" b="0" i="0" u="none" strike="noStrike" kern="1200" cap="none" spc="-25" normalizeH="0" baseline="0" noProof="0" dirty="0">
                <a:ln>
                  <a:noFill/>
                </a:ln>
                <a:solidFill>
                  <a:srgbClr val="003B55"/>
                </a:solidFill>
                <a:effectLst/>
                <a:uLnTx/>
                <a:uFillTx/>
                <a:latin typeface="Arial"/>
                <a:ea typeface="+mn-ea"/>
                <a:cs typeface="Arial"/>
              </a:rPr>
              <a:t> </a:t>
            </a:r>
            <a:r>
              <a:rPr kumimoji="0" sz="2100" b="0" i="0" u="none" strike="noStrike" kern="1200" cap="none" spc="15" normalizeH="0" baseline="0" noProof="0" dirty="0">
                <a:ln>
                  <a:noFill/>
                </a:ln>
                <a:solidFill>
                  <a:srgbClr val="003B55"/>
                </a:solidFill>
                <a:effectLst/>
                <a:uLnTx/>
                <a:uFillTx/>
                <a:latin typeface="Arial"/>
                <a:ea typeface="+mn-ea"/>
                <a:cs typeface="Arial"/>
              </a:rPr>
              <a:t>machines</a:t>
            </a:r>
            <a:endParaRPr kumimoji="0" sz="2100" b="0" i="0" u="none" strike="noStrike" kern="1200" cap="none" spc="0" normalizeH="0" baseline="0" noProof="0">
              <a:ln>
                <a:noFill/>
              </a:ln>
              <a:solidFill>
                <a:prstClr val="black"/>
              </a:solidFill>
              <a:effectLst/>
              <a:uLnTx/>
              <a:uFillTx/>
              <a:latin typeface="Arial"/>
              <a:ea typeface="+mn-ea"/>
              <a:cs typeface="Arial"/>
            </a:endParaRPr>
          </a:p>
        </p:txBody>
      </p:sp>
      <p:sp>
        <p:nvSpPr>
          <p:cNvPr id="33" name="object 33"/>
          <p:cNvSpPr txBox="1"/>
          <p:nvPr/>
        </p:nvSpPr>
        <p:spPr>
          <a:xfrm>
            <a:off x="2767964" y="5367273"/>
            <a:ext cx="5615305" cy="230504"/>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350" b="0" i="0" u="none" strike="noStrike" kern="1200" cap="none" spc="-15" normalizeH="0" baseline="0" noProof="0" dirty="0">
                <a:ln>
                  <a:noFill/>
                </a:ln>
                <a:solidFill>
                  <a:srgbClr val="282828"/>
                </a:solidFill>
                <a:effectLst/>
                <a:uLnTx/>
                <a:uFillTx/>
                <a:latin typeface="Courier New"/>
                <a:ea typeface="+mn-ea"/>
                <a:cs typeface="Courier New"/>
              </a:rPr>
              <a:t>ansible -m shell -a “route </a:t>
            </a:r>
            <a:r>
              <a:rPr kumimoji="0" sz="1350" b="0" i="0" u="none" strike="noStrike" kern="1200" cap="none" spc="-10" normalizeH="0" baseline="0" noProof="0" dirty="0">
                <a:ln>
                  <a:noFill/>
                </a:ln>
                <a:solidFill>
                  <a:srgbClr val="282828"/>
                </a:solidFill>
                <a:effectLst/>
                <a:uLnTx/>
                <a:uFillTx/>
                <a:latin typeface="Courier New"/>
                <a:ea typeface="+mn-ea"/>
                <a:cs typeface="Courier New"/>
              </a:rPr>
              <a:t>add </a:t>
            </a:r>
            <a:r>
              <a:rPr kumimoji="0" sz="1350" b="0" i="0" u="none" strike="noStrike" kern="1200" cap="none" spc="-15" normalizeH="0" baseline="0" noProof="0" dirty="0">
                <a:ln>
                  <a:noFill/>
                </a:ln>
                <a:solidFill>
                  <a:srgbClr val="282828"/>
                </a:solidFill>
                <a:effectLst/>
                <a:uLnTx/>
                <a:uFillTx/>
                <a:latin typeface="Courier New"/>
                <a:ea typeface="+mn-ea"/>
                <a:cs typeface="Courier New"/>
              </a:rPr>
              <a:t>X.X.X.X”</a:t>
            </a:r>
            <a:r>
              <a:rPr kumimoji="0" sz="1350" b="0" i="0" u="none" strike="noStrike" kern="1200" cap="none" spc="75" normalizeH="0" baseline="0" noProof="0" dirty="0">
                <a:ln>
                  <a:noFill/>
                </a:ln>
                <a:solidFill>
                  <a:srgbClr val="282828"/>
                </a:solidFill>
                <a:effectLst/>
                <a:uLnTx/>
                <a:uFillTx/>
                <a:latin typeface="Courier New"/>
                <a:ea typeface="+mn-ea"/>
                <a:cs typeface="Courier New"/>
              </a:rPr>
              <a:t> </a:t>
            </a:r>
            <a:r>
              <a:rPr kumimoji="0" sz="1350" b="0" i="0" u="none" strike="noStrike" kern="1200" cap="none" spc="-15" normalizeH="0" baseline="0" noProof="0" dirty="0">
                <a:ln>
                  <a:noFill/>
                </a:ln>
                <a:solidFill>
                  <a:srgbClr val="282828"/>
                </a:solidFill>
                <a:effectLst/>
                <a:uLnTx/>
                <a:uFillTx/>
                <a:latin typeface="Courier New"/>
                <a:ea typeface="+mn-ea"/>
                <a:cs typeface="Courier New"/>
              </a:rPr>
              <a:t>datacenter-east</a:t>
            </a:r>
            <a:endParaRPr kumimoji="0" sz="135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34" name="object 34"/>
          <p:cNvSpPr/>
          <p:nvPr/>
        </p:nvSpPr>
        <p:spPr>
          <a:xfrm>
            <a:off x="6378194" y="2713482"/>
            <a:ext cx="1878964" cy="361950"/>
          </a:xfrm>
          <a:custGeom>
            <a:avLst/>
            <a:gdLst/>
            <a:ahLst/>
            <a:cxnLst/>
            <a:rect l="l" t="t" r="r" b="b"/>
            <a:pathLst>
              <a:path w="1878965" h="361950">
                <a:moveTo>
                  <a:pt x="8635" y="0"/>
                </a:moveTo>
                <a:lnTo>
                  <a:pt x="0" y="22859"/>
                </a:lnTo>
                <a:lnTo>
                  <a:pt x="68452" y="48640"/>
                </a:lnTo>
                <a:lnTo>
                  <a:pt x="77088" y="25780"/>
                </a:lnTo>
                <a:lnTo>
                  <a:pt x="8635" y="0"/>
                </a:lnTo>
                <a:close/>
              </a:path>
              <a:path w="1878965" h="361950">
                <a:moveTo>
                  <a:pt x="99821" y="34416"/>
                </a:moveTo>
                <a:lnTo>
                  <a:pt x="91312" y="57276"/>
                </a:lnTo>
                <a:lnTo>
                  <a:pt x="151764" y="80137"/>
                </a:lnTo>
                <a:lnTo>
                  <a:pt x="159765" y="83057"/>
                </a:lnTo>
                <a:lnTo>
                  <a:pt x="168275" y="60197"/>
                </a:lnTo>
                <a:lnTo>
                  <a:pt x="99821" y="34416"/>
                </a:lnTo>
                <a:close/>
              </a:path>
              <a:path w="1878965" h="361950">
                <a:moveTo>
                  <a:pt x="191134" y="68706"/>
                </a:moveTo>
                <a:lnTo>
                  <a:pt x="182625" y="91566"/>
                </a:lnTo>
                <a:lnTo>
                  <a:pt x="251205" y="117093"/>
                </a:lnTo>
                <a:lnTo>
                  <a:pt x="259714" y="94233"/>
                </a:lnTo>
                <a:lnTo>
                  <a:pt x="191134" y="68706"/>
                </a:lnTo>
                <a:close/>
              </a:path>
              <a:path w="1878965" h="361950">
                <a:moveTo>
                  <a:pt x="282575" y="102615"/>
                </a:moveTo>
                <a:lnTo>
                  <a:pt x="274192" y="125475"/>
                </a:lnTo>
                <a:lnTo>
                  <a:pt x="342900" y="150494"/>
                </a:lnTo>
                <a:lnTo>
                  <a:pt x="351281" y="127634"/>
                </a:lnTo>
                <a:lnTo>
                  <a:pt x="282575" y="102615"/>
                </a:lnTo>
                <a:close/>
              </a:path>
              <a:path w="1878965" h="361950">
                <a:moveTo>
                  <a:pt x="374141" y="135889"/>
                </a:moveTo>
                <a:lnTo>
                  <a:pt x="365886" y="158876"/>
                </a:lnTo>
                <a:lnTo>
                  <a:pt x="377189" y="162940"/>
                </a:lnTo>
                <a:lnTo>
                  <a:pt x="434975" y="183133"/>
                </a:lnTo>
                <a:lnTo>
                  <a:pt x="442975" y="160146"/>
                </a:lnTo>
                <a:lnTo>
                  <a:pt x="374141" y="135889"/>
                </a:lnTo>
                <a:close/>
              </a:path>
              <a:path w="1878965" h="361950">
                <a:moveTo>
                  <a:pt x="465962" y="168147"/>
                </a:moveTo>
                <a:lnTo>
                  <a:pt x="458088" y="191262"/>
                </a:lnTo>
                <a:lnTo>
                  <a:pt x="527557" y="214756"/>
                </a:lnTo>
                <a:lnTo>
                  <a:pt x="535051" y="191642"/>
                </a:lnTo>
                <a:lnTo>
                  <a:pt x="532256" y="190626"/>
                </a:lnTo>
                <a:lnTo>
                  <a:pt x="465962" y="168147"/>
                </a:lnTo>
                <a:close/>
              </a:path>
              <a:path w="1878965" h="361950">
                <a:moveTo>
                  <a:pt x="558291" y="199135"/>
                </a:moveTo>
                <a:lnTo>
                  <a:pt x="550672" y="222376"/>
                </a:lnTo>
                <a:lnTo>
                  <a:pt x="596646" y="237362"/>
                </a:lnTo>
                <a:lnTo>
                  <a:pt x="620522" y="244728"/>
                </a:lnTo>
                <a:lnTo>
                  <a:pt x="627760" y="221487"/>
                </a:lnTo>
                <a:lnTo>
                  <a:pt x="604265" y="214121"/>
                </a:lnTo>
                <a:lnTo>
                  <a:pt x="558291" y="199135"/>
                </a:lnTo>
                <a:close/>
              </a:path>
              <a:path w="1878965" h="361950">
                <a:moveTo>
                  <a:pt x="651001" y="228726"/>
                </a:moveTo>
                <a:lnTo>
                  <a:pt x="643762" y="251967"/>
                </a:lnTo>
                <a:lnTo>
                  <a:pt x="667892" y="259460"/>
                </a:lnTo>
                <a:lnTo>
                  <a:pt x="714121" y="272922"/>
                </a:lnTo>
                <a:lnTo>
                  <a:pt x="720978" y="249554"/>
                </a:lnTo>
                <a:lnTo>
                  <a:pt x="675131" y="236219"/>
                </a:lnTo>
                <a:lnTo>
                  <a:pt x="651001" y="228726"/>
                </a:lnTo>
                <a:close/>
              </a:path>
              <a:path w="1878965" h="361950">
                <a:moveTo>
                  <a:pt x="744347" y="256412"/>
                </a:moveTo>
                <a:lnTo>
                  <a:pt x="737488" y="279780"/>
                </a:lnTo>
                <a:lnTo>
                  <a:pt x="808608" y="299084"/>
                </a:lnTo>
                <a:lnTo>
                  <a:pt x="814451" y="275335"/>
                </a:lnTo>
                <a:lnTo>
                  <a:pt x="813053" y="275081"/>
                </a:lnTo>
                <a:lnTo>
                  <a:pt x="744727" y="256539"/>
                </a:lnTo>
                <a:lnTo>
                  <a:pt x="744347" y="256412"/>
                </a:lnTo>
                <a:close/>
              </a:path>
              <a:path w="1878965" h="361950">
                <a:moveTo>
                  <a:pt x="838073" y="281177"/>
                </a:moveTo>
                <a:lnTo>
                  <a:pt x="832357" y="304926"/>
                </a:lnTo>
                <a:lnTo>
                  <a:pt x="874013" y="315087"/>
                </a:lnTo>
                <a:lnTo>
                  <a:pt x="903731" y="321817"/>
                </a:lnTo>
                <a:lnTo>
                  <a:pt x="909065" y="298068"/>
                </a:lnTo>
                <a:lnTo>
                  <a:pt x="879855" y="291464"/>
                </a:lnTo>
                <a:lnTo>
                  <a:pt x="838073" y="281177"/>
                </a:lnTo>
                <a:close/>
              </a:path>
              <a:path w="1878965" h="361950">
                <a:moveTo>
                  <a:pt x="932687" y="303148"/>
                </a:moveTo>
                <a:lnTo>
                  <a:pt x="927734" y="326897"/>
                </a:lnTo>
                <a:lnTo>
                  <a:pt x="939673" y="329438"/>
                </a:lnTo>
                <a:lnTo>
                  <a:pt x="971930" y="335788"/>
                </a:lnTo>
                <a:lnTo>
                  <a:pt x="999871" y="340867"/>
                </a:lnTo>
                <a:lnTo>
                  <a:pt x="1004188" y="316864"/>
                </a:lnTo>
                <a:lnTo>
                  <a:pt x="976629" y="311912"/>
                </a:lnTo>
                <a:lnTo>
                  <a:pt x="944752" y="305688"/>
                </a:lnTo>
                <a:lnTo>
                  <a:pt x="932687" y="303148"/>
                </a:lnTo>
                <a:close/>
              </a:path>
              <a:path w="1878965" h="361950">
                <a:moveTo>
                  <a:pt x="1028064" y="320675"/>
                </a:moveTo>
                <a:lnTo>
                  <a:pt x="1024254" y="344804"/>
                </a:lnTo>
                <a:lnTo>
                  <a:pt x="1065783" y="350900"/>
                </a:lnTo>
                <a:lnTo>
                  <a:pt x="1096136" y="354583"/>
                </a:lnTo>
                <a:lnTo>
                  <a:pt x="1097406" y="354710"/>
                </a:lnTo>
                <a:lnTo>
                  <a:pt x="1099820" y="330326"/>
                </a:lnTo>
                <a:lnTo>
                  <a:pt x="1099057" y="330326"/>
                </a:lnTo>
                <a:lnTo>
                  <a:pt x="1069212" y="326770"/>
                </a:lnTo>
                <a:lnTo>
                  <a:pt x="1028064" y="320675"/>
                </a:lnTo>
                <a:close/>
              </a:path>
              <a:path w="1878965" h="361950">
                <a:moveTo>
                  <a:pt x="1124077" y="332739"/>
                </a:moveTo>
                <a:lnTo>
                  <a:pt x="1155319" y="359663"/>
                </a:lnTo>
                <a:lnTo>
                  <a:pt x="1195577" y="361441"/>
                </a:lnTo>
                <a:lnTo>
                  <a:pt x="1196212" y="337057"/>
                </a:lnTo>
                <a:lnTo>
                  <a:pt x="1185290" y="336676"/>
                </a:lnTo>
                <a:lnTo>
                  <a:pt x="1157097" y="335279"/>
                </a:lnTo>
                <a:lnTo>
                  <a:pt x="1128267" y="333120"/>
                </a:lnTo>
                <a:lnTo>
                  <a:pt x="1124077" y="332739"/>
                </a:lnTo>
                <a:close/>
              </a:path>
              <a:path w="1878965" h="361950">
                <a:moveTo>
                  <a:pt x="1220342" y="337438"/>
                </a:moveTo>
                <a:lnTo>
                  <a:pt x="1220215" y="361822"/>
                </a:lnTo>
                <a:lnTo>
                  <a:pt x="1240027" y="361950"/>
                </a:lnTo>
                <a:lnTo>
                  <a:pt x="1267459" y="361314"/>
                </a:lnTo>
                <a:lnTo>
                  <a:pt x="1293876" y="360298"/>
                </a:lnTo>
                <a:lnTo>
                  <a:pt x="1292928" y="337565"/>
                </a:lnTo>
                <a:lnTo>
                  <a:pt x="1240154" y="337565"/>
                </a:lnTo>
                <a:lnTo>
                  <a:pt x="1220342" y="337438"/>
                </a:lnTo>
                <a:close/>
              </a:path>
              <a:path w="1878965" h="361950">
                <a:moveTo>
                  <a:pt x="1292859" y="335914"/>
                </a:moveTo>
                <a:lnTo>
                  <a:pt x="1266825" y="337057"/>
                </a:lnTo>
                <a:lnTo>
                  <a:pt x="1240154" y="337565"/>
                </a:lnTo>
                <a:lnTo>
                  <a:pt x="1292928" y="337565"/>
                </a:lnTo>
                <a:lnTo>
                  <a:pt x="1292859" y="335914"/>
                </a:lnTo>
                <a:close/>
              </a:path>
              <a:path w="1878965" h="361950">
                <a:moveTo>
                  <a:pt x="1388872" y="326008"/>
                </a:moveTo>
                <a:lnTo>
                  <a:pt x="1344422" y="331723"/>
                </a:lnTo>
                <a:lnTo>
                  <a:pt x="1319022" y="334009"/>
                </a:lnTo>
                <a:lnTo>
                  <a:pt x="1316862" y="334263"/>
                </a:lnTo>
                <a:lnTo>
                  <a:pt x="1318513" y="358520"/>
                </a:lnTo>
                <a:lnTo>
                  <a:pt x="1320673" y="358393"/>
                </a:lnTo>
                <a:lnTo>
                  <a:pt x="1346707" y="355980"/>
                </a:lnTo>
                <a:lnTo>
                  <a:pt x="1391920" y="350265"/>
                </a:lnTo>
                <a:lnTo>
                  <a:pt x="1388872" y="326008"/>
                </a:lnTo>
                <a:close/>
              </a:path>
              <a:path w="1878965" h="361950">
                <a:moveTo>
                  <a:pt x="1483613" y="308101"/>
                </a:moveTo>
                <a:lnTo>
                  <a:pt x="1442211" y="317118"/>
                </a:lnTo>
                <a:lnTo>
                  <a:pt x="1412366" y="322198"/>
                </a:lnTo>
                <a:lnTo>
                  <a:pt x="1416557" y="346201"/>
                </a:lnTo>
                <a:lnTo>
                  <a:pt x="1446402" y="341121"/>
                </a:lnTo>
                <a:lnTo>
                  <a:pt x="1488821" y="331850"/>
                </a:lnTo>
                <a:lnTo>
                  <a:pt x="1483613" y="308101"/>
                </a:lnTo>
                <a:close/>
              </a:path>
              <a:path w="1878965" h="361950">
                <a:moveTo>
                  <a:pt x="1576704" y="282575"/>
                </a:moveTo>
                <a:lnTo>
                  <a:pt x="1534667" y="295147"/>
                </a:lnTo>
                <a:lnTo>
                  <a:pt x="1506854" y="302259"/>
                </a:lnTo>
                <a:lnTo>
                  <a:pt x="1512951" y="325881"/>
                </a:lnTo>
                <a:lnTo>
                  <a:pt x="1540763" y="318642"/>
                </a:lnTo>
                <a:lnTo>
                  <a:pt x="1583689" y="305942"/>
                </a:lnTo>
                <a:lnTo>
                  <a:pt x="1576704" y="282575"/>
                </a:lnTo>
                <a:close/>
              </a:path>
              <a:path w="1878965" h="361950">
                <a:moveTo>
                  <a:pt x="1667763" y="250697"/>
                </a:moveTo>
                <a:lnTo>
                  <a:pt x="1665858" y="251459"/>
                </a:lnTo>
                <a:lnTo>
                  <a:pt x="1622932" y="267080"/>
                </a:lnTo>
                <a:lnTo>
                  <a:pt x="1599564" y="274954"/>
                </a:lnTo>
                <a:lnTo>
                  <a:pt x="1607311" y="298068"/>
                </a:lnTo>
                <a:lnTo>
                  <a:pt x="1630679" y="290321"/>
                </a:lnTo>
                <a:lnTo>
                  <a:pt x="1674240" y="274319"/>
                </a:lnTo>
                <a:lnTo>
                  <a:pt x="1676780" y="273303"/>
                </a:lnTo>
                <a:lnTo>
                  <a:pt x="1667763" y="250697"/>
                </a:lnTo>
                <a:close/>
              </a:path>
              <a:path w="1878965" h="361950">
                <a:moveTo>
                  <a:pt x="1757806" y="213994"/>
                </a:moveTo>
                <a:lnTo>
                  <a:pt x="1749932" y="217423"/>
                </a:lnTo>
                <a:lnTo>
                  <a:pt x="1708150" y="234822"/>
                </a:lnTo>
                <a:lnTo>
                  <a:pt x="1690497" y="241680"/>
                </a:lnTo>
                <a:lnTo>
                  <a:pt x="1699386" y="264413"/>
                </a:lnTo>
                <a:lnTo>
                  <a:pt x="1717039" y="257428"/>
                </a:lnTo>
                <a:lnTo>
                  <a:pt x="1759330" y="239902"/>
                </a:lnTo>
                <a:lnTo>
                  <a:pt x="1767458" y="236346"/>
                </a:lnTo>
                <a:lnTo>
                  <a:pt x="1757806" y="213994"/>
                </a:lnTo>
                <a:close/>
              </a:path>
              <a:path w="1878965" h="361950">
                <a:moveTo>
                  <a:pt x="1866670" y="188467"/>
                </a:moveTo>
                <a:lnTo>
                  <a:pt x="1815846" y="188467"/>
                </a:lnTo>
                <a:lnTo>
                  <a:pt x="1825878" y="210692"/>
                </a:lnTo>
                <a:lnTo>
                  <a:pt x="1814270" y="215872"/>
                </a:lnTo>
                <a:lnTo>
                  <a:pt x="1824862" y="239521"/>
                </a:lnTo>
                <a:lnTo>
                  <a:pt x="1866670" y="188467"/>
                </a:lnTo>
                <a:close/>
              </a:path>
              <a:path w="1878965" h="361950">
                <a:moveTo>
                  <a:pt x="1804300" y="193612"/>
                </a:moveTo>
                <a:lnTo>
                  <a:pt x="1780158" y="204342"/>
                </a:lnTo>
                <a:lnTo>
                  <a:pt x="1789810" y="226694"/>
                </a:lnTo>
                <a:lnTo>
                  <a:pt x="1814270" y="215872"/>
                </a:lnTo>
                <a:lnTo>
                  <a:pt x="1804300" y="193612"/>
                </a:lnTo>
                <a:close/>
              </a:path>
              <a:path w="1878965" h="361950">
                <a:moveTo>
                  <a:pt x="1815846" y="188467"/>
                </a:moveTo>
                <a:lnTo>
                  <a:pt x="1804300" y="193612"/>
                </a:lnTo>
                <a:lnTo>
                  <a:pt x="1814270" y="215872"/>
                </a:lnTo>
                <a:lnTo>
                  <a:pt x="1825878" y="210692"/>
                </a:lnTo>
                <a:lnTo>
                  <a:pt x="1815846" y="188467"/>
                </a:lnTo>
                <a:close/>
              </a:path>
              <a:path w="1878965" h="361950">
                <a:moveTo>
                  <a:pt x="1793748" y="170052"/>
                </a:moveTo>
                <a:lnTo>
                  <a:pt x="1804300" y="193612"/>
                </a:lnTo>
                <a:lnTo>
                  <a:pt x="1815846" y="188467"/>
                </a:lnTo>
                <a:lnTo>
                  <a:pt x="1866670" y="188467"/>
                </a:lnTo>
                <a:lnTo>
                  <a:pt x="1878837" y="173608"/>
                </a:lnTo>
                <a:lnTo>
                  <a:pt x="1793748" y="170052"/>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6374510" y="2715767"/>
            <a:ext cx="3016885" cy="802005"/>
          </a:xfrm>
          <a:custGeom>
            <a:avLst/>
            <a:gdLst/>
            <a:ahLst/>
            <a:cxnLst/>
            <a:rect l="l" t="t" r="r" b="b"/>
            <a:pathLst>
              <a:path w="3016884" h="802004">
                <a:moveTo>
                  <a:pt x="16001" y="0"/>
                </a:moveTo>
                <a:lnTo>
                  <a:pt x="0" y="18287"/>
                </a:lnTo>
                <a:lnTo>
                  <a:pt x="54863" y="66675"/>
                </a:lnTo>
                <a:lnTo>
                  <a:pt x="70992" y="48387"/>
                </a:lnTo>
                <a:lnTo>
                  <a:pt x="16001" y="0"/>
                </a:lnTo>
                <a:close/>
              </a:path>
              <a:path w="3016884" h="802004">
                <a:moveTo>
                  <a:pt x="89280" y="64516"/>
                </a:moveTo>
                <a:lnTo>
                  <a:pt x="73151" y="82804"/>
                </a:lnTo>
                <a:lnTo>
                  <a:pt x="128269" y="130937"/>
                </a:lnTo>
                <a:lnTo>
                  <a:pt x="144271" y="112649"/>
                </a:lnTo>
                <a:lnTo>
                  <a:pt x="89280" y="64516"/>
                </a:lnTo>
                <a:close/>
              </a:path>
              <a:path w="3016884" h="802004">
                <a:moveTo>
                  <a:pt x="162687" y="128651"/>
                </a:moveTo>
                <a:lnTo>
                  <a:pt x="146558" y="146939"/>
                </a:lnTo>
                <a:lnTo>
                  <a:pt x="150748" y="150622"/>
                </a:lnTo>
                <a:lnTo>
                  <a:pt x="202184" y="194818"/>
                </a:lnTo>
                <a:lnTo>
                  <a:pt x="218059" y="176276"/>
                </a:lnTo>
                <a:lnTo>
                  <a:pt x="166750" y="132207"/>
                </a:lnTo>
                <a:lnTo>
                  <a:pt x="162687" y="128651"/>
                </a:lnTo>
                <a:close/>
              </a:path>
              <a:path w="3016884" h="802004">
                <a:moveTo>
                  <a:pt x="236473" y="192151"/>
                </a:moveTo>
                <a:lnTo>
                  <a:pt x="220598" y="210693"/>
                </a:lnTo>
                <a:lnTo>
                  <a:pt x="226567" y="215773"/>
                </a:lnTo>
                <a:lnTo>
                  <a:pt x="276860" y="257810"/>
                </a:lnTo>
                <a:lnTo>
                  <a:pt x="292481" y="239014"/>
                </a:lnTo>
                <a:lnTo>
                  <a:pt x="242442" y="197231"/>
                </a:lnTo>
                <a:lnTo>
                  <a:pt x="236473" y="192151"/>
                </a:lnTo>
                <a:close/>
              </a:path>
              <a:path w="3016884" h="802004">
                <a:moveTo>
                  <a:pt x="311149" y="254762"/>
                </a:moveTo>
                <a:lnTo>
                  <a:pt x="295529" y="273431"/>
                </a:lnTo>
                <a:lnTo>
                  <a:pt x="302894" y="279527"/>
                </a:lnTo>
                <a:lnTo>
                  <a:pt x="352424" y="319659"/>
                </a:lnTo>
                <a:lnTo>
                  <a:pt x="367791" y="300736"/>
                </a:lnTo>
                <a:lnTo>
                  <a:pt x="318515" y="260858"/>
                </a:lnTo>
                <a:lnTo>
                  <a:pt x="311149" y="254762"/>
                </a:lnTo>
                <a:close/>
              </a:path>
              <a:path w="3016884" h="802004">
                <a:moveTo>
                  <a:pt x="386714" y="315976"/>
                </a:moveTo>
                <a:lnTo>
                  <a:pt x="371347" y="335026"/>
                </a:lnTo>
                <a:lnTo>
                  <a:pt x="429260" y="380365"/>
                </a:lnTo>
                <a:lnTo>
                  <a:pt x="443991" y="360934"/>
                </a:lnTo>
                <a:lnTo>
                  <a:pt x="433578" y="352933"/>
                </a:lnTo>
                <a:lnTo>
                  <a:pt x="395096" y="322834"/>
                </a:lnTo>
                <a:lnTo>
                  <a:pt x="386714" y="315976"/>
                </a:lnTo>
                <a:close/>
              </a:path>
              <a:path w="3016884" h="802004">
                <a:moveTo>
                  <a:pt x="463422" y="375793"/>
                </a:moveTo>
                <a:lnTo>
                  <a:pt x="448563" y="395097"/>
                </a:lnTo>
                <a:lnTo>
                  <a:pt x="457454" y="401955"/>
                </a:lnTo>
                <a:lnTo>
                  <a:pt x="496696" y="431038"/>
                </a:lnTo>
                <a:lnTo>
                  <a:pt x="507618" y="438912"/>
                </a:lnTo>
                <a:lnTo>
                  <a:pt x="521969" y="419100"/>
                </a:lnTo>
                <a:lnTo>
                  <a:pt x="511174" y="411353"/>
                </a:lnTo>
                <a:lnTo>
                  <a:pt x="472313" y="382524"/>
                </a:lnTo>
                <a:lnTo>
                  <a:pt x="463422" y="375793"/>
                </a:lnTo>
                <a:close/>
              </a:path>
              <a:path w="3016884" h="802004">
                <a:moveTo>
                  <a:pt x="541655" y="433324"/>
                </a:moveTo>
                <a:lnTo>
                  <a:pt x="527431" y="453136"/>
                </a:lnTo>
                <a:lnTo>
                  <a:pt x="536193" y="459486"/>
                </a:lnTo>
                <a:lnTo>
                  <a:pt x="575817" y="487172"/>
                </a:lnTo>
                <a:lnTo>
                  <a:pt x="587883" y="495173"/>
                </a:lnTo>
                <a:lnTo>
                  <a:pt x="601471" y="474853"/>
                </a:lnTo>
                <a:lnTo>
                  <a:pt x="589788" y="467106"/>
                </a:lnTo>
                <a:lnTo>
                  <a:pt x="550417" y="439674"/>
                </a:lnTo>
                <a:lnTo>
                  <a:pt x="541655" y="433324"/>
                </a:lnTo>
                <a:close/>
              </a:path>
              <a:path w="3016884" h="802004">
                <a:moveTo>
                  <a:pt x="621664" y="488442"/>
                </a:moveTo>
                <a:lnTo>
                  <a:pt x="608075" y="508762"/>
                </a:lnTo>
                <a:lnTo>
                  <a:pt x="615949" y="513969"/>
                </a:lnTo>
                <a:lnTo>
                  <a:pt x="656209" y="540004"/>
                </a:lnTo>
                <a:lnTo>
                  <a:pt x="669924" y="548513"/>
                </a:lnTo>
                <a:lnTo>
                  <a:pt x="682752" y="527812"/>
                </a:lnTo>
                <a:lnTo>
                  <a:pt x="669416" y="519557"/>
                </a:lnTo>
                <a:lnTo>
                  <a:pt x="629538" y="493776"/>
                </a:lnTo>
                <a:lnTo>
                  <a:pt x="621664" y="488442"/>
                </a:lnTo>
                <a:close/>
              </a:path>
              <a:path w="3016884" h="802004">
                <a:moveTo>
                  <a:pt x="703580" y="540639"/>
                </a:moveTo>
                <a:lnTo>
                  <a:pt x="690753" y="561340"/>
                </a:lnTo>
                <a:lnTo>
                  <a:pt x="696848" y="565150"/>
                </a:lnTo>
                <a:lnTo>
                  <a:pt x="737869" y="589280"/>
                </a:lnTo>
                <a:lnTo>
                  <a:pt x="754253" y="598551"/>
                </a:lnTo>
                <a:lnTo>
                  <a:pt x="766190" y="577342"/>
                </a:lnTo>
                <a:lnTo>
                  <a:pt x="750315" y="568325"/>
                </a:lnTo>
                <a:lnTo>
                  <a:pt x="709803" y="544449"/>
                </a:lnTo>
                <a:lnTo>
                  <a:pt x="703580" y="540639"/>
                </a:lnTo>
                <a:close/>
              </a:path>
              <a:path w="3016884" h="802004">
                <a:moveTo>
                  <a:pt x="787527" y="589280"/>
                </a:moveTo>
                <a:lnTo>
                  <a:pt x="775588" y="610489"/>
                </a:lnTo>
                <a:lnTo>
                  <a:pt x="779144" y="612521"/>
                </a:lnTo>
                <a:lnTo>
                  <a:pt x="820928" y="634619"/>
                </a:lnTo>
                <a:lnTo>
                  <a:pt x="840993" y="644525"/>
                </a:lnTo>
                <a:lnTo>
                  <a:pt x="851915" y="622681"/>
                </a:lnTo>
                <a:lnTo>
                  <a:pt x="832358" y="613029"/>
                </a:lnTo>
                <a:lnTo>
                  <a:pt x="791083" y="591312"/>
                </a:lnTo>
                <a:lnTo>
                  <a:pt x="787527" y="589280"/>
                </a:lnTo>
                <a:close/>
              </a:path>
              <a:path w="3016884" h="802004">
                <a:moveTo>
                  <a:pt x="873633" y="633603"/>
                </a:moveTo>
                <a:lnTo>
                  <a:pt x="862838" y="655447"/>
                </a:lnTo>
                <a:lnTo>
                  <a:pt x="905637" y="675386"/>
                </a:lnTo>
                <a:lnTo>
                  <a:pt x="930020" y="685927"/>
                </a:lnTo>
                <a:lnTo>
                  <a:pt x="939672" y="663575"/>
                </a:lnTo>
                <a:lnTo>
                  <a:pt x="915923" y="653161"/>
                </a:lnTo>
                <a:lnTo>
                  <a:pt x="873633" y="633603"/>
                </a:lnTo>
                <a:close/>
              </a:path>
              <a:path w="3016884" h="802004">
                <a:moveTo>
                  <a:pt x="961770" y="672973"/>
                </a:moveTo>
                <a:lnTo>
                  <a:pt x="952754" y="695579"/>
                </a:lnTo>
                <a:lnTo>
                  <a:pt x="992123" y="711200"/>
                </a:lnTo>
                <a:lnTo>
                  <a:pt x="1021461" y="721868"/>
                </a:lnTo>
                <a:lnTo>
                  <a:pt x="1029715" y="698881"/>
                </a:lnTo>
                <a:lnTo>
                  <a:pt x="1001140" y="688594"/>
                </a:lnTo>
                <a:lnTo>
                  <a:pt x="961770" y="672973"/>
                </a:lnTo>
                <a:close/>
              </a:path>
              <a:path w="3016884" h="802004">
                <a:moveTo>
                  <a:pt x="1052448" y="706755"/>
                </a:moveTo>
                <a:lnTo>
                  <a:pt x="1044829" y="729996"/>
                </a:lnTo>
                <a:lnTo>
                  <a:pt x="1080389" y="741680"/>
                </a:lnTo>
                <a:lnTo>
                  <a:pt x="1115060" y="751713"/>
                </a:lnTo>
                <a:lnTo>
                  <a:pt x="1121917" y="728345"/>
                </a:lnTo>
                <a:lnTo>
                  <a:pt x="1088009" y="718566"/>
                </a:lnTo>
                <a:lnTo>
                  <a:pt x="1052448" y="706755"/>
                </a:lnTo>
                <a:close/>
              </a:path>
              <a:path w="3016884" h="802004">
                <a:moveTo>
                  <a:pt x="1145032" y="734568"/>
                </a:moveTo>
                <a:lnTo>
                  <a:pt x="1139063" y="758190"/>
                </a:lnTo>
                <a:lnTo>
                  <a:pt x="1170813" y="766318"/>
                </a:lnTo>
                <a:lnTo>
                  <a:pt x="1210690" y="774954"/>
                </a:lnTo>
                <a:lnTo>
                  <a:pt x="1215897" y="751078"/>
                </a:lnTo>
                <a:lnTo>
                  <a:pt x="1176909" y="742696"/>
                </a:lnTo>
                <a:lnTo>
                  <a:pt x="1145032" y="734568"/>
                </a:lnTo>
                <a:close/>
              </a:path>
              <a:path w="3016884" h="802004">
                <a:moveTo>
                  <a:pt x="1239392" y="755523"/>
                </a:moveTo>
                <a:lnTo>
                  <a:pt x="1235074" y="779526"/>
                </a:lnTo>
                <a:lnTo>
                  <a:pt x="1263395" y="784606"/>
                </a:lnTo>
                <a:lnTo>
                  <a:pt x="1307718" y="790956"/>
                </a:lnTo>
                <a:lnTo>
                  <a:pt x="1311147" y="766826"/>
                </a:lnTo>
                <a:lnTo>
                  <a:pt x="1267714" y="760730"/>
                </a:lnTo>
                <a:lnTo>
                  <a:pt x="1239392" y="755523"/>
                </a:lnTo>
                <a:close/>
              </a:path>
              <a:path w="3016884" h="802004">
                <a:moveTo>
                  <a:pt x="1335023" y="769493"/>
                </a:moveTo>
                <a:lnTo>
                  <a:pt x="1332484" y="793750"/>
                </a:lnTo>
                <a:lnTo>
                  <a:pt x="1358391" y="796417"/>
                </a:lnTo>
                <a:lnTo>
                  <a:pt x="1405763" y="799592"/>
                </a:lnTo>
                <a:lnTo>
                  <a:pt x="1407414" y="775335"/>
                </a:lnTo>
                <a:lnTo>
                  <a:pt x="1360932" y="772160"/>
                </a:lnTo>
                <a:lnTo>
                  <a:pt x="1335023" y="769493"/>
                </a:lnTo>
                <a:close/>
              </a:path>
              <a:path w="3016884" h="802004">
                <a:moveTo>
                  <a:pt x="1431416" y="776224"/>
                </a:moveTo>
                <a:lnTo>
                  <a:pt x="1430528" y="800481"/>
                </a:lnTo>
                <a:lnTo>
                  <a:pt x="1455419" y="801370"/>
                </a:lnTo>
                <a:lnTo>
                  <a:pt x="1504061" y="801497"/>
                </a:lnTo>
                <a:lnTo>
                  <a:pt x="1504188" y="777113"/>
                </a:lnTo>
                <a:lnTo>
                  <a:pt x="1456309" y="777113"/>
                </a:lnTo>
                <a:lnTo>
                  <a:pt x="1431416" y="776224"/>
                </a:lnTo>
                <a:close/>
              </a:path>
              <a:path w="3016884" h="802004">
                <a:moveTo>
                  <a:pt x="1601089" y="773049"/>
                </a:moveTo>
                <a:lnTo>
                  <a:pt x="1527937" y="776097"/>
                </a:lnTo>
                <a:lnTo>
                  <a:pt x="1528953" y="800481"/>
                </a:lnTo>
                <a:lnTo>
                  <a:pt x="1602105" y="797433"/>
                </a:lnTo>
                <a:lnTo>
                  <a:pt x="1601089" y="773049"/>
                </a:lnTo>
                <a:close/>
              </a:path>
              <a:path w="3016884" h="802004">
                <a:moveTo>
                  <a:pt x="1697482" y="763905"/>
                </a:moveTo>
                <a:lnTo>
                  <a:pt x="1624711" y="770890"/>
                </a:lnTo>
                <a:lnTo>
                  <a:pt x="1626996" y="795274"/>
                </a:lnTo>
                <a:lnTo>
                  <a:pt x="1699894" y="788162"/>
                </a:lnTo>
                <a:lnTo>
                  <a:pt x="1697482" y="763905"/>
                </a:lnTo>
                <a:close/>
              </a:path>
              <a:path w="3016884" h="802004">
                <a:moveTo>
                  <a:pt x="1793493" y="750316"/>
                </a:moveTo>
                <a:lnTo>
                  <a:pt x="1721104" y="760857"/>
                </a:lnTo>
                <a:lnTo>
                  <a:pt x="1724533" y="784987"/>
                </a:lnTo>
                <a:lnTo>
                  <a:pt x="1796922" y="774446"/>
                </a:lnTo>
                <a:lnTo>
                  <a:pt x="1793493" y="750316"/>
                </a:lnTo>
                <a:close/>
              </a:path>
              <a:path w="3016884" h="802004">
                <a:moveTo>
                  <a:pt x="1888997" y="733044"/>
                </a:moveTo>
                <a:lnTo>
                  <a:pt x="1816989" y="746506"/>
                </a:lnTo>
                <a:lnTo>
                  <a:pt x="1821561" y="770509"/>
                </a:lnTo>
                <a:lnTo>
                  <a:pt x="1893442" y="756920"/>
                </a:lnTo>
                <a:lnTo>
                  <a:pt x="1888997" y="733044"/>
                </a:lnTo>
                <a:close/>
              </a:path>
              <a:path w="3016884" h="802004">
                <a:moveTo>
                  <a:pt x="1983866" y="712597"/>
                </a:moveTo>
                <a:lnTo>
                  <a:pt x="1912492" y="728599"/>
                </a:lnTo>
                <a:lnTo>
                  <a:pt x="1917827" y="752348"/>
                </a:lnTo>
                <a:lnTo>
                  <a:pt x="1989200" y="736346"/>
                </a:lnTo>
                <a:lnTo>
                  <a:pt x="1983866" y="712597"/>
                </a:lnTo>
                <a:close/>
              </a:path>
              <a:path w="3016884" h="802004">
                <a:moveTo>
                  <a:pt x="2078100" y="689229"/>
                </a:moveTo>
                <a:lnTo>
                  <a:pt x="2016760" y="705104"/>
                </a:lnTo>
                <a:lnTo>
                  <a:pt x="2007615" y="707263"/>
                </a:lnTo>
                <a:lnTo>
                  <a:pt x="2012949" y="731012"/>
                </a:lnTo>
                <a:lnTo>
                  <a:pt x="2022093" y="728980"/>
                </a:lnTo>
                <a:lnTo>
                  <a:pt x="2084323" y="712851"/>
                </a:lnTo>
                <a:lnTo>
                  <a:pt x="2078100" y="689229"/>
                </a:lnTo>
                <a:close/>
              </a:path>
              <a:path w="3016884" h="802004">
                <a:moveTo>
                  <a:pt x="2171954" y="663575"/>
                </a:moveTo>
                <a:lnTo>
                  <a:pt x="2123820" y="677418"/>
                </a:lnTo>
                <a:lnTo>
                  <a:pt x="2101722" y="683133"/>
                </a:lnTo>
                <a:lnTo>
                  <a:pt x="2107818" y="706755"/>
                </a:lnTo>
                <a:lnTo>
                  <a:pt x="2130043" y="701040"/>
                </a:lnTo>
                <a:lnTo>
                  <a:pt x="2178685" y="687070"/>
                </a:lnTo>
                <a:lnTo>
                  <a:pt x="2171954" y="663575"/>
                </a:lnTo>
                <a:close/>
              </a:path>
              <a:path w="3016884" h="802004">
                <a:moveTo>
                  <a:pt x="2265171" y="636016"/>
                </a:moveTo>
                <a:lnTo>
                  <a:pt x="2232152" y="646303"/>
                </a:lnTo>
                <a:lnTo>
                  <a:pt x="2195321" y="656971"/>
                </a:lnTo>
                <a:lnTo>
                  <a:pt x="2202053" y="680339"/>
                </a:lnTo>
                <a:lnTo>
                  <a:pt x="2238883" y="669798"/>
                </a:lnTo>
                <a:lnTo>
                  <a:pt x="2272411" y="659384"/>
                </a:lnTo>
                <a:lnTo>
                  <a:pt x="2265171" y="636016"/>
                </a:lnTo>
                <a:close/>
              </a:path>
              <a:path w="3016884" h="802004">
                <a:moveTo>
                  <a:pt x="2358009" y="606806"/>
                </a:moveTo>
                <a:lnTo>
                  <a:pt x="2341498" y="612267"/>
                </a:lnTo>
                <a:lnTo>
                  <a:pt x="2288413" y="628777"/>
                </a:lnTo>
                <a:lnTo>
                  <a:pt x="2295779" y="652018"/>
                </a:lnTo>
                <a:lnTo>
                  <a:pt x="2348738" y="635508"/>
                </a:lnTo>
                <a:lnTo>
                  <a:pt x="2365629" y="629920"/>
                </a:lnTo>
                <a:lnTo>
                  <a:pt x="2358009" y="606806"/>
                </a:lnTo>
                <a:close/>
              </a:path>
              <a:path w="3016884" h="802004">
                <a:moveTo>
                  <a:pt x="2450591" y="576072"/>
                </a:moveTo>
                <a:lnTo>
                  <a:pt x="2381122" y="599059"/>
                </a:lnTo>
                <a:lnTo>
                  <a:pt x="2388869" y="622300"/>
                </a:lnTo>
                <a:lnTo>
                  <a:pt x="2458212" y="599186"/>
                </a:lnTo>
                <a:lnTo>
                  <a:pt x="2450591" y="576072"/>
                </a:lnTo>
                <a:close/>
              </a:path>
              <a:path w="3016884" h="802004">
                <a:moveTo>
                  <a:pt x="2542413" y="543941"/>
                </a:moveTo>
                <a:lnTo>
                  <a:pt x="2473452" y="568071"/>
                </a:lnTo>
                <a:lnTo>
                  <a:pt x="2481453" y="591185"/>
                </a:lnTo>
                <a:lnTo>
                  <a:pt x="2550541" y="567055"/>
                </a:lnTo>
                <a:lnTo>
                  <a:pt x="2542413" y="543941"/>
                </a:lnTo>
                <a:close/>
              </a:path>
              <a:path w="3016884" h="802004">
                <a:moveTo>
                  <a:pt x="2634107" y="510921"/>
                </a:moveTo>
                <a:lnTo>
                  <a:pt x="2565272" y="535940"/>
                </a:lnTo>
                <a:lnTo>
                  <a:pt x="2573655" y="558927"/>
                </a:lnTo>
                <a:lnTo>
                  <a:pt x="2642362" y="533908"/>
                </a:lnTo>
                <a:lnTo>
                  <a:pt x="2634107" y="510921"/>
                </a:lnTo>
                <a:close/>
              </a:path>
              <a:path w="3016884" h="802004">
                <a:moveTo>
                  <a:pt x="2725546" y="477266"/>
                </a:moveTo>
                <a:lnTo>
                  <a:pt x="2656966" y="502666"/>
                </a:lnTo>
                <a:lnTo>
                  <a:pt x="2665348" y="525526"/>
                </a:lnTo>
                <a:lnTo>
                  <a:pt x="2683002" y="519176"/>
                </a:lnTo>
                <a:lnTo>
                  <a:pt x="2734056" y="500126"/>
                </a:lnTo>
                <a:lnTo>
                  <a:pt x="2725546" y="477266"/>
                </a:lnTo>
                <a:close/>
              </a:path>
              <a:path w="3016884" h="802004">
                <a:moveTo>
                  <a:pt x="2816733" y="443103"/>
                </a:moveTo>
                <a:lnTo>
                  <a:pt x="2748407" y="468757"/>
                </a:lnTo>
                <a:lnTo>
                  <a:pt x="2756916" y="491617"/>
                </a:lnTo>
                <a:lnTo>
                  <a:pt x="2825368" y="465836"/>
                </a:lnTo>
                <a:lnTo>
                  <a:pt x="2816733" y="443103"/>
                </a:lnTo>
                <a:close/>
              </a:path>
              <a:path w="3016884" h="802004">
                <a:moveTo>
                  <a:pt x="2907918" y="408305"/>
                </a:moveTo>
                <a:lnTo>
                  <a:pt x="2839466" y="434340"/>
                </a:lnTo>
                <a:lnTo>
                  <a:pt x="2848229" y="457200"/>
                </a:lnTo>
                <a:lnTo>
                  <a:pt x="2916555" y="431038"/>
                </a:lnTo>
                <a:lnTo>
                  <a:pt x="2907918" y="408305"/>
                </a:lnTo>
                <a:close/>
              </a:path>
              <a:path w="3016884" h="802004">
                <a:moveTo>
                  <a:pt x="3006105" y="391160"/>
                </a:moveTo>
                <a:lnTo>
                  <a:pt x="2952749" y="391160"/>
                </a:lnTo>
                <a:lnTo>
                  <a:pt x="2961386" y="414020"/>
                </a:lnTo>
                <a:lnTo>
                  <a:pt x="2949491" y="418531"/>
                </a:lnTo>
                <a:lnTo>
                  <a:pt x="2958718" y="442722"/>
                </a:lnTo>
                <a:lnTo>
                  <a:pt x="3006105" y="391160"/>
                </a:lnTo>
                <a:close/>
              </a:path>
              <a:path w="3016884" h="802004">
                <a:moveTo>
                  <a:pt x="2940781" y="395699"/>
                </a:moveTo>
                <a:lnTo>
                  <a:pt x="2930652" y="399542"/>
                </a:lnTo>
                <a:lnTo>
                  <a:pt x="2939288" y="422402"/>
                </a:lnTo>
                <a:lnTo>
                  <a:pt x="2949491" y="418531"/>
                </a:lnTo>
                <a:lnTo>
                  <a:pt x="2940781" y="395699"/>
                </a:lnTo>
                <a:close/>
              </a:path>
              <a:path w="3016884" h="802004">
                <a:moveTo>
                  <a:pt x="2952749" y="391160"/>
                </a:moveTo>
                <a:lnTo>
                  <a:pt x="2940781" y="395699"/>
                </a:lnTo>
                <a:lnTo>
                  <a:pt x="2949491" y="418531"/>
                </a:lnTo>
                <a:lnTo>
                  <a:pt x="2961386" y="414020"/>
                </a:lnTo>
                <a:lnTo>
                  <a:pt x="2952749" y="391160"/>
                </a:lnTo>
                <a:close/>
              </a:path>
              <a:path w="3016884" h="802004">
                <a:moveTo>
                  <a:pt x="2931541" y="371475"/>
                </a:moveTo>
                <a:lnTo>
                  <a:pt x="2940781" y="395699"/>
                </a:lnTo>
                <a:lnTo>
                  <a:pt x="2952749" y="391160"/>
                </a:lnTo>
                <a:lnTo>
                  <a:pt x="3006105" y="391160"/>
                </a:lnTo>
                <a:lnTo>
                  <a:pt x="3016377" y="379984"/>
                </a:lnTo>
                <a:lnTo>
                  <a:pt x="2931541" y="371475"/>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p:nvPr/>
        </p:nvSpPr>
        <p:spPr>
          <a:xfrm>
            <a:off x="6391021" y="2717673"/>
            <a:ext cx="3429635" cy="1479550"/>
          </a:xfrm>
          <a:custGeom>
            <a:avLst/>
            <a:gdLst/>
            <a:ahLst/>
            <a:cxnLst/>
            <a:rect l="l" t="t" r="r" b="b"/>
            <a:pathLst>
              <a:path w="3429634" h="1479550">
                <a:moveTo>
                  <a:pt x="19557" y="0"/>
                </a:moveTo>
                <a:lnTo>
                  <a:pt x="0" y="14477"/>
                </a:lnTo>
                <a:lnTo>
                  <a:pt x="43433" y="73405"/>
                </a:lnTo>
                <a:lnTo>
                  <a:pt x="62991" y="58927"/>
                </a:lnTo>
                <a:lnTo>
                  <a:pt x="19557" y="0"/>
                </a:lnTo>
                <a:close/>
              </a:path>
              <a:path w="3429634" h="1479550">
                <a:moveTo>
                  <a:pt x="77469" y="78486"/>
                </a:moveTo>
                <a:lnTo>
                  <a:pt x="57784" y="92963"/>
                </a:lnTo>
                <a:lnTo>
                  <a:pt x="101473" y="151764"/>
                </a:lnTo>
                <a:lnTo>
                  <a:pt x="121030" y="137160"/>
                </a:lnTo>
                <a:lnTo>
                  <a:pt x="91186" y="97154"/>
                </a:lnTo>
                <a:lnTo>
                  <a:pt x="77469" y="78486"/>
                </a:lnTo>
                <a:close/>
              </a:path>
              <a:path w="3429634" h="1479550">
                <a:moveTo>
                  <a:pt x="135508" y="156844"/>
                </a:moveTo>
                <a:lnTo>
                  <a:pt x="115950" y="171323"/>
                </a:lnTo>
                <a:lnTo>
                  <a:pt x="143509" y="208406"/>
                </a:lnTo>
                <a:lnTo>
                  <a:pt x="159893" y="229997"/>
                </a:lnTo>
                <a:lnTo>
                  <a:pt x="179324" y="215264"/>
                </a:lnTo>
                <a:lnTo>
                  <a:pt x="163068" y="193801"/>
                </a:lnTo>
                <a:lnTo>
                  <a:pt x="135508" y="156844"/>
                </a:lnTo>
                <a:close/>
              </a:path>
              <a:path w="3429634" h="1479550">
                <a:moveTo>
                  <a:pt x="194055" y="234696"/>
                </a:moveTo>
                <a:lnTo>
                  <a:pt x="174625" y="249427"/>
                </a:lnTo>
                <a:lnTo>
                  <a:pt x="216026" y="304291"/>
                </a:lnTo>
                <a:lnTo>
                  <a:pt x="218821" y="307848"/>
                </a:lnTo>
                <a:lnTo>
                  <a:pt x="238125" y="292988"/>
                </a:lnTo>
                <a:lnTo>
                  <a:pt x="235584" y="289687"/>
                </a:lnTo>
                <a:lnTo>
                  <a:pt x="194055" y="234696"/>
                </a:lnTo>
                <a:close/>
              </a:path>
              <a:path w="3429634" h="1479550">
                <a:moveTo>
                  <a:pt x="252983" y="312165"/>
                </a:moveTo>
                <a:lnTo>
                  <a:pt x="233806" y="327151"/>
                </a:lnTo>
                <a:lnTo>
                  <a:pt x="278637" y="384937"/>
                </a:lnTo>
                <a:lnTo>
                  <a:pt x="297814" y="370077"/>
                </a:lnTo>
                <a:lnTo>
                  <a:pt x="252983" y="312165"/>
                </a:lnTo>
                <a:close/>
              </a:path>
              <a:path w="3429634" h="1479550">
                <a:moveTo>
                  <a:pt x="312800" y="389127"/>
                </a:moveTo>
                <a:lnTo>
                  <a:pt x="293750" y="404367"/>
                </a:lnTo>
                <a:lnTo>
                  <a:pt x="339344" y="461517"/>
                </a:lnTo>
                <a:lnTo>
                  <a:pt x="358394" y="446277"/>
                </a:lnTo>
                <a:lnTo>
                  <a:pt x="312800" y="389127"/>
                </a:lnTo>
                <a:close/>
              </a:path>
              <a:path w="3429634" h="1479550">
                <a:moveTo>
                  <a:pt x="373633" y="465327"/>
                </a:moveTo>
                <a:lnTo>
                  <a:pt x="354583" y="480440"/>
                </a:lnTo>
                <a:lnTo>
                  <a:pt x="363981" y="492251"/>
                </a:lnTo>
                <a:lnTo>
                  <a:pt x="401065" y="537210"/>
                </a:lnTo>
                <a:lnTo>
                  <a:pt x="419988" y="521715"/>
                </a:lnTo>
                <a:lnTo>
                  <a:pt x="383031" y="477012"/>
                </a:lnTo>
                <a:lnTo>
                  <a:pt x="373633" y="465327"/>
                </a:lnTo>
                <a:close/>
              </a:path>
              <a:path w="3429634" h="1479550">
                <a:moveTo>
                  <a:pt x="435482" y="540257"/>
                </a:moveTo>
                <a:lnTo>
                  <a:pt x="416813" y="556005"/>
                </a:lnTo>
                <a:lnTo>
                  <a:pt x="439927" y="583438"/>
                </a:lnTo>
                <a:lnTo>
                  <a:pt x="464438" y="611759"/>
                </a:lnTo>
                <a:lnTo>
                  <a:pt x="482853" y="595884"/>
                </a:lnTo>
                <a:lnTo>
                  <a:pt x="458597" y="567689"/>
                </a:lnTo>
                <a:lnTo>
                  <a:pt x="435482" y="540257"/>
                </a:lnTo>
                <a:close/>
              </a:path>
              <a:path w="3429634" h="1479550">
                <a:moveTo>
                  <a:pt x="498728" y="614172"/>
                </a:moveTo>
                <a:lnTo>
                  <a:pt x="480440" y="630301"/>
                </a:lnTo>
                <a:lnTo>
                  <a:pt x="517525" y="672211"/>
                </a:lnTo>
                <a:lnTo>
                  <a:pt x="529335" y="685038"/>
                </a:lnTo>
                <a:lnTo>
                  <a:pt x="547370" y="668527"/>
                </a:lnTo>
                <a:lnTo>
                  <a:pt x="535812" y="655954"/>
                </a:lnTo>
                <a:lnTo>
                  <a:pt x="498728" y="614172"/>
                </a:lnTo>
                <a:close/>
              </a:path>
              <a:path w="3429634" h="1479550">
                <a:moveTo>
                  <a:pt x="563752" y="686562"/>
                </a:moveTo>
                <a:lnTo>
                  <a:pt x="545719" y="703072"/>
                </a:lnTo>
                <a:lnTo>
                  <a:pt x="557149" y="715517"/>
                </a:lnTo>
                <a:lnTo>
                  <a:pt x="595756" y="756665"/>
                </a:lnTo>
                <a:lnTo>
                  <a:pt x="613536" y="739901"/>
                </a:lnTo>
                <a:lnTo>
                  <a:pt x="575182" y="699007"/>
                </a:lnTo>
                <a:lnTo>
                  <a:pt x="563752" y="686562"/>
                </a:lnTo>
                <a:close/>
              </a:path>
              <a:path w="3429634" h="1479550">
                <a:moveTo>
                  <a:pt x="630427" y="757301"/>
                </a:moveTo>
                <a:lnTo>
                  <a:pt x="612901" y="774318"/>
                </a:lnTo>
                <a:lnTo>
                  <a:pt x="637794" y="799718"/>
                </a:lnTo>
                <a:lnTo>
                  <a:pt x="664590" y="826388"/>
                </a:lnTo>
                <a:lnTo>
                  <a:pt x="681862" y="808989"/>
                </a:lnTo>
                <a:lnTo>
                  <a:pt x="655193" y="782701"/>
                </a:lnTo>
                <a:lnTo>
                  <a:pt x="630427" y="757301"/>
                </a:lnTo>
                <a:close/>
              </a:path>
              <a:path w="3429634" h="1479550">
                <a:moveTo>
                  <a:pt x="699007" y="826007"/>
                </a:moveTo>
                <a:lnTo>
                  <a:pt x="682117" y="843661"/>
                </a:lnTo>
                <a:lnTo>
                  <a:pt x="720851" y="880617"/>
                </a:lnTo>
                <a:lnTo>
                  <a:pt x="735456" y="894079"/>
                </a:lnTo>
                <a:lnTo>
                  <a:pt x="751967" y="876046"/>
                </a:lnTo>
                <a:lnTo>
                  <a:pt x="737743" y="862964"/>
                </a:lnTo>
                <a:lnTo>
                  <a:pt x="699007" y="826007"/>
                </a:lnTo>
                <a:close/>
              </a:path>
              <a:path w="3429634" h="1479550">
                <a:moveTo>
                  <a:pt x="770001" y="892556"/>
                </a:moveTo>
                <a:lnTo>
                  <a:pt x="753490" y="910589"/>
                </a:lnTo>
                <a:lnTo>
                  <a:pt x="763397" y="919733"/>
                </a:lnTo>
                <a:lnTo>
                  <a:pt x="806703" y="957579"/>
                </a:lnTo>
                <a:lnTo>
                  <a:pt x="808735" y="959231"/>
                </a:lnTo>
                <a:lnTo>
                  <a:pt x="824356" y="940562"/>
                </a:lnTo>
                <a:lnTo>
                  <a:pt x="822705" y="939291"/>
                </a:lnTo>
                <a:lnTo>
                  <a:pt x="779906" y="901700"/>
                </a:lnTo>
                <a:lnTo>
                  <a:pt x="770001" y="892556"/>
                </a:lnTo>
                <a:close/>
              </a:path>
              <a:path w="3429634" h="1479550">
                <a:moveTo>
                  <a:pt x="843026" y="956309"/>
                </a:moveTo>
                <a:lnTo>
                  <a:pt x="827404" y="974978"/>
                </a:lnTo>
                <a:lnTo>
                  <a:pt x="850646" y="994537"/>
                </a:lnTo>
                <a:lnTo>
                  <a:pt x="884301" y="1021333"/>
                </a:lnTo>
                <a:lnTo>
                  <a:pt x="899540" y="1002283"/>
                </a:lnTo>
                <a:lnTo>
                  <a:pt x="866267" y="975868"/>
                </a:lnTo>
                <a:lnTo>
                  <a:pt x="843026" y="956309"/>
                </a:lnTo>
                <a:close/>
              </a:path>
              <a:path w="3429634" h="1479550">
                <a:moveTo>
                  <a:pt x="918463" y="1017143"/>
                </a:moveTo>
                <a:lnTo>
                  <a:pt x="903731" y="1036574"/>
                </a:lnTo>
                <a:lnTo>
                  <a:pt x="940943" y="1064895"/>
                </a:lnTo>
                <a:lnTo>
                  <a:pt x="962659" y="1080515"/>
                </a:lnTo>
                <a:lnTo>
                  <a:pt x="976883" y="1060703"/>
                </a:lnTo>
                <a:lnTo>
                  <a:pt x="955675" y="1045463"/>
                </a:lnTo>
                <a:lnTo>
                  <a:pt x="918463" y="1017143"/>
                </a:lnTo>
                <a:close/>
              </a:path>
              <a:path w="3429634" h="1479550">
                <a:moveTo>
                  <a:pt x="996696" y="1074927"/>
                </a:moveTo>
                <a:lnTo>
                  <a:pt x="982472" y="1094739"/>
                </a:lnTo>
                <a:lnTo>
                  <a:pt x="987425" y="1098169"/>
                </a:lnTo>
                <a:lnTo>
                  <a:pt x="1034542" y="1130300"/>
                </a:lnTo>
                <a:lnTo>
                  <a:pt x="1043558" y="1136014"/>
                </a:lnTo>
                <a:lnTo>
                  <a:pt x="1056767" y="1115440"/>
                </a:lnTo>
                <a:lnTo>
                  <a:pt x="1048257" y="1110107"/>
                </a:lnTo>
                <a:lnTo>
                  <a:pt x="1001522" y="1078357"/>
                </a:lnTo>
                <a:lnTo>
                  <a:pt x="996696" y="1074927"/>
                </a:lnTo>
                <a:close/>
              </a:path>
              <a:path w="3429634" h="1479550">
                <a:moveTo>
                  <a:pt x="1077340" y="1128649"/>
                </a:moveTo>
                <a:lnTo>
                  <a:pt x="1064132" y="1149222"/>
                </a:lnTo>
                <a:lnTo>
                  <a:pt x="1082802" y="1161033"/>
                </a:lnTo>
                <a:lnTo>
                  <a:pt x="1126871" y="1187450"/>
                </a:lnTo>
                <a:lnTo>
                  <a:pt x="1139444" y="1166495"/>
                </a:lnTo>
                <a:lnTo>
                  <a:pt x="1095882" y="1140459"/>
                </a:lnTo>
                <a:lnTo>
                  <a:pt x="1077340" y="1128649"/>
                </a:lnTo>
                <a:close/>
              </a:path>
              <a:path w="3429634" h="1479550">
                <a:moveTo>
                  <a:pt x="1160272" y="1178306"/>
                </a:moveTo>
                <a:lnTo>
                  <a:pt x="1148460" y="1199641"/>
                </a:lnTo>
                <a:lnTo>
                  <a:pt x="1181988" y="1218310"/>
                </a:lnTo>
                <a:lnTo>
                  <a:pt x="1213230" y="1234439"/>
                </a:lnTo>
                <a:lnTo>
                  <a:pt x="1224406" y="1212722"/>
                </a:lnTo>
                <a:lnTo>
                  <a:pt x="1193800" y="1196975"/>
                </a:lnTo>
                <a:lnTo>
                  <a:pt x="1160272" y="1178306"/>
                </a:lnTo>
                <a:close/>
              </a:path>
              <a:path w="3429634" h="1479550">
                <a:moveTo>
                  <a:pt x="1245743" y="1223645"/>
                </a:moveTo>
                <a:lnTo>
                  <a:pt x="1235328" y="1245743"/>
                </a:lnTo>
                <a:lnTo>
                  <a:pt x="1285367" y="1269491"/>
                </a:lnTo>
                <a:lnTo>
                  <a:pt x="1301877" y="1276858"/>
                </a:lnTo>
                <a:lnTo>
                  <a:pt x="1311655" y="1254506"/>
                </a:lnTo>
                <a:lnTo>
                  <a:pt x="1295780" y="1247520"/>
                </a:lnTo>
                <a:lnTo>
                  <a:pt x="1245743" y="1223645"/>
                </a:lnTo>
                <a:close/>
              </a:path>
              <a:path w="3429634" h="1479550">
                <a:moveTo>
                  <a:pt x="1334007" y="1264284"/>
                </a:moveTo>
                <a:lnTo>
                  <a:pt x="1324228" y="1286637"/>
                </a:lnTo>
                <a:lnTo>
                  <a:pt x="1338579" y="1292859"/>
                </a:lnTo>
                <a:lnTo>
                  <a:pt x="1392427" y="1314195"/>
                </a:lnTo>
                <a:lnTo>
                  <a:pt x="1401445" y="1291589"/>
                </a:lnTo>
                <a:lnTo>
                  <a:pt x="1348358" y="1270508"/>
                </a:lnTo>
                <a:lnTo>
                  <a:pt x="1334007" y="1264284"/>
                </a:lnTo>
                <a:close/>
              </a:path>
              <a:path w="3429634" h="1479550">
                <a:moveTo>
                  <a:pt x="1424051" y="1299718"/>
                </a:moveTo>
                <a:lnTo>
                  <a:pt x="1415669" y="1322704"/>
                </a:lnTo>
                <a:lnTo>
                  <a:pt x="1448434" y="1334515"/>
                </a:lnTo>
                <a:lnTo>
                  <a:pt x="1485264" y="1346581"/>
                </a:lnTo>
                <a:lnTo>
                  <a:pt x="1492884" y="1323466"/>
                </a:lnTo>
                <a:lnTo>
                  <a:pt x="1456689" y="1311528"/>
                </a:lnTo>
                <a:lnTo>
                  <a:pt x="1424051" y="1299718"/>
                </a:lnTo>
                <a:close/>
              </a:path>
              <a:path w="3429634" h="1479550">
                <a:moveTo>
                  <a:pt x="1515745" y="1330833"/>
                </a:moveTo>
                <a:lnTo>
                  <a:pt x="1508759" y="1354201"/>
                </a:lnTo>
                <a:lnTo>
                  <a:pt x="1562227" y="1369949"/>
                </a:lnTo>
                <a:lnTo>
                  <a:pt x="1579626" y="1374394"/>
                </a:lnTo>
                <a:lnTo>
                  <a:pt x="1585595" y="1350645"/>
                </a:lnTo>
                <a:lnTo>
                  <a:pt x="1569084" y="1346581"/>
                </a:lnTo>
                <a:lnTo>
                  <a:pt x="1515745" y="1330833"/>
                </a:lnTo>
                <a:close/>
              </a:path>
              <a:path w="3429634" h="1479550">
                <a:moveTo>
                  <a:pt x="1609217" y="1356614"/>
                </a:moveTo>
                <a:lnTo>
                  <a:pt x="1603248" y="1380235"/>
                </a:lnTo>
                <a:lnTo>
                  <a:pt x="1674240" y="1398143"/>
                </a:lnTo>
                <a:lnTo>
                  <a:pt x="1680082" y="1374520"/>
                </a:lnTo>
                <a:lnTo>
                  <a:pt x="1609217" y="1356614"/>
                </a:lnTo>
                <a:close/>
              </a:path>
              <a:path w="3429634" h="1479550">
                <a:moveTo>
                  <a:pt x="1703451" y="1379474"/>
                </a:moveTo>
                <a:lnTo>
                  <a:pt x="1698625" y="1403350"/>
                </a:lnTo>
                <a:lnTo>
                  <a:pt x="1770379" y="1417701"/>
                </a:lnTo>
                <a:lnTo>
                  <a:pt x="1775078" y="1393697"/>
                </a:lnTo>
                <a:lnTo>
                  <a:pt x="1703451" y="1379474"/>
                </a:lnTo>
                <a:close/>
              </a:path>
              <a:path w="3429634" h="1479550">
                <a:moveTo>
                  <a:pt x="1799081" y="1398524"/>
                </a:moveTo>
                <a:lnTo>
                  <a:pt x="1794255" y="1422400"/>
                </a:lnTo>
                <a:lnTo>
                  <a:pt x="1800859" y="1423796"/>
                </a:lnTo>
                <a:lnTo>
                  <a:pt x="1867027" y="1433957"/>
                </a:lnTo>
                <a:lnTo>
                  <a:pt x="1870709" y="1409827"/>
                </a:lnTo>
                <a:lnTo>
                  <a:pt x="1805685" y="1399794"/>
                </a:lnTo>
                <a:lnTo>
                  <a:pt x="1799081" y="1398524"/>
                </a:lnTo>
                <a:close/>
              </a:path>
              <a:path w="3429634" h="1479550">
                <a:moveTo>
                  <a:pt x="1894839" y="1413637"/>
                </a:moveTo>
                <a:lnTo>
                  <a:pt x="1891156" y="1437766"/>
                </a:lnTo>
                <a:lnTo>
                  <a:pt x="1925320" y="1442974"/>
                </a:lnTo>
                <a:lnTo>
                  <a:pt x="1964054" y="1447419"/>
                </a:lnTo>
                <a:lnTo>
                  <a:pt x="1966849" y="1423289"/>
                </a:lnTo>
                <a:lnTo>
                  <a:pt x="1929002" y="1418844"/>
                </a:lnTo>
                <a:lnTo>
                  <a:pt x="1894839" y="1413637"/>
                </a:lnTo>
                <a:close/>
              </a:path>
              <a:path w="3429634" h="1479550">
                <a:moveTo>
                  <a:pt x="1991105" y="1426083"/>
                </a:moveTo>
                <a:lnTo>
                  <a:pt x="1988311" y="1450339"/>
                </a:lnTo>
                <a:lnTo>
                  <a:pt x="2052701" y="1457706"/>
                </a:lnTo>
                <a:lnTo>
                  <a:pt x="2061463" y="1458468"/>
                </a:lnTo>
                <a:lnTo>
                  <a:pt x="2063369" y="1434083"/>
                </a:lnTo>
                <a:lnTo>
                  <a:pt x="2055495" y="1433449"/>
                </a:lnTo>
                <a:lnTo>
                  <a:pt x="1991105" y="1426083"/>
                </a:lnTo>
                <a:close/>
              </a:path>
              <a:path w="3429634" h="1479550">
                <a:moveTo>
                  <a:pt x="2087752" y="1436115"/>
                </a:moveTo>
                <a:lnTo>
                  <a:pt x="2085721" y="1460372"/>
                </a:lnTo>
                <a:lnTo>
                  <a:pt x="2158619" y="1466341"/>
                </a:lnTo>
                <a:lnTo>
                  <a:pt x="2160651" y="1441958"/>
                </a:lnTo>
                <a:lnTo>
                  <a:pt x="2087752" y="1436115"/>
                </a:lnTo>
                <a:close/>
              </a:path>
              <a:path w="3429634" h="1479550">
                <a:moveTo>
                  <a:pt x="2184527" y="1443863"/>
                </a:moveTo>
                <a:lnTo>
                  <a:pt x="2183256" y="1468246"/>
                </a:lnTo>
                <a:lnTo>
                  <a:pt x="2256408" y="1472057"/>
                </a:lnTo>
                <a:lnTo>
                  <a:pt x="2257679" y="1447672"/>
                </a:lnTo>
                <a:lnTo>
                  <a:pt x="2184527" y="1443863"/>
                </a:lnTo>
                <a:close/>
              </a:path>
              <a:path w="3429634" h="1479550">
                <a:moveTo>
                  <a:pt x="2281935" y="1448943"/>
                </a:moveTo>
                <a:lnTo>
                  <a:pt x="2280665" y="1473327"/>
                </a:lnTo>
                <a:lnTo>
                  <a:pt x="2315336" y="1475104"/>
                </a:lnTo>
                <a:lnTo>
                  <a:pt x="2354072" y="1476120"/>
                </a:lnTo>
                <a:lnTo>
                  <a:pt x="2354706" y="1451737"/>
                </a:lnTo>
                <a:lnTo>
                  <a:pt x="2316606" y="1450720"/>
                </a:lnTo>
                <a:lnTo>
                  <a:pt x="2281935" y="1448943"/>
                </a:lnTo>
                <a:close/>
              </a:path>
              <a:path w="3429634" h="1479550">
                <a:moveTo>
                  <a:pt x="2379090" y="1452499"/>
                </a:moveTo>
                <a:lnTo>
                  <a:pt x="2378455" y="1476883"/>
                </a:lnTo>
                <a:lnTo>
                  <a:pt x="2450083" y="1478788"/>
                </a:lnTo>
                <a:lnTo>
                  <a:pt x="2451861" y="1478788"/>
                </a:lnTo>
                <a:lnTo>
                  <a:pt x="2451988" y="1454403"/>
                </a:lnTo>
                <a:lnTo>
                  <a:pt x="2450719" y="1454403"/>
                </a:lnTo>
                <a:lnTo>
                  <a:pt x="2379090" y="1452499"/>
                </a:lnTo>
                <a:close/>
              </a:path>
              <a:path w="3429634" h="1479550">
                <a:moveTo>
                  <a:pt x="2476373" y="1454531"/>
                </a:moveTo>
                <a:lnTo>
                  <a:pt x="2476246" y="1478914"/>
                </a:lnTo>
                <a:lnTo>
                  <a:pt x="2549398" y="1479295"/>
                </a:lnTo>
                <a:lnTo>
                  <a:pt x="2549525" y="1454912"/>
                </a:lnTo>
                <a:lnTo>
                  <a:pt x="2476373" y="1454531"/>
                </a:lnTo>
                <a:close/>
              </a:path>
              <a:path w="3429634" h="1479550">
                <a:moveTo>
                  <a:pt x="2573908" y="1454912"/>
                </a:moveTo>
                <a:lnTo>
                  <a:pt x="2573781" y="1479295"/>
                </a:lnTo>
                <a:lnTo>
                  <a:pt x="2586608" y="1479422"/>
                </a:lnTo>
                <a:lnTo>
                  <a:pt x="2647187" y="1478660"/>
                </a:lnTo>
                <a:lnTo>
                  <a:pt x="2646818" y="1455039"/>
                </a:lnTo>
                <a:lnTo>
                  <a:pt x="2586735" y="1455039"/>
                </a:lnTo>
                <a:lnTo>
                  <a:pt x="2573908" y="1454912"/>
                </a:lnTo>
                <a:close/>
              </a:path>
              <a:path w="3429634" h="1479550">
                <a:moveTo>
                  <a:pt x="2646806" y="1454277"/>
                </a:moveTo>
                <a:lnTo>
                  <a:pt x="2586735" y="1455039"/>
                </a:lnTo>
                <a:lnTo>
                  <a:pt x="2646818" y="1455039"/>
                </a:lnTo>
                <a:lnTo>
                  <a:pt x="2646806" y="1454277"/>
                </a:lnTo>
                <a:close/>
              </a:path>
              <a:path w="3429634" h="1479550">
                <a:moveTo>
                  <a:pt x="2744215" y="1452626"/>
                </a:moveTo>
                <a:lnTo>
                  <a:pt x="2724530" y="1453260"/>
                </a:lnTo>
                <a:lnTo>
                  <a:pt x="2671190" y="1453895"/>
                </a:lnTo>
                <a:lnTo>
                  <a:pt x="2671572" y="1478279"/>
                </a:lnTo>
                <a:lnTo>
                  <a:pt x="2724784" y="1477645"/>
                </a:lnTo>
                <a:lnTo>
                  <a:pt x="2744851" y="1477009"/>
                </a:lnTo>
                <a:lnTo>
                  <a:pt x="2744215" y="1452626"/>
                </a:lnTo>
                <a:close/>
              </a:path>
              <a:path w="3429634" h="1479550">
                <a:moveTo>
                  <a:pt x="2841625" y="1449958"/>
                </a:moveTo>
                <a:lnTo>
                  <a:pt x="2768600" y="1451990"/>
                </a:lnTo>
                <a:lnTo>
                  <a:pt x="2769234" y="1476375"/>
                </a:lnTo>
                <a:lnTo>
                  <a:pt x="2842386" y="1474343"/>
                </a:lnTo>
                <a:lnTo>
                  <a:pt x="2841625" y="1449958"/>
                </a:lnTo>
                <a:close/>
              </a:path>
              <a:path w="3429634" h="1479550">
                <a:moveTo>
                  <a:pt x="2939033" y="1446402"/>
                </a:moveTo>
                <a:lnTo>
                  <a:pt x="2865881" y="1449196"/>
                </a:lnTo>
                <a:lnTo>
                  <a:pt x="2866898" y="1473581"/>
                </a:lnTo>
                <a:lnTo>
                  <a:pt x="2939923" y="1470787"/>
                </a:lnTo>
                <a:lnTo>
                  <a:pt x="2939033" y="1446402"/>
                </a:lnTo>
                <a:close/>
              </a:path>
              <a:path w="3429634" h="1479550">
                <a:moveTo>
                  <a:pt x="3036315" y="1442339"/>
                </a:moveTo>
                <a:lnTo>
                  <a:pt x="2963418" y="1445514"/>
                </a:lnTo>
                <a:lnTo>
                  <a:pt x="2964306" y="1469897"/>
                </a:lnTo>
                <a:lnTo>
                  <a:pt x="3037585" y="1466722"/>
                </a:lnTo>
                <a:lnTo>
                  <a:pt x="3036315" y="1442339"/>
                </a:lnTo>
                <a:close/>
              </a:path>
              <a:path w="3429634" h="1479550">
                <a:moveTo>
                  <a:pt x="3133725" y="1437639"/>
                </a:moveTo>
                <a:lnTo>
                  <a:pt x="3060700" y="1441195"/>
                </a:lnTo>
                <a:lnTo>
                  <a:pt x="3061843" y="1465579"/>
                </a:lnTo>
                <a:lnTo>
                  <a:pt x="3134995" y="1462024"/>
                </a:lnTo>
                <a:lnTo>
                  <a:pt x="3133725" y="1437639"/>
                </a:lnTo>
                <a:close/>
              </a:path>
              <a:path w="3429634" h="1479550">
                <a:moveTo>
                  <a:pt x="3231133" y="1432433"/>
                </a:moveTo>
                <a:lnTo>
                  <a:pt x="3158108" y="1436496"/>
                </a:lnTo>
                <a:lnTo>
                  <a:pt x="3159379" y="1460753"/>
                </a:lnTo>
                <a:lnTo>
                  <a:pt x="3232404" y="1456816"/>
                </a:lnTo>
                <a:lnTo>
                  <a:pt x="3231133" y="1432433"/>
                </a:lnTo>
                <a:close/>
              </a:path>
              <a:path w="3429634" h="1479550">
                <a:moveTo>
                  <a:pt x="3328543" y="1427099"/>
                </a:moveTo>
                <a:lnTo>
                  <a:pt x="3255390" y="1431163"/>
                </a:lnTo>
                <a:lnTo>
                  <a:pt x="3256787" y="1455420"/>
                </a:lnTo>
                <a:lnTo>
                  <a:pt x="3329812" y="1451483"/>
                </a:lnTo>
                <a:lnTo>
                  <a:pt x="3328543" y="1427099"/>
                </a:lnTo>
                <a:close/>
              </a:path>
              <a:path w="3429634" h="1479550">
                <a:moveTo>
                  <a:pt x="3409450" y="1425066"/>
                </a:moveTo>
                <a:lnTo>
                  <a:pt x="3365500" y="1425066"/>
                </a:lnTo>
                <a:lnTo>
                  <a:pt x="3366897" y="1449451"/>
                </a:lnTo>
                <a:lnTo>
                  <a:pt x="3354209" y="1450085"/>
                </a:lnTo>
                <a:lnTo>
                  <a:pt x="3355594" y="1475994"/>
                </a:lnTo>
                <a:lnTo>
                  <a:pt x="3429634" y="1433829"/>
                </a:lnTo>
                <a:lnTo>
                  <a:pt x="3409450" y="1425066"/>
                </a:lnTo>
                <a:close/>
              </a:path>
              <a:path w="3429634" h="1479550">
                <a:moveTo>
                  <a:pt x="3352913" y="1425822"/>
                </a:moveTo>
                <a:lnTo>
                  <a:pt x="3354197" y="1450085"/>
                </a:lnTo>
                <a:lnTo>
                  <a:pt x="3352913" y="1425822"/>
                </a:lnTo>
                <a:close/>
              </a:path>
              <a:path w="3429634" h="1479550">
                <a:moveTo>
                  <a:pt x="3365500" y="1425066"/>
                </a:moveTo>
                <a:lnTo>
                  <a:pt x="3352914" y="1425828"/>
                </a:lnTo>
                <a:lnTo>
                  <a:pt x="3354209" y="1450085"/>
                </a:lnTo>
                <a:lnTo>
                  <a:pt x="3366897" y="1449451"/>
                </a:lnTo>
                <a:lnTo>
                  <a:pt x="3365500" y="1425066"/>
                </a:lnTo>
                <a:close/>
              </a:path>
              <a:path w="3429634" h="1479550">
                <a:moveTo>
                  <a:pt x="3351529" y="1399920"/>
                </a:moveTo>
                <a:lnTo>
                  <a:pt x="3352913" y="1425822"/>
                </a:lnTo>
                <a:lnTo>
                  <a:pt x="3365500" y="1425066"/>
                </a:lnTo>
                <a:lnTo>
                  <a:pt x="3409450" y="1425066"/>
                </a:lnTo>
                <a:lnTo>
                  <a:pt x="3351529" y="1399920"/>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p:nvPr/>
        </p:nvSpPr>
        <p:spPr>
          <a:xfrm>
            <a:off x="6380353" y="2711195"/>
            <a:ext cx="1334135" cy="1696720"/>
          </a:xfrm>
          <a:custGeom>
            <a:avLst/>
            <a:gdLst/>
            <a:ahLst/>
            <a:cxnLst/>
            <a:rect l="l" t="t" r="r" b="b"/>
            <a:pathLst>
              <a:path w="1334134" h="1696720">
                <a:moveTo>
                  <a:pt x="22606" y="0"/>
                </a:moveTo>
                <a:lnTo>
                  <a:pt x="0" y="9143"/>
                </a:lnTo>
                <a:lnTo>
                  <a:pt x="27050" y="77088"/>
                </a:lnTo>
                <a:lnTo>
                  <a:pt x="49657" y="68071"/>
                </a:lnTo>
                <a:lnTo>
                  <a:pt x="22606" y="0"/>
                </a:lnTo>
                <a:close/>
              </a:path>
              <a:path w="1334134" h="1696720">
                <a:moveTo>
                  <a:pt x="58674" y="90677"/>
                </a:moveTo>
                <a:lnTo>
                  <a:pt x="36068" y="99694"/>
                </a:lnTo>
                <a:lnTo>
                  <a:pt x="36449" y="100711"/>
                </a:lnTo>
                <a:lnTo>
                  <a:pt x="63246" y="167639"/>
                </a:lnTo>
                <a:lnTo>
                  <a:pt x="85851" y="158623"/>
                </a:lnTo>
                <a:lnTo>
                  <a:pt x="59055" y="91693"/>
                </a:lnTo>
                <a:lnTo>
                  <a:pt x="58674" y="90677"/>
                </a:lnTo>
                <a:close/>
              </a:path>
              <a:path w="1334134" h="1696720">
                <a:moveTo>
                  <a:pt x="94869" y="181228"/>
                </a:moveTo>
                <a:lnTo>
                  <a:pt x="72262" y="190245"/>
                </a:lnTo>
                <a:lnTo>
                  <a:pt x="72898" y="192024"/>
                </a:lnTo>
                <a:lnTo>
                  <a:pt x="99568" y="258190"/>
                </a:lnTo>
                <a:lnTo>
                  <a:pt x="122174" y="249046"/>
                </a:lnTo>
                <a:lnTo>
                  <a:pt x="95631" y="183006"/>
                </a:lnTo>
                <a:lnTo>
                  <a:pt x="94869" y="181228"/>
                </a:lnTo>
                <a:close/>
              </a:path>
              <a:path w="1334134" h="1696720">
                <a:moveTo>
                  <a:pt x="131318" y="271652"/>
                </a:moveTo>
                <a:lnTo>
                  <a:pt x="108585" y="280796"/>
                </a:lnTo>
                <a:lnTo>
                  <a:pt x="109474" y="282828"/>
                </a:lnTo>
                <a:lnTo>
                  <a:pt x="136271" y="348614"/>
                </a:lnTo>
                <a:lnTo>
                  <a:pt x="158876" y="339343"/>
                </a:lnTo>
                <a:lnTo>
                  <a:pt x="132079" y="273684"/>
                </a:lnTo>
                <a:lnTo>
                  <a:pt x="131318" y="271652"/>
                </a:lnTo>
                <a:close/>
              </a:path>
              <a:path w="1334134" h="1696720">
                <a:moveTo>
                  <a:pt x="168148" y="361950"/>
                </a:moveTo>
                <a:lnTo>
                  <a:pt x="145542" y="371220"/>
                </a:lnTo>
                <a:lnTo>
                  <a:pt x="146176" y="372617"/>
                </a:lnTo>
                <a:lnTo>
                  <a:pt x="173608" y="438784"/>
                </a:lnTo>
                <a:lnTo>
                  <a:pt x="196215" y="429387"/>
                </a:lnTo>
                <a:lnTo>
                  <a:pt x="168655" y="363474"/>
                </a:lnTo>
                <a:lnTo>
                  <a:pt x="168148" y="361950"/>
                </a:lnTo>
                <a:close/>
              </a:path>
              <a:path w="1334134" h="1696720">
                <a:moveTo>
                  <a:pt x="205486" y="451992"/>
                </a:moveTo>
                <a:lnTo>
                  <a:pt x="183006" y="461263"/>
                </a:lnTo>
                <a:lnTo>
                  <a:pt x="211708" y="528701"/>
                </a:lnTo>
                <a:lnTo>
                  <a:pt x="234188" y="519175"/>
                </a:lnTo>
                <a:lnTo>
                  <a:pt x="205486" y="451992"/>
                </a:lnTo>
                <a:close/>
              </a:path>
              <a:path w="1334134" h="1696720">
                <a:moveTo>
                  <a:pt x="243713" y="541401"/>
                </a:moveTo>
                <a:lnTo>
                  <a:pt x="221361" y="551179"/>
                </a:lnTo>
                <a:lnTo>
                  <a:pt x="250698" y="618236"/>
                </a:lnTo>
                <a:lnTo>
                  <a:pt x="272923" y="608456"/>
                </a:lnTo>
                <a:lnTo>
                  <a:pt x="243713" y="541401"/>
                </a:lnTo>
                <a:close/>
              </a:path>
              <a:path w="1334134" h="1696720">
                <a:moveTo>
                  <a:pt x="282701" y="630681"/>
                </a:moveTo>
                <a:lnTo>
                  <a:pt x="260476" y="640714"/>
                </a:lnTo>
                <a:lnTo>
                  <a:pt x="276098" y="675639"/>
                </a:lnTo>
                <a:lnTo>
                  <a:pt x="290575" y="707389"/>
                </a:lnTo>
                <a:lnTo>
                  <a:pt x="312800" y="697356"/>
                </a:lnTo>
                <a:lnTo>
                  <a:pt x="298323" y="665733"/>
                </a:lnTo>
                <a:lnTo>
                  <a:pt x="282701" y="630681"/>
                </a:lnTo>
                <a:close/>
              </a:path>
              <a:path w="1334134" h="1696720">
                <a:moveTo>
                  <a:pt x="322961" y="719454"/>
                </a:moveTo>
                <a:lnTo>
                  <a:pt x="300863" y="729614"/>
                </a:lnTo>
                <a:lnTo>
                  <a:pt x="313817" y="757554"/>
                </a:lnTo>
                <a:lnTo>
                  <a:pt x="331977" y="795908"/>
                </a:lnTo>
                <a:lnTo>
                  <a:pt x="354075" y="785494"/>
                </a:lnTo>
                <a:lnTo>
                  <a:pt x="335915" y="747394"/>
                </a:lnTo>
                <a:lnTo>
                  <a:pt x="322961" y="719454"/>
                </a:lnTo>
                <a:close/>
              </a:path>
              <a:path w="1334134" h="1696720">
                <a:moveTo>
                  <a:pt x="364617" y="807338"/>
                </a:moveTo>
                <a:lnTo>
                  <a:pt x="342646" y="818006"/>
                </a:lnTo>
                <a:lnTo>
                  <a:pt x="351917" y="837056"/>
                </a:lnTo>
                <a:lnTo>
                  <a:pt x="371094" y="875664"/>
                </a:lnTo>
                <a:lnTo>
                  <a:pt x="375285" y="883792"/>
                </a:lnTo>
                <a:lnTo>
                  <a:pt x="397001" y="872743"/>
                </a:lnTo>
                <a:lnTo>
                  <a:pt x="392938" y="864742"/>
                </a:lnTo>
                <a:lnTo>
                  <a:pt x="373888" y="826388"/>
                </a:lnTo>
                <a:lnTo>
                  <a:pt x="364617" y="807338"/>
                </a:lnTo>
                <a:close/>
              </a:path>
              <a:path w="1334134" h="1696720">
                <a:moveTo>
                  <a:pt x="408050" y="894461"/>
                </a:moveTo>
                <a:lnTo>
                  <a:pt x="386333" y="905509"/>
                </a:lnTo>
                <a:lnTo>
                  <a:pt x="390398" y="913510"/>
                </a:lnTo>
                <a:lnTo>
                  <a:pt x="409828" y="950594"/>
                </a:lnTo>
                <a:lnTo>
                  <a:pt x="420497" y="970533"/>
                </a:lnTo>
                <a:lnTo>
                  <a:pt x="441960" y="958976"/>
                </a:lnTo>
                <a:lnTo>
                  <a:pt x="431419" y="939291"/>
                </a:lnTo>
                <a:lnTo>
                  <a:pt x="412115" y="902461"/>
                </a:lnTo>
                <a:lnTo>
                  <a:pt x="408050" y="894461"/>
                </a:lnTo>
                <a:close/>
              </a:path>
              <a:path w="1334134" h="1696720">
                <a:moveTo>
                  <a:pt x="453517" y="980185"/>
                </a:moveTo>
                <a:lnTo>
                  <a:pt x="432180" y="991996"/>
                </a:lnTo>
                <a:lnTo>
                  <a:pt x="448945" y="1022222"/>
                </a:lnTo>
                <a:lnTo>
                  <a:pt x="468122" y="1055877"/>
                </a:lnTo>
                <a:lnTo>
                  <a:pt x="489330" y="1043812"/>
                </a:lnTo>
                <a:lnTo>
                  <a:pt x="470153" y="1010411"/>
                </a:lnTo>
                <a:lnTo>
                  <a:pt x="453517" y="980185"/>
                </a:lnTo>
                <a:close/>
              </a:path>
              <a:path w="1334134" h="1696720">
                <a:moveTo>
                  <a:pt x="501650" y="1064640"/>
                </a:moveTo>
                <a:lnTo>
                  <a:pt x="480695" y="1077086"/>
                </a:lnTo>
                <a:lnTo>
                  <a:pt x="488442" y="1090295"/>
                </a:lnTo>
                <a:lnTo>
                  <a:pt x="508507" y="1122679"/>
                </a:lnTo>
                <a:lnTo>
                  <a:pt x="519302" y="1139697"/>
                </a:lnTo>
                <a:lnTo>
                  <a:pt x="539876" y="1126489"/>
                </a:lnTo>
                <a:lnTo>
                  <a:pt x="529208" y="1109979"/>
                </a:lnTo>
                <a:lnTo>
                  <a:pt x="509524" y="1077848"/>
                </a:lnTo>
                <a:lnTo>
                  <a:pt x="501650" y="1064640"/>
                </a:lnTo>
                <a:close/>
              </a:path>
              <a:path w="1334134" h="1696720">
                <a:moveTo>
                  <a:pt x="552957" y="1146809"/>
                </a:moveTo>
                <a:lnTo>
                  <a:pt x="532638" y="1160271"/>
                </a:lnTo>
                <a:lnTo>
                  <a:pt x="548894" y="1184655"/>
                </a:lnTo>
                <a:lnTo>
                  <a:pt x="569341" y="1214120"/>
                </a:lnTo>
                <a:lnTo>
                  <a:pt x="574421" y="1220977"/>
                </a:lnTo>
                <a:lnTo>
                  <a:pt x="594105" y="1206627"/>
                </a:lnTo>
                <a:lnTo>
                  <a:pt x="589406" y="1200149"/>
                </a:lnTo>
                <a:lnTo>
                  <a:pt x="569214" y="1171193"/>
                </a:lnTo>
                <a:lnTo>
                  <a:pt x="552957" y="1146809"/>
                </a:lnTo>
                <a:close/>
              </a:path>
              <a:path w="1334134" h="1696720">
                <a:moveTo>
                  <a:pt x="608583" y="1226311"/>
                </a:moveTo>
                <a:lnTo>
                  <a:pt x="588899" y="1240662"/>
                </a:lnTo>
                <a:lnTo>
                  <a:pt x="590042" y="1242314"/>
                </a:lnTo>
                <a:lnTo>
                  <a:pt x="610743" y="1269237"/>
                </a:lnTo>
                <a:lnTo>
                  <a:pt x="631698" y="1295145"/>
                </a:lnTo>
                <a:lnTo>
                  <a:pt x="634746" y="1298828"/>
                </a:lnTo>
                <a:lnTo>
                  <a:pt x="653288" y="1282953"/>
                </a:lnTo>
                <a:lnTo>
                  <a:pt x="650621" y="1279778"/>
                </a:lnTo>
                <a:lnTo>
                  <a:pt x="630047" y="1254378"/>
                </a:lnTo>
                <a:lnTo>
                  <a:pt x="609726" y="1227962"/>
                </a:lnTo>
                <a:lnTo>
                  <a:pt x="608583" y="1226311"/>
                </a:lnTo>
                <a:close/>
              </a:path>
              <a:path w="1334134" h="1696720">
                <a:moveTo>
                  <a:pt x="669163" y="1301495"/>
                </a:moveTo>
                <a:lnTo>
                  <a:pt x="650621" y="1317370"/>
                </a:lnTo>
                <a:lnTo>
                  <a:pt x="652779" y="1319783"/>
                </a:lnTo>
                <a:lnTo>
                  <a:pt x="674116" y="1343278"/>
                </a:lnTo>
                <a:lnTo>
                  <a:pt x="695451" y="1365630"/>
                </a:lnTo>
                <a:lnTo>
                  <a:pt x="701294" y="1371472"/>
                </a:lnTo>
                <a:lnTo>
                  <a:pt x="718439" y="1354201"/>
                </a:lnTo>
                <a:lnTo>
                  <a:pt x="713104" y="1348739"/>
                </a:lnTo>
                <a:lnTo>
                  <a:pt x="692150" y="1326895"/>
                </a:lnTo>
                <a:lnTo>
                  <a:pt x="671322" y="1303908"/>
                </a:lnTo>
                <a:lnTo>
                  <a:pt x="669163" y="1301495"/>
                </a:lnTo>
                <a:close/>
              </a:path>
              <a:path w="1334134" h="1696720">
                <a:moveTo>
                  <a:pt x="735583" y="1370964"/>
                </a:moveTo>
                <a:lnTo>
                  <a:pt x="718947" y="1388871"/>
                </a:lnTo>
                <a:lnTo>
                  <a:pt x="738631" y="1407286"/>
                </a:lnTo>
                <a:lnTo>
                  <a:pt x="760602" y="1426590"/>
                </a:lnTo>
                <a:lnTo>
                  <a:pt x="774192" y="1437893"/>
                </a:lnTo>
                <a:lnTo>
                  <a:pt x="789686" y="1419097"/>
                </a:lnTo>
                <a:lnTo>
                  <a:pt x="776731" y="1408302"/>
                </a:lnTo>
                <a:lnTo>
                  <a:pt x="755269" y="1389506"/>
                </a:lnTo>
                <a:lnTo>
                  <a:pt x="735583" y="1370964"/>
                </a:lnTo>
                <a:close/>
              </a:path>
              <a:path w="1334134" h="1696720">
                <a:moveTo>
                  <a:pt x="808481" y="1434210"/>
                </a:moveTo>
                <a:lnTo>
                  <a:pt x="793369" y="1453387"/>
                </a:lnTo>
                <a:lnTo>
                  <a:pt x="804545" y="1462151"/>
                </a:lnTo>
                <a:lnTo>
                  <a:pt x="826643" y="1478660"/>
                </a:lnTo>
                <a:lnTo>
                  <a:pt x="848995" y="1494281"/>
                </a:lnTo>
                <a:lnTo>
                  <a:pt x="853313" y="1497076"/>
                </a:lnTo>
                <a:lnTo>
                  <a:pt x="866648" y="1476755"/>
                </a:lnTo>
                <a:lnTo>
                  <a:pt x="862965" y="1474342"/>
                </a:lnTo>
                <a:lnTo>
                  <a:pt x="841248" y="1459102"/>
                </a:lnTo>
                <a:lnTo>
                  <a:pt x="819657" y="1442973"/>
                </a:lnTo>
                <a:lnTo>
                  <a:pt x="808481" y="1434210"/>
                </a:lnTo>
                <a:close/>
              </a:path>
              <a:path w="1334134" h="1696720">
                <a:moveTo>
                  <a:pt x="886841" y="1489964"/>
                </a:moveTo>
                <a:lnTo>
                  <a:pt x="873887" y="1510537"/>
                </a:lnTo>
                <a:lnTo>
                  <a:pt x="893952" y="1523110"/>
                </a:lnTo>
                <a:lnTo>
                  <a:pt x="916431" y="1536318"/>
                </a:lnTo>
                <a:lnTo>
                  <a:pt x="937514" y="1548002"/>
                </a:lnTo>
                <a:lnTo>
                  <a:pt x="949325" y="1526666"/>
                </a:lnTo>
                <a:lnTo>
                  <a:pt x="928751" y="1515236"/>
                </a:lnTo>
                <a:lnTo>
                  <a:pt x="906779" y="1502409"/>
                </a:lnTo>
                <a:lnTo>
                  <a:pt x="886841" y="1489964"/>
                </a:lnTo>
                <a:close/>
              </a:path>
              <a:path w="1334134" h="1696720">
                <a:moveTo>
                  <a:pt x="970661" y="1537842"/>
                </a:moveTo>
                <a:lnTo>
                  <a:pt x="959357" y="1559559"/>
                </a:lnTo>
                <a:lnTo>
                  <a:pt x="984630" y="1572005"/>
                </a:lnTo>
                <a:lnTo>
                  <a:pt x="1007491" y="1582801"/>
                </a:lnTo>
                <a:lnTo>
                  <a:pt x="1026414" y="1590928"/>
                </a:lnTo>
                <a:lnTo>
                  <a:pt x="1036066" y="1568577"/>
                </a:lnTo>
                <a:lnTo>
                  <a:pt x="1017904" y="1560829"/>
                </a:lnTo>
                <a:lnTo>
                  <a:pt x="995426" y="1550161"/>
                </a:lnTo>
                <a:lnTo>
                  <a:pt x="973201" y="1539239"/>
                </a:lnTo>
                <a:lnTo>
                  <a:pt x="970661" y="1537842"/>
                </a:lnTo>
                <a:close/>
              </a:path>
              <a:path w="1334134" h="1696720">
                <a:moveTo>
                  <a:pt x="1058418" y="1578228"/>
                </a:moveTo>
                <a:lnTo>
                  <a:pt x="1048766" y="1600580"/>
                </a:lnTo>
                <a:lnTo>
                  <a:pt x="1053338" y="1602485"/>
                </a:lnTo>
                <a:lnTo>
                  <a:pt x="1099312" y="1620520"/>
                </a:lnTo>
                <a:lnTo>
                  <a:pt x="1117853" y="1627123"/>
                </a:lnTo>
                <a:lnTo>
                  <a:pt x="1125981" y="1604009"/>
                </a:lnTo>
                <a:lnTo>
                  <a:pt x="1108202" y="1597786"/>
                </a:lnTo>
                <a:lnTo>
                  <a:pt x="1062863" y="1580133"/>
                </a:lnTo>
                <a:lnTo>
                  <a:pt x="1058418" y="1578228"/>
                </a:lnTo>
                <a:close/>
              </a:path>
              <a:path w="1334134" h="1696720">
                <a:moveTo>
                  <a:pt x="1148969" y="1612137"/>
                </a:moveTo>
                <a:lnTo>
                  <a:pt x="1140841" y="1635124"/>
                </a:lnTo>
                <a:lnTo>
                  <a:pt x="1145540" y="1636902"/>
                </a:lnTo>
                <a:lnTo>
                  <a:pt x="1191768" y="1651889"/>
                </a:lnTo>
                <a:lnTo>
                  <a:pt x="1210945" y="1657730"/>
                </a:lnTo>
                <a:lnTo>
                  <a:pt x="1218056" y="1634489"/>
                </a:lnTo>
                <a:lnTo>
                  <a:pt x="1199261" y="1628647"/>
                </a:lnTo>
                <a:lnTo>
                  <a:pt x="1153668" y="1613789"/>
                </a:lnTo>
                <a:lnTo>
                  <a:pt x="1148969" y="1612137"/>
                </a:lnTo>
                <a:close/>
              </a:path>
              <a:path w="1334134" h="1696720">
                <a:moveTo>
                  <a:pt x="1257572" y="1671658"/>
                </a:moveTo>
                <a:lnTo>
                  <a:pt x="1250442" y="1696592"/>
                </a:lnTo>
                <a:lnTo>
                  <a:pt x="1334135" y="1680971"/>
                </a:lnTo>
                <a:lnTo>
                  <a:pt x="1327778" y="1675129"/>
                </a:lnTo>
                <a:lnTo>
                  <a:pt x="1269746" y="1675129"/>
                </a:lnTo>
                <a:lnTo>
                  <a:pt x="1257572" y="1671658"/>
                </a:lnTo>
                <a:close/>
              </a:path>
              <a:path w="1334134" h="1696720">
                <a:moveTo>
                  <a:pt x="1264273" y="1648224"/>
                </a:moveTo>
                <a:lnTo>
                  <a:pt x="1257572" y="1671658"/>
                </a:lnTo>
                <a:lnTo>
                  <a:pt x="1269746" y="1675129"/>
                </a:lnTo>
                <a:lnTo>
                  <a:pt x="1276477" y="1651761"/>
                </a:lnTo>
                <a:lnTo>
                  <a:pt x="1264273" y="1648224"/>
                </a:lnTo>
                <a:close/>
              </a:path>
              <a:path w="1334134" h="1696720">
                <a:moveTo>
                  <a:pt x="1271397" y="1623314"/>
                </a:moveTo>
                <a:lnTo>
                  <a:pt x="1264273" y="1648224"/>
                </a:lnTo>
                <a:lnTo>
                  <a:pt x="1276477" y="1651761"/>
                </a:lnTo>
                <a:lnTo>
                  <a:pt x="1269746" y="1675129"/>
                </a:lnTo>
                <a:lnTo>
                  <a:pt x="1327778" y="1675129"/>
                </a:lnTo>
                <a:lnTo>
                  <a:pt x="1271397" y="1623314"/>
                </a:lnTo>
                <a:close/>
              </a:path>
              <a:path w="1334134" h="1696720">
                <a:moveTo>
                  <a:pt x="1241425" y="1641602"/>
                </a:moveTo>
                <a:lnTo>
                  <a:pt x="1234313" y="1664842"/>
                </a:lnTo>
                <a:lnTo>
                  <a:pt x="1238123" y="1666112"/>
                </a:lnTo>
                <a:lnTo>
                  <a:pt x="1257572" y="1671658"/>
                </a:lnTo>
                <a:lnTo>
                  <a:pt x="1264273" y="1648224"/>
                </a:lnTo>
                <a:lnTo>
                  <a:pt x="1241425" y="1641602"/>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8"/>
          <p:cNvSpPr/>
          <p:nvPr/>
        </p:nvSpPr>
        <p:spPr>
          <a:xfrm>
            <a:off x="5755640" y="4233798"/>
            <a:ext cx="1873885" cy="338455"/>
          </a:xfrm>
          <a:custGeom>
            <a:avLst/>
            <a:gdLst/>
            <a:ahLst/>
            <a:cxnLst/>
            <a:rect l="l" t="t" r="r" b="b"/>
            <a:pathLst>
              <a:path w="1873884" h="338454">
                <a:moveTo>
                  <a:pt x="54990" y="185419"/>
                </a:moveTo>
                <a:lnTo>
                  <a:pt x="50926" y="188849"/>
                </a:lnTo>
                <a:lnTo>
                  <a:pt x="0" y="234187"/>
                </a:lnTo>
                <a:lnTo>
                  <a:pt x="16256" y="252349"/>
                </a:lnTo>
                <a:lnTo>
                  <a:pt x="67183" y="207009"/>
                </a:lnTo>
                <a:lnTo>
                  <a:pt x="70738" y="203962"/>
                </a:lnTo>
                <a:lnTo>
                  <a:pt x="54990" y="185419"/>
                </a:lnTo>
                <a:close/>
              </a:path>
              <a:path w="1873884" h="338454">
                <a:moveTo>
                  <a:pt x="131825" y="124206"/>
                </a:moveTo>
                <a:lnTo>
                  <a:pt x="104394" y="144652"/>
                </a:lnTo>
                <a:lnTo>
                  <a:pt x="77343" y="166496"/>
                </a:lnTo>
                <a:lnTo>
                  <a:pt x="73533" y="169671"/>
                </a:lnTo>
                <a:lnTo>
                  <a:pt x="89281" y="188213"/>
                </a:lnTo>
                <a:lnTo>
                  <a:pt x="119634" y="163702"/>
                </a:lnTo>
                <a:lnTo>
                  <a:pt x="146431" y="143763"/>
                </a:lnTo>
                <a:lnTo>
                  <a:pt x="131825" y="124206"/>
                </a:lnTo>
                <a:close/>
              </a:path>
              <a:path w="1873884" h="338454">
                <a:moveTo>
                  <a:pt x="216535" y="72389"/>
                </a:moveTo>
                <a:lnTo>
                  <a:pt x="193548" y="84581"/>
                </a:lnTo>
                <a:lnTo>
                  <a:pt x="162306" y="103505"/>
                </a:lnTo>
                <a:lnTo>
                  <a:pt x="152400" y="110236"/>
                </a:lnTo>
                <a:lnTo>
                  <a:pt x="166115" y="130301"/>
                </a:lnTo>
                <a:lnTo>
                  <a:pt x="175895" y="123698"/>
                </a:lnTo>
                <a:lnTo>
                  <a:pt x="206121" y="105409"/>
                </a:lnTo>
                <a:lnTo>
                  <a:pt x="227964" y="93980"/>
                </a:lnTo>
                <a:lnTo>
                  <a:pt x="216535" y="72389"/>
                </a:lnTo>
                <a:close/>
              </a:path>
              <a:path w="1873884" h="338454">
                <a:moveTo>
                  <a:pt x="308483" y="33908"/>
                </a:moveTo>
                <a:lnTo>
                  <a:pt x="262127" y="50926"/>
                </a:lnTo>
                <a:lnTo>
                  <a:pt x="238887" y="61213"/>
                </a:lnTo>
                <a:lnTo>
                  <a:pt x="249300" y="83184"/>
                </a:lnTo>
                <a:lnTo>
                  <a:pt x="254635" y="80644"/>
                </a:lnTo>
                <a:lnTo>
                  <a:pt x="271907" y="73278"/>
                </a:lnTo>
                <a:lnTo>
                  <a:pt x="289560" y="66293"/>
                </a:lnTo>
                <a:lnTo>
                  <a:pt x="307975" y="59689"/>
                </a:lnTo>
                <a:lnTo>
                  <a:pt x="315849" y="57150"/>
                </a:lnTo>
                <a:lnTo>
                  <a:pt x="308483" y="33908"/>
                </a:lnTo>
                <a:close/>
              </a:path>
              <a:path w="1873884" h="338454">
                <a:moveTo>
                  <a:pt x="404749" y="10794"/>
                </a:moveTo>
                <a:lnTo>
                  <a:pt x="383286" y="14605"/>
                </a:lnTo>
                <a:lnTo>
                  <a:pt x="361314" y="19303"/>
                </a:lnTo>
                <a:lnTo>
                  <a:pt x="340106" y="24511"/>
                </a:lnTo>
                <a:lnTo>
                  <a:pt x="332105" y="26796"/>
                </a:lnTo>
                <a:lnTo>
                  <a:pt x="338836" y="50292"/>
                </a:lnTo>
                <a:lnTo>
                  <a:pt x="346710" y="48006"/>
                </a:lnTo>
                <a:lnTo>
                  <a:pt x="367157" y="42925"/>
                </a:lnTo>
                <a:lnTo>
                  <a:pt x="388365" y="38481"/>
                </a:lnTo>
                <a:lnTo>
                  <a:pt x="409067" y="34798"/>
                </a:lnTo>
                <a:lnTo>
                  <a:pt x="404749" y="10794"/>
                </a:lnTo>
                <a:close/>
              </a:path>
              <a:path w="1873884" h="338454">
                <a:moveTo>
                  <a:pt x="503174" y="762"/>
                </a:moveTo>
                <a:lnTo>
                  <a:pt x="478917" y="2158"/>
                </a:lnTo>
                <a:lnTo>
                  <a:pt x="453771" y="4190"/>
                </a:lnTo>
                <a:lnTo>
                  <a:pt x="429387" y="7112"/>
                </a:lnTo>
                <a:lnTo>
                  <a:pt x="432815" y="31242"/>
                </a:lnTo>
                <a:lnTo>
                  <a:pt x="433070" y="31114"/>
                </a:lnTo>
                <a:lnTo>
                  <a:pt x="456564" y="28448"/>
                </a:lnTo>
                <a:lnTo>
                  <a:pt x="481075" y="26415"/>
                </a:lnTo>
                <a:lnTo>
                  <a:pt x="504571" y="25145"/>
                </a:lnTo>
                <a:lnTo>
                  <a:pt x="503174" y="762"/>
                </a:lnTo>
                <a:close/>
              </a:path>
              <a:path w="1873884" h="338454">
                <a:moveTo>
                  <a:pt x="600783" y="24383"/>
                </a:moveTo>
                <a:lnTo>
                  <a:pt x="559943" y="24383"/>
                </a:lnTo>
                <a:lnTo>
                  <a:pt x="588390" y="25145"/>
                </a:lnTo>
                <a:lnTo>
                  <a:pt x="600710" y="25781"/>
                </a:lnTo>
                <a:lnTo>
                  <a:pt x="600783" y="24383"/>
                </a:lnTo>
                <a:close/>
              </a:path>
              <a:path w="1873884" h="338454">
                <a:moveTo>
                  <a:pt x="560070" y="0"/>
                </a:moveTo>
                <a:lnTo>
                  <a:pt x="532130" y="0"/>
                </a:lnTo>
                <a:lnTo>
                  <a:pt x="527938" y="126"/>
                </a:lnTo>
                <a:lnTo>
                  <a:pt x="528574" y="24511"/>
                </a:lnTo>
                <a:lnTo>
                  <a:pt x="532638" y="24383"/>
                </a:lnTo>
                <a:lnTo>
                  <a:pt x="600783" y="24383"/>
                </a:lnTo>
                <a:lnTo>
                  <a:pt x="601980" y="1524"/>
                </a:lnTo>
                <a:lnTo>
                  <a:pt x="589026" y="888"/>
                </a:lnTo>
                <a:lnTo>
                  <a:pt x="560070" y="0"/>
                </a:lnTo>
                <a:close/>
              </a:path>
              <a:path w="1873884" h="338454">
                <a:moveTo>
                  <a:pt x="626618" y="3301"/>
                </a:moveTo>
                <a:lnTo>
                  <a:pt x="624713" y="27558"/>
                </a:lnTo>
                <a:lnTo>
                  <a:pt x="634238" y="28448"/>
                </a:lnTo>
                <a:lnTo>
                  <a:pt x="650748" y="30225"/>
                </a:lnTo>
                <a:lnTo>
                  <a:pt x="685546" y="34417"/>
                </a:lnTo>
                <a:lnTo>
                  <a:pt x="696468" y="36068"/>
                </a:lnTo>
                <a:lnTo>
                  <a:pt x="700151" y="11937"/>
                </a:lnTo>
                <a:lnTo>
                  <a:pt x="688594" y="10287"/>
                </a:lnTo>
                <a:lnTo>
                  <a:pt x="653288" y="5968"/>
                </a:lnTo>
                <a:lnTo>
                  <a:pt x="636270" y="4063"/>
                </a:lnTo>
                <a:lnTo>
                  <a:pt x="626618" y="3301"/>
                </a:lnTo>
                <a:close/>
              </a:path>
              <a:path w="1873884" h="338454">
                <a:moveTo>
                  <a:pt x="724154" y="15493"/>
                </a:moveTo>
                <a:lnTo>
                  <a:pt x="720598" y="39624"/>
                </a:lnTo>
                <a:lnTo>
                  <a:pt x="722502" y="39877"/>
                </a:lnTo>
                <a:lnTo>
                  <a:pt x="761364" y="46355"/>
                </a:lnTo>
                <a:lnTo>
                  <a:pt x="792353" y="52069"/>
                </a:lnTo>
                <a:lnTo>
                  <a:pt x="796670" y="28067"/>
                </a:lnTo>
                <a:lnTo>
                  <a:pt x="765302" y="22351"/>
                </a:lnTo>
                <a:lnTo>
                  <a:pt x="726059" y="15875"/>
                </a:lnTo>
                <a:lnTo>
                  <a:pt x="724154" y="15493"/>
                </a:lnTo>
                <a:close/>
              </a:path>
              <a:path w="1873884" h="338454">
                <a:moveTo>
                  <a:pt x="820801" y="32638"/>
                </a:moveTo>
                <a:lnTo>
                  <a:pt x="816102" y="56642"/>
                </a:lnTo>
                <a:lnTo>
                  <a:pt x="844168" y="62102"/>
                </a:lnTo>
                <a:lnTo>
                  <a:pt x="887603" y="71246"/>
                </a:lnTo>
                <a:lnTo>
                  <a:pt x="892683" y="47498"/>
                </a:lnTo>
                <a:lnTo>
                  <a:pt x="848867" y="38226"/>
                </a:lnTo>
                <a:lnTo>
                  <a:pt x="820801" y="32638"/>
                </a:lnTo>
                <a:close/>
              </a:path>
              <a:path w="1873884" h="338454">
                <a:moveTo>
                  <a:pt x="916559" y="52705"/>
                </a:moveTo>
                <a:lnTo>
                  <a:pt x="911225" y="76581"/>
                </a:lnTo>
                <a:lnTo>
                  <a:pt x="932434" y="81152"/>
                </a:lnTo>
                <a:lnTo>
                  <a:pt x="978281" y="91820"/>
                </a:lnTo>
                <a:lnTo>
                  <a:pt x="982344" y="92709"/>
                </a:lnTo>
                <a:lnTo>
                  <a:pt x="988060" y="69087"/>
                </a:lnTo>
                <a:lnTo>
                  <a:pt x="983741" y="67944"/>
                </a:lnTo>
                <a:lnTo>
                  <a:pt x="916559" y="52705"/>
                </a:lnTo>
                <a:close/>
              </a:path>
              <a:path w="1873884" h="338454">
                <a:moveTo>
                  <a:pt x="1011809" y="74675"/>
                </a:moveTo>
                <a:lnTo>
                  <a:pt x="1006093" y="98425"/>
                </a:lnTo>
                <a:lnTo>
                  <a:pt x="1072007" y="114426"/>
                </a:lnTo>
                <a:lnTo>
                  <a:pt x="1076960" y="115696"/>
                </a:lnTo>
                <a:lnTo>
                  <a:pt x="1083056" y="92075"/>
                </a:lnTo>
                <a:lnTo>
                  <a:pt x="1011809" y="74675"/>
                </a:lnTo>
                <a:close/>
              </a:path>
              <a:path w="1873884" h="338454">
                <a:moveTo>
                  <a:pt x="1106678" y="98170"/>
                </a:moveTo>
                <a:lnTo>
                  <a:pt x="1100582" y="121793"/>
                </a:lnTo>
                <a:lnTo>
                  <a:pt x="1167764" y="138937"/>
                </a:lnTo>
                <a:lnTo>
                  <a:pt x="1171320" y="139953"/>
                </a:lnTo>
                <a:lnTo>
                  <a:pt x="1177670" y="116331"/>
                </a:lnTo>
                <a:lnTo>
                  <a:pt x="1106678" y="98170"/>
                </a:lnTo>
                <a:close/>
              </a:path>
              <a:path w="1873884" h="338454">
                <a:moveTo>
                  <a:pt x="1201165" y="122555"/>
                </a:moveTo>
                <a:lnTo>
                  <a:pt x="1194942" y="146176"/>
                </a:lnTo>
                <a:lnTo>
                  <a:pt x="1265555" y="164973"/>
                </a:lnTo>
                <a:lnTo>
                  <a:pt x="1271905" y="141477"/>
                </a:lnTo>
                <a:lnTo>
                  <a:pt x="1269873" y="140843"/>
                </a:lnTo>
                <a:lnTo>
                  <a:pt x="1201165" y="122555"/>
                </a:lnTo>
                <a:close/>
              </a:path>
              <a:path w="1873884" h="338454">
                <a:moveTo>
                  <a:pt x="1295527" y="147827"/>
                </a:moveTo>
                <a:lnTo>
                  <a:pt x="1289050" y="171323"/>
                </a:lnTo>
                <a:lnTo>
                  <a:pt x="1358518" y="190373"/>
                </a:lnTo>
                <a:lnTo>
                  <a:pt x="1359535" y="190626"/>
                </a:lnTo>
                <a:lnTo>
                  <a:pt x="1366139" y="167131"/>
                </a:lnTo>
                <a:lnTo>
                  <a:pt x="1364995" y="166750"/>
                </a:lnTo>
                <a:lnTo>
                  <a:pt x="1295527" y="147827"/>
                </a:lnTo>
                <a:close/>
              </a:path>
              <a:path w="1873884" h="338454">
                <a:moveTo>
                  <a:pt x="1389634" y="173608"/>
                </a:moveTo>
                <a:lnTo>
                  <a:pt x="1383030" y="197103"/>
                </a:lnTo>
                <a:lnTo>
                  <a:pt x="1450975" y="216153"/>
                </a:lnTo>
                <a:lnTo>
                  <a:pt x="1453514" y="216788"/>
                </a:lnTo>
                <a:lnTo>
                  <a:pt x="1460118" y="193420"/>
                </a:lnTo>
                <a:lnTo>
                  <a:pt x="1389634" y="173608"/>
                </a:lnTo>
                <a:close/>
              </a:path>
              <a:path w="1873884" h="338454">
                <a:moveTo>
                  <a:pt x="1483614" y="199898"/>
                </a:moveTo>
                <a:lnTo>
                  <a:pt x="1477010" y="223393"/>
                </a:lnTo>
                <a:lnTo>
                  <a:pt x="1539239" y="240919"/>
                </a:lnTo>
                <a:lnTo>
                  <a:pt x="1547367" y="243331"/>
                </a:lnTo>
                <a:lnTo>
                  <a:pt x="1553971" y="219837"/>
                </a:lnTo>
                <a:lnTo>
                  <a:pt x="1483614" y="199898"/>
                </a:lnTo>
                <a:close/>
              </a:path>
              <a:path w="1873884" h="338454">
                <a:moveTo>
                  <a:pt x="1577466" y="226440"/>
                </a:moveTo>
                <a:lnTo>
                  <a:pt x="1570863" y="249936"/>
                </a:lnTo>
                <a:lnTo>
                  <a:pt x="1641220" y="269875"/>
                </a:lnTo>
                <a:lnTo>
                  <a:pt x="1647825" y="246380"/>
                </a:lnTo>
                <a:lnTo>
                  <a:pt x="1577466" y="226440"/>
                </a:lnTo>
                <a:close/>
              </a:path>
              <a:path w="1873884" h="338454">
                <a:moveTo>
                  <a:pt x="1671319" y="252983"/>
                </a:moveTo>
                <a:lnTo>
                  <a:pt x="1664715" y="276478"/>
                </a:lnTo>
                <a:lnTo>
                  <a:pt x="1733168" y="295528"/>
                </a:lnTo>
                <a:lnTo>
                  <a:pt x="1735201" y="296163"/>
                </a:lnTo>
                <a:lnTo>
                  <a:pt x="1741678" y="272669"/>
                </a:lnTo>
                <a:lnTo>
                  <a:pt x="1739645" y="272033"/>
                </a:lnTo>
                <a:lnTo>
                  <a:pt x="1671319" y="252983"/>
                </a:lnTo>
                <a:close/>
              </a:path>
              <a:path w="1873884" h="338454">
                <a:moveTo>
                  <a:pt x="1796549" y="312775"/>
                </a:moveTo>
                <a:lnTo>
                  <a:pt x="1790191" y="337946"/>
                </a:lnTo>
                <a:lnTo>
                  <a:pt x="1873377" y="319658"/>
                </a:lnTo>
                <a:lnTo>
                  <a:pt x="1869105" y="315975"/>
                </a:lnTo>
                <a:lnTo>
                  <a:pt x="1808861" y="315975"/>
                </a:lnTo>
                <a:lnTo>
                  <a:pt x="1796549" y="312775"/>
                </a:lnTo>
                <a:close/>
              </a:path>
              <a:path w="1873884" h="338454">
                <a:moveTo>
                  <a:pt x="1802509" y="289178"/>
                </a:moveTo>
                <a:lnTo>
                  <a:pt x="1796549" y="312775"/>
                </a:lnTo>
                <a:lnTo>
                  <a:pt x="1808861" y="315975"/>
                </a:lnTo>
                <a:lnTo>
                  <a:pt x="1814830" y="292353"/>
                </a:lnTo>
                <a:lnTo>
                  <a:pt x="1802509" y="289178"/>
                </a:lnTo>
                <a:close/>
              </a:path>
              <a:path w="1873884" h="338454">
                <a:moveTo>
                  <a:pt x="1808861" y="264032"/>
                </a:moveTo>
                <a:lnTo>
                  <a:pt x="1802511" y="289178"/>
                </a:lnTo>
                <a:lnTo>
                  <a:pt x="1814830" y="292353"/>
                </a:lnTo>
                <a:lnTo>
                  <a:pt x="1808861" y="315975"/>
                </a:lnTo>
                <a:lnTo>
                  <a:pt x="1869105" y="315975"/>
                </a:lnTo>
                <a:lnTo>
                  <a:pt x="1808861" y="264032"/>
                </a:lnTo>
                <a:close/>
              </a:path>
              <a:path w="1873884" h="338454">
                <a:moveTo>
                  <a:pt x="1765173" y="279145"/>
                </a:moveTo>
                <a:lnTo>
                  <a:pt x="1758695" y="302640"/>
                </a:lnTo>
                <a:lnTo>
                  <a:pt x="1796549" y="312775"/>
                </a:lnTo>
                <a:lnTo>
                  <a:pt x="1802509" y="289178"/>
                </a:lnTo>
                <a:lnTo>
                  <a:pt x="1765173" y="279145"/>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p:nvPr/>
        </p:nvSpPr>
        <p:spPr>
          <a:xfrm>
            <a:off x="5752084" y="3004439"/>
            <a:ext cx="3087370" cy="1485900"/>
          </a:xfrm>
          <a:custGeom>
            <a:avLst/>
            <a:gdLst/>
            <a:ahLst/>
            <a:cxnLst/>
            <a:rect l="l" t="t" r="r" b="b"/>
            <a:pathLst>
              <a:path w="3087370" h="1485900">
                <a:moveTo>
                  <a:pt x="22098" y="1408684"/>
                </a:moveTo>
                <a:lnTo>
                  <a:pt x="12826" y="1437259"/>
                </a:lnTo>
                <a:lnTo>
                  <a:pt x="0" y="1478661"/>
                </a:lnTo>
                <a:lnTo>
                  <a:pt x="23367" y="1485773"/>
                </a:lnTo>
                <a:lnTo>
                  <a:pt x="36067" y="1444498"/>
                </a:lnTo>
                <a:lnTo>
                  <a:pt x="45212" y="1416177"/>
                </a:lnTo>
                <a:lnTo>
                  <a:pt x="22098" y="1408684"/>
                </a:lnTo>
                <a:close/>
              </a:path>
              <a:path w="3087370" h="1485900">
                <a:moveTo>
                  <a:pt x="56133" y="1316228"/>
                </a:moveTo>
                <a:lnTo>
                  <a:pt x="49275" y="1332865"/>
                </a:lnTo>
                <a:lnTo>
                  <a:pt x="41148" y="1353947"/>
                </a:lnTo>
                <a:lnTo>
                  <a:pt x="29971" y="1385316"/>
                </a:lnTo>
                <a:lnTo>
                  <a:pt x="52958" y="1393444"/>
                </a:lnTo>
                <a:lnTo>
                  <a:pt x="64135" y="1362075"/>
                </a:lnTo>
                <a:lnTo>
                  <a:pt x="72008" y="1341628"/>
                </a:lnTo>
                <a:lnTo>
                  <a:pt x="78739" y="1325626"/>
                </a:lnTo>
                <a:lnTo>
                  <a:pt x="56133" y="1316228"/>
                </a:lnTo>
                <a:close/>
              </a:path>
              <a:path w="3087370" h="1485900">
                <a:moveTo>
                  <a:pt x="100075" y="1227709"/>
                </a:moveTo>
                <a:lnTo>
                  <a:pt x="88518" y="1248156"/>
                </a:lnTo>
                <a:lnTo>
                  <a:pt x="77596" y="1269492"/>
                </a:lnTo>
                <a:lnTo>
                  <a:pt x="67437" y="1290701"/>
                </a:lnTo>
                <a:lnTo>
                  <a:pt x="66039" y="1293749"/>
                </a:lnTo>
                <a:lnTo>
                  <a:pt x="88391" y="1303528"/>
                </a:lnTo>
                <a:lnTo>
                  <a:pt x="89662" y="1300607"/>
                </a:lnTo>
                <a:lnTo>
                  <a:pt x="99567" y="1280033"/>
                </a:lnTo>
                <a:lnTo>
                  <a:pt x="110236" y="1259459"/>
                </a:lnTo>
                <a:lnTo>
                  <a:pt x="121285" y="1239520"/>
                </a:lnTo>
                <a:lnTo>
                  <a:pt x="100075" y="1227709"/>
                </a:lnTo>
                <a:close/>
              </a:path>
              <a:path w="3087370" h="1485900">
                <a:moveTo>
                  <a:pt x="155448" y="1145540"/>
                </a:moveTo>
                <a:lnTo>
                  <a:pt x="142493" y="1162685"/>
                </a:lnTo>
                <a:lnTo>
                  <a:pt x="127253" y="1184148"/>
                </a:lnTo>
                <a:lnTo>
                  <a:pt x="113411" y="1205611"/>
                </a:lnTo>
                <a:lnTo>
                  <a:pt x="112902" y="1206500"/>
                </a:lnTo>
                <a:lnTo>
                  <a:pt x="133730" y="1219073"/>
                </a:lnTo>
                <a:lnTo>
                  <a:pt x="134238" y="1218184"/>
                </a:lnTo>
                <a:lnTo>
                  <a:pt x="147700" y="1197483"/>
                </a:lnTo>
                <a:lnTo>
                  <a:pt x="162432" y="1176782"/>
                </a:lnTo>
                <a:lnTo>
                  <a:pt x="175005" y="1160272"/>
                </a:lnTo>
                <a:lnTo>
                  <a:pt x="155448" y="1145540"/>
                </a:lnTo>
                <a:close/>
              </a:path>
              <a:path w="3087370" h="1485900">
                <a:moveTo>
                  <a:pt x="221233" y="1071118"/>
                </a:moveTo>
                <a:lnTo>
                  <a:pt x="216153" y="1076071"/>
                </a:lnTo>
                <a:lnTo>
                  <a:pt x="195579" y="1097788"/>
                </a:lnTo>
                <a:lnTo>
                  <a:pt x="176529" y="1119505"/>
                </a:lnTo>
                <a:lnTo>
                  <a:pt x="171068" y="1126109"/>
                </a:lnTo>
                <a:lnTo>
                  <a:pt x="189991" y="1141603"/>
                </a:lnTo>
                <a:lnTo>
                  <a:pt x="195452" y="1134999"/>
                </a:lnTo>
                <a:lnTo>
                  <a:pt x="213867" y="1113917"/>
                </a:lnTo>
                <a:lnTo>
                  <a:pt x="233933" y="1092835"/>
                </a:lnTo>
                <a:lnTo>
                  <a:pt x="238251" y="1088517"/>
                </a:lnTo>
                <a:lnTo>
                  <a:pt x="221233" y="1071118"/>
                </a:lnTo>
                <a:close/>
              </a:path>
              <a:path w="3087370" h="1485900">
                <a:moveTo>
                  <a:pt x="294386" y="1004951"/>
                </a:moveTo>
                <a:lnTo>
                  <a:pt x="287527" y="1010412"/>
                </a:lnTo>
                <a:lnTo>
                  <a:pt x="262127" y="1032383"/>
                </a:lnTo>
                <a:lnTo>
                  <a:pt x="238887" y="1053719"/>
                </a:lnTo>
                <a:lnTo>
                  <a:pt x="255396" y="1071626"/>
                </a:lnTo>
                <a:lnTo>
                  <a:pt x="278638" y="1050290"/>
                </a:lnTo>
                <a:lnTo>
                  <a:pt x="303529" y="1028954"/>
                </a:lnTo>
                <a:lnTo>
                  <a:pt x="309752" y="1023874"/>
                </a:lnTo>
                <a:lnTo>
                  <a:pt x="294386" y="1004951"/>
                </a:lnTo>
                <a:close/>
              </a:path>
              <a:path w="3087370" h="1485900">
                <a:moveTo>
                  <a:pt x="372744" y="945642"/>
                </a:moveTo>
                <a:lnTo>
                  <a:pt x="343915" y="966216"/>
                </a:lnTo>
                <a:lnTo>
                  <a:pt x="314832" y="988441"/>
                </a:lnTo>
                <a:lnTo>
                  <a:pt x="313308" y="989584"/>
                </a:lnTo>
                <a:lnTo>
                  <a:pt x="328675" y="1008507"/>
                </a:lnTo>
                <a:lnTo>
                  <a:pt x="330200" y="1007363"/>
                </a:lnTo>
                <a:lnTo>
                  <a:pt x="358648" y="985647"/>
                </a:lnTo>
                <a:lnTo>
                  <a:pt x="386841" y="965454"/>
                </a:lnTo>
                <a:lnTo>
                  <a:pt x="372744" y="945642"/>
                </a:lnTo>
                <a:close/>
              </a:path>
              <a:path w="3087370" h="1485900">
                <a:moveTo>
                  <a:pt x="455421" y="892175"/>
                </a:moveTo>
                <a:lnTo>
                  <a:pt x="443356" y="899413"/>
                </a:lnTo>
                <a:lnTo>
                  <a:pt x="408050" y="921766"/>
                </a:lnTo>
                <a:lnTo>
                  <a:pt x="393191" y="931799"/>
                </a:lnTo>
                <a:lnTo>
                  <a:pt x="406780" y="951992"/>
                </a:lnTo>
                <a:lnTo>
                  <a:pt x="421639" y="941959"/>
                </a:lnTo>
                <a:lnTo>
                  <a:pt x="456311" y="919988"/>
                </a:lnTo>
                <a:lnTo>
                  <a:pt x="467994" y="913003"/>
                </a:lnTo>
                <a:lnTo>
                  <a:pt x="455421" y="892175"/>
                </a:lnTo>
                <a:close/>
              </a:path>
              <a:path w="3087370" h="1485900">
                <a:moveTo>
                  <a:pt x="540385" y="843407"/>
                </a:moveTo>
                <a:lnTo>
                  <a:pt x="520445" y="854329"/>
                </a:lnTo>
                <a:lnTo>
                  <a:pt x="500252" y="865632"/>
                </a:lnTo>
                <a:lnTo>
                  <a:pt x="480694" y="876935"/>
                </a:lnTo>
                <a:lnTo>
                  <a:pt x="476250" y="879602"/>
                </a:lnTo>
                <a:lnTo>
                  <a:pt x="488823" y="900430"/>
                </a:lnTo>
                <a:lnTo>
                  <a:pt x="512571" y="886713"/>
                </a:lnTo>
                <a:lnTo>
                  <a:pt x="532383" y="875538"/>
                </a:lnTo>
                <a:lnTo>
                  <a:pt x="552068" y="864743"/>
                </a:lnTo>
                <a:lnTo>
                  <a:pt x="540385" y="843407"/>
                </a:lnTo>
                <a:close/>
              </a:path>
              <a:path w="3087370" h="1485900">
                <a:moveTo>
                  <a:pt x="627633" y="798576"/>
                </a:moveTo>
                <a:lnTo>
                  <a:pt x="606932" y="808736"/>
                </a:lnTo>
                <a:lnTo>
                  <a:pt x="584453" y="820166"/>
                </a:lnTo>
                <a:lnTo>
                  <a:pt x="561975" y="831850"/>
                </a:lnTo>
                <a:lnTo>
                  <a:pt x="573531" y="853313"/>
                </a:lnTo>
                <a:lnTo>
                  <a:pt x="573913" y="853059"/>
                </a:lnTo>
                <a:lnTo>
                  <a:pt x="595629" y="841756"/>
                </a:lnTo>
                <a:lnTo>
                  <a:pt x="638428" y="820419"/>
                </a:lnTo>
                <a:lnTo>
                  <a:pt x="627633" y="798576"/>
                </a:lnTo>
                <a:close/>
              </a:path>
              <a:path w="3087370" h="1485900">
                <a:moveTo>
                  <a:pt x="716406" y="757047"/>
                </a:moveTo>
                <a:lnTo>
                  <a:pt x="703326" y="762762"/>
                </a:lnTo>
                <a:lnTo>
                  <a:pt x="649604" y="787908"/>
                </a:lnTo>
                <a:lnTo>
                  <a:pt x="660273" y="809879"/>
                </a:lnTo>
                <a:lnTo>
                  <a:pt x="664463" y="807719"/>
                </a:lnTo>
                <a:lnTo>
                  <a:pt x="713613" y="784860"/>
                </a:lnTo>
                <a:lnTo>
                  <a:pt x="726313" y="779272"/>
                </a:lnTo>
                <a:lnTo>
                  <a:pt x="716406" y="757047"/>
                </a:lnTo>
                <a:close/>
              </a:path>
              <a:path w="3087370" h="1485900">
                <a:moveTo>
                  <a:pt x="805941" y="717931"/>
                </a:moveTo>
                <a:lnTo>
                  <a:pt x="755522" y="739521"/>
                </a:lnTo>
                <a:lnTo>
                  <a:pt x="738631" y="747013"/>
                </a:lnTo>
                <a:lnTo>
                  <a:pt x="748538" y="769366"/>
                </a:lnTo>
                <a:lnTo>
                  <a:pt x="765429" y="761873"/>
                </a:lnTo>
                <a:lnTo>
                  <a:pt x="815593" y="740410"/>
                </a:lnTo>
                <a:lnTo>
                  <a:pt x="805941" y="717931"/>
                </a:lnTo>
                <a:close/>
              </a:path>
              <a:path w="3087370" h="1485900">
                <a:moveTo>
                  <a:pt x="896492" y="680974"/>
                </a:moveTo>
                <a:lnTo>
                  <a:pt x="866774" y="692785"/>
                </a:lnTo>
                <a:lnTo>
                  <a:pt x="828674" y="708533"/>
                </a:lnTo>
                <a:lnTo>
                  <a:pt x="837945" y="731138"/>
                </a:lnTo>
                <a:lnTo>
                  <a:pt x="876045" y="715391"/>
                </a:lnTo>
                <a:lnTo>
                  <a:pt x="905510" y="703580"/>
                </a:lnTo>
                <a:lnTo>
                  <a:pt x="896492" y="680974"/>
                </a:lnTo>
                <a:close/>
              </a:path>
              <a:path w="3087370" h="1485900">
                <a:moveTo>
                  <a:pt x="987679" y="645413"/>
                </a:moveTo>
                <a:lnTo>
                  <a:pt x="987170" y="645541"/>
                </a:lnTo>
                <a:lnTo>
                  <a:pt x="925830" y="669290"/>
                </a:lnTo>
                <a:lnTo>
                  <a:pt x="919225" y="671957"/>
                </a:lnTo>
                <a:lnTo>
                  <a:pt x="928242" y="694563"/>
                </a:lnTo>
                <a:lnTo>
                  <a:pt x="934846" y="691896"/>
                </a:lnTo>
                <a:lnTo>
                  <a:pt x="995934" y="668401"/>
                </a:lnTo>
                <a:lnTo>
                  <a:pt x="996188" y="668274"/>
                </a:lnTo>
                <a:lnTo>
                  <a:pt x="987679" y="645413"/>
                </a:lnTo>
                <a:close/>
              </a:path>
              <a:path w="3087370" h="1485900">
                <a:moveTo>
                  <a:pt x="1079118" y="611378"/>
                </a:moveTo>
                <a:lnTo>
                  <a:pt x="1050543" y="621792"/>
                </a:lnTo>
                <a:lnTo>
                  <a:pt x="1010412" y="636905"/>
                </a:lnTo>
                <a:lnTo>
                  <a:pt x="1019047" y="659638"/>
                </a:lnTo>
                <a:lnTo>
                  <a:pt x="1087500" y="634238"/>
                </a:lnTo>
                <a:lnTo>
                  <a:pt x="1079118" y="611378"/>
                </a:lnTo>
                <a:close/>
              </a:path>
              <a:path w="3087370" h="1485900">
                <a:moveTo>
                  <a:pt x="1171066" y="578358"/>
                </a:moveTo>
                <a:lnTo>
                  <a:pt x="1102106" y="602996"/>
                </a:lnTo>
                <a:lnTo>
                  <a:pt x="1110361" y="625983"/>
                </a:lnTo>
                <a:lnTo>
                  <a:pt x="1179194" y="601345"/>
                </a:lnTo>
                <a:lnTo>
                  <a:pt x="1171066" y="578358"/>
                </a:lnTo>
                <a:close/>
              </a:path>
              <a:path w="3087370" h="1485900">
                <a:moveTo>
                  <a:pt x="1263268" y="546353"/>
                </a:moveTo>
                <a:lnTo>
                  <a:pt x="1194181" y="570230"/>
                </a:lnTo>
                <a:lnTo>
                  <a:pt x="1202182" y="593344"/>
                </a:lnTo>
                <a:lnTo>
                  <a:pt x="1271142" y="569340"/>
                </a:lnTo>
                <a:lnTo>
                  <a:pt x="1263268" y="546353"/>
                </a:lnTo>
                <a:close/>
              </a:path>
              <a:path w="3087370" h="1485900">
                <a:moveTo>
                  <a:pt x="1355851" y="515112"/>
                </a:moveTo>
                <a:lnTo>
                  <a:pt x="1323593" y="525780"/>
                </a:lnTo>
                <a:lnTo>
                  <a:pt x="1286383" y="538480"/>
                </a:lnTo>
                <a:lnTo>
                  <a:pt x="1294257" y="561594"/>
                </a:lnTo>
                <a:lnTo>
                  <a:pt x="1331340" y="548894"/>
                </a:lnTo>
                <a:lnTo>
                  <a:pt x="1363471" y="538226"/>
                </a:lnTo>
                <a:lnTo>
                  <a:pt x="1355851" y="515112"/>
                </a:lnTo>
                <a:close/>
              </a:path>
              <a:path w="3087370" h="1485900">
                <a:moveTo>
                  <a:pt x="1448562" y="484505"/>
                </a:moveTo>
                <a:lnTo>
                  <a:pt x="1396238" y="501523"/>
                </a:lnTo>
                <a:lnTo>
                  <a:pt x="1378965" y="507364"/>
                </a:lnTo>
                <a:lnTo>
                  <a:pt x="1386586" y="530478"/>
                </a:lnTo>
                <a:lnTo>
                  <a:pt x="1456055" y="507619"/>
                </a:lnTo>
                <a:lnTo>
                  <a:pt x="1448562" y="484505"/>
                </a:lnTo>
                <a:close/>
              </a:path>
              <a:path w="3087370" h="1485900">
                <a:moveTo>
                  <a:pt x="1541398" y="454533"/>
                </a:moveTo>
                <a:lnTo>
                  <a:pt x="1471675" y="476885"/>
                </a:lnTo>
                <a:lnTo>
                  <a:pt x="1479168" y="500125"/>
                </a:lnTo>
                <a:lnTo>
                  <a:pt x="1548891" y="477774"/>
                </a:lnTo>
                <a:lnTo>
                  <a:pt x="1541398" y="454533"/>
                </a:lnTo>
                <a:close/>
              </a:path>
              <a:path w="3087370" h="1485900">
                <a:moveTo>
                  <a:pt x="1634489" y="425196"/>
                </a:moveTo>
                <a:lnTo>
                  <a:pt x="1564639" y="447166"/>
                </a:lnTo>
                <a:lnTo>
                  <a:pt x="1572006" y="470408"/>
                </a:lnTo>
                <a:lnTo>
                  <a:pt x="1641856" y="448437"/>
                </a:lnTo>
                <a:lnTo>
                  <a:pt x="1634489" y="425196"/>
                </a:lnTo>
                <a:close/>
              </a:path>
              <a:path w="3087370" h="1485900">
                <a:moveTo>
                  <a:pt x="1727708" y="396113"/>
                </a:moveTo>
                <a:lnTo>
                  <a:pt x="1702562" y="403733"/>
                </a:lnTo>
                <a:lnTo>
                  <a:pt x="1657731" y="417830"/>
                </a:lnTo>
                <a:lnTo>
                  <a:pt x="1665096" y="441198"/>
                </a:lnTo>
                <a:lnTo>
                  <a:pt x="1734819" y="419481"/>
                </a:lnTo>
                <a:lnTo>
                  <a:pt x="1727708" y="396113"/>
                </a:lnTo>
                <a:close/>
              </a:path>
              <a:path w="3087370" h="1485900">
                <a:moveTo>
                  <a:pt x="1820925" y="367664"/>
                </a:moveTo>
                <a:lnTo>
                  <a:pt x="1750948" y="389000"/>
                </a:lnTo>
                <a:lnTo>
                  <a:pt x="1758188" y="412369"/>
                </a:lnTo>
                <a:lnTo>
                  <a:pt x="1828038" y="390906"/>
                </a:lnTo>
                <a:lnTo>
                  <a:pt x="1820925" y="367664"/>
                </a:lnTo>
                <a:close/>
              </a:path>
              <a:path w="3087370" h="1485900">
                <a:moveTo>
                  <a:pt x="1914397" y="339344"/>
                </a:moveTo>
                <a:lnTo>
                  <a:pt x="1863851" y="354457"/>
                </a:lnTo>
                <a:lnTo>
                  <a:pt x="1844293" y="360552"/>
                </a:lnTo>
                <a:lnTo>
                  <a:pt x="1851406" y="383794"/>
                </a:lnTo>
                <a:lnTo>
                  <a:pt x="1921383" y="362712"/>
                </a:lnTo>
                <a:lnTo>
                  <a:pt x="1914397" y="339344"/>
                </a:lnTo>
                <a:close/>
              </a:path>
              <a:path w="3087370" h="1485900">
                <a:moveTo>
                  <a:pt x="2007869" y="311403"/>
                </a:moveTo>
                <a:lnTo>
                  <a:pt x="1937765" y="332359"/>
                </a:lnTo>
                <a:lnTo>
                  <a:pt x="1944750" y="355726"/>
                </a:lnTo>
                <a:lnTo>
                  <a:pt x="2014855" y="334772"/>
                </a:lnTo>
                <a:lnTo>
                  <a:pt x="2007869" y="311403"/>
                </a:lnTo>
                <a:close/>
              </a:path>
              <a:path w="3087370" h="1485900">
                <a:moveTo>
                  <a:pt x="2101468" y="283845"/>
                </a:moveTo>
                <a:lnTo>
                  <a:pt x="2031238" y="304419"/>
                </a:lnTo>
                <a:lnTo>
                  <a:pt x="2038095" y="327787"/>
                </a:lnTo>
                <a:lnTo>
                  <a:pt x="2108326" y="307213"/>
                </a:lnTo>
                <a:lnTo>
                  <a:pt x="2101468" y="283845"/>
                </a:lnTo>
                <a:close/>
              </a:path>
              <a:path w="3087370" h="1485900">
                <a:moveTo>
                  <a:pt x="2195067" y="256412"/>
                </a:moveTo>
                <a:lnTo>
                  <a:pt x="2124837" y="276987"/>
                </a:lnTo>
                <a:lnTo>
                  <a:pt x="2131694" y="300355"/>
                </a:lnTo>
                <a:lnTo>
                  <a:pt x="2201925" y="279781"/>
                </a:lnTo>
                <a:lnTo>
                  <a:pt x="2195067" y="256412"/>
                </a:lnTo>
                <a:close/>
              </a:path>
              <a:path w="3087370" h="1485900">
                <a:moveTo>
                  <a:pt x="2288793" y="229362"/>
                </a:moveTo>
                <a:lnTo>
                  <a:pt x="2218563" y="249682"/>
                </a:lnTo>
                <a:lnTo>
                  <a:pt x="2225293" y="273050"/>
                </a:lnTo>
                <a:lnTo>
                  <a:pt x="2295524" y="252730"/>
                </a:lnTo>
                <a:lnTo>
                  <a:pt x="2288793" y="229362"/>
                </a:lnTo>
                <a:close/>
              </a:path>
              <a:path w="3087370" h="1485900">
                <a:moveTo>
                  <a:pt x="2382519" y="202311"/>
                </a:moveTo>
                <a:lnTo>
                  <a:pt x="2312289" y="222631"/>
                </a:lnTo>
                <a:lnTo>
                  <a:pt x="2319019" y="245999"/>
                </a:lnTo>
                <a:lnTo>
                  <a:pt x="2379217" y="228600"/>
                </a:lnTo>
                <a:lnTo>
                  <a:pt x="2389250" y="225806"/>
                </a:lnTo>
                <a:lnTo>
                  <a:pt x="2382519" y="202311"/>
                </a:lnTo>
                <a:close/>
              </a:path>
              <a:path w="3087370" h="1485900">
                <a:moveTo>
                  <a:pt x="2476372" y="175513"/>
                </a:moveTo>
                <a:lnTo>
                  <a:pt x="2406015" y="195580"/>
                </a:lnTo>
                <a:lnTo>
                  <a:pt x="2412745" y="219075"/>
                </a:lnTo>
                <a:lnTo>
                  <a:pt x="2483104" y="199009"/>
                </a:lnTo>
                <a:lnTo>
                  <a:pt x="2476372" y="175513"/>
                </a:lnTo>
                <a:close/>
              </a:path>
              <a:path w="3087370" h="1485900">
                <a:moveTo>
                  <a:pt x="2570225" y="148844"/>
                </a:moveTo>
                <a:lnTo>
                  <a:pt x="2499867" y="168783"/>
                </a:lnTo>
                <a:lnTo>
                  <a:pt x="2506471" y="192277"/>
                </a:lnTo>
                <a:lnTo>
                  <a:pt x="2576830" y="172212"/>
                </a:lnTo>
                <a:lnTo>
                  <a:pt x="2570225" y="148844"/>
                </a:lnTo>
                <a:close/>
              </a:path>
              <a:path w="3087370" h="1485900">
                <a:moveTo>
                  <a:pt x="2664079" y="122300"/>
                </a:moveTo>
                <a:lnTo>
                  <a:pt x="2593720" y="142112"/>
                </a:lnTo>
                <a:lnTo>
                  <a:pt x="2600324" y="165608"/>
                </a:lnTo>
                <a:lnTo>
                  <a:pt x="2670683" y="145796"/>
                </a:lnTo>
                <a:lnTo>
                  <a:pt x="2664079" y="122300"/>
                </a:lnTo>
                <a:close/>
              </a:path>
              <a:path w="3087370" h="1485900">
                <a:moveTo>
                  <a:pt x="2757932" y="95758"/>
                </a:moveTo>
                <a:lnTo>
                  <a:pt x="2687573" y="115697"/>
                </a:lnTo>
                <a:lnTo>
                  <a:pt x="2694177" y="139064"/>
                </a:lnTo>
                <a:lnTo>
                  <a:pt x="2764536" y="119252"/>
                </a:lnTo>
                <a:lnTo>
                  <a:pt x="2757932" y="95758"/>
                </a:lnTo>
                <a:close/>
              </a:path>
              <a:path w="3087370" h="1485900">
                <a:moveTo>
                  <a:pt x="2851912" y="69469"/>
                </a:moveTo>
                <a:lnTo>
                  <a:pt x="2781426" y="89153"/>
                </a:lnTo>
                <a:lnTo>
                  <a:pt x="2788031" y="112649"/>
                </a:lnTo>
                <a:lnTo>
                  <a:pt x="2858516" y="92963"/>
                </a:lnTo>
                <a:lnTo>
                  <a:pt x="2851912" y="69469"/>
                </a:lnTo>
                <a:close/>
              </a:path>
              <a:path w="3087370" h="1485900">
                <a:moveTo>
                  <a:pt x="2945765" y="43052"/>
                </a:moveTo>
                <a:lnTo>
                  <a:pt x="2875407" y="62864"/>
                </a:lnTo>
                <a:lnTo>
                  <a:pt x="2881884" y="86360"/>
                </a:lnTo>
                <a:lnTo>
                  <a:pt x="2952368" y="66548"/>
                </a:lnTo>
                <a:lnTo>
                  <a:pt x="2945765" y="43052"/>
                </a:lnTo>
                <a:close/>
              </a:path>
              <a:path w="3087370" h="1485900">
                <a:moveTo>
                  <a:pt x="3081098" y="21589"/>
                </a:moveTo>
                <a:lnTo>
                  <a:pt x="3022726" y="21589"/>
                </a:lnTo>
                <a:lnTo>
                  <a:pt x="3029204" y="44958"/>
                </a:lnTo>
                <a:lnTo>
                  <a:pt x="3016985" y="48390"/>
                </a:lnTo>
                <a:lnTo>
                  <a:pt x="3023996" y="73406"/>
                </a:lnTo>
                <a:lnTo>
                  <a:pt x="3081098" y="21589"/>
                </a:lnTo>
                <a:close/>
              </a:path>
              <a:path w="3087370" h="1485900">
                <a:moveTo>
                  <a:pt x="3010439" y="25034"/>
                </a:moveTo>
                <a:lnTo>
                  <a:pt x="2969260" y="36575"/>
                </a:lnTo>
                <a:lnTo>
                  <a:pt x="2975864" y="59944"/>
                </a:lnTo>
                <a:lnTo>
                  <a:pt x="3016985" y="48390"/>
                </a:lnTo>
                <a:lnTo>
                  <a:pt x="3010439" y="25034"/>
                </a:lnTo>
                <a:close/>
              </a:path>
              <a:path w="3087370" h="1485900">
                <a:moveTo>
                  <a:pt x="3022726" y="21589"/>
                </a:moveTo>
                <a:lnTo>
                  <a:pt x="3010439" y="25034"/>
                </a:lnTo>
                <a:lnTo>
                  <a:pt x="3016985" y="48390"/>
                </a:lnTo>
                <a:lnTo>
                  <a:pt x="3029204" y="44958"/>
                </a:lnTo>
                <a:lnTo>
                  <a:pt x="3022726" y="21589"/>
                </a:lnTo>
                <a:close/>
              </a:path>
              <a:path w="3087370" h="1485900">
                <a:moveTo>
                  <a:pt x="3003422" y="0"/>
                </a:moveTo>
                <a:lnTo>
                  <a:pt x="3010439" y="25034"/>
                </a:lnTo>
                <a:lnTo>
                  <a:pt x="3022726" y="21589"/>
                </a:lnTo>
                <a:lnTo>
                  <a:pt x="3081098" y="21589"/>
                </a:lnTo>
                <a:lnTo>
                  <a:pt x="3087116" y="16128"/>
                </a:lnTo>
                <a:lnTo>
                  <a:pt x="3003422" y="0"/>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0"/>
          <p:cNvSpPr/>
          <p:nvPr/>
        </p:nvSpPr>
        <p:spPr>
          <a:xfrm>
            <a:off x="5744209" y="3893820"/>
            <a:ext cx="4067810" cy="590550"/>
          </a:xfrm>
          <a:custGeom>
            <a:avLst/>
            <a:gdLst/>
            <a:ahLst/>
            <a:cxnLst/>
            <a:rect l="l" t="t" r="r" b="b"/>
            <a:pathLst>
              <a:path w="4067809" h="590550">
                <a:moveTo>
                  <a:pt x="38353" y="514857"/>
                </a:moveTo>
                <a:lnTo>
                  <a:pt x="22478" y="540257"/>
                </a:lnTo>
                <a:lnTo>
                  <a:pt x="0" y="577341"/>
                </a:lnTo>
                <a:lnTo>
                  <a:pt x="20827" y="590041"/>
                </a:lnTo>
                <a:lnTo>
                  <a:pt x="43306" y="552830"/>
                </a:lnTo>
                <a:lnTo>
                  <a:pt x="59054" y="527811"/>
                </a:lnTo>
                <a:lnTo>
                  <a:pt x="38353" y="514857"/>
                </a:lnTo>
                <a:close/>
              </a:path>
              <a:path w="4067809" h="590550">
                <a:moveTo>
                  <a:pt x="94995" y="434085"/>
                </a:moveTo>
                <a:lnTo>
                  <a:pt x="84581" y="447547"/>
                </a:lnTo>
                <a:lnTo>
                  <a:pt x="71119" y="465962"/>
                </a:lnTo>
                <a:lnTo>
                  <a:pt x="58165" y="484504"/>
                </a:lnTo>
                <a:lnTo>
                  <a:pt x="51688" y="494156"/>
                </a:lnTo>
                <a:lnTo>
                  <a:pt x="72136" y="507618"/>
                </a:lnTo>
                <a:lnTo>
                  <a:pt x="78486" y="497966"/>
                </a:lnTo>
                <a:lnTo>
                  <a:pt x="91059" y="479932"/>
                </a:lnTo>
                <a:lnTo>
                  <a:pt x="104266" y="461898"/>
                </a:lnTo>
                <a:lnTo>
                  <a:pt x="114300" y="449071"/>
                </a:lnTo>
                <a:lnTo>
                  <a:pt x="94995" y="434085"/>
                </a:lnTo>
                <a:close/>
              </a:path>
              <a:path w="4067809" h="590550">
                <a:moveTo>
                  <a:pt x="161925" y="360806"/>
                </a:moveTo>
                <a:lnTo>
                  <a:pt x="147065" y="375157"/>
                </a:lnTo>
                <a:lnTo>
                  <a:pt x="129920" y="393064"/>
                </a:lnTo>
                <a:lnTo>
                  <a:pt x="113918" y="410971"/>
                </a:lnTo>
                <a:lnTo>
                  <a:pt x="110743" y="414908"/>
                </a:lnTo>
                <a:lnTo>
                  <a:pt x="129412" y="430402"/>
                </a:lnTo>
                <a:lnTo>
                  <a:pt x="132714" y="426592"/>
                </a:lnTo>
                <a:lnTo>
                  <a:pt x="148081" y="409193"/>
                </a:lnTo>
                <a:lnTo>
                  <a:pt x="164591" y="392175"/>
                </a:lnTo>
                <a:lnTo>
                  <a:pt x="178815" y="378332"/>
                </a:lnTo>
                <a:lnTo>
                  <a:pt x="161925" y="360806"/>
                </a:lnTo>
                <a:close/>
              </a:path>
              <a:path w="4067809" h="590550">
                <a:moveTo>
                  <a:pt x="239267" y="298449"/>
                </a:moveTo>
                <a:lnTo>
                  <a:pt x="227837" y="306323"/>
                </a:lnTo>
                <a:lnTo>
                  <a:pt x="205486" y="323087"/>
                </a:lnTo>
                <a:lnTo>
                  <a:pt x="184785" y="340232"/>
                </a:lnTo>
                <a:lnTo>
                  <a:pt x="180339" y="344169"/>
                </a:lnTo>
                <a:lnTo>
                  <a:pt x="196595" y="362330"/>
                </a:lnTo>
                <a:lnTo>
                  <a:pt x="201040" y="358393"/>
                </a:lnTo>
                <a:lnTo>
                  <a:pt x="220979" y="341883"/>
                </a:lnTo>
                <a:lnTo>
                  <a:pt x="242569" y="325754"/>
                </a:lnTo>
                <a:lnTo>
                  <a:pt x="253111" y="318515"/>
                </a:lnTo>
                <a:lnTo>
                  <a:pt x="239267" y="298449"/>
                </a:lnTo>
                <a:close/>
              </a:path>
              <a:path w="4067809" h="590550">
                <a:moveTo>
                  <a:pt x="323976" y="247268"/>
                </a:moveTo>
                <a:lnTo>
                  <a:pt x="304291" y="257809"/>
                </a:lnTo>
                <a:lnTo>
                  <a:pt x="277113" y="273684"/>
                </a:lnTo>
                <a:lnTo>
                  <a:pt x="259968" y="284606"/>
                </a:lnTo>
                <a:lnTo>
                  <a:pt x="273050" y="305180"/>
                </a:lnTo>
                <a:lnTo>
                  <a:pt x="290194" y="294258"/>
                </a:lnTo>
                <a:lnTo>
                  <a:pt x="316611" y="278891"/>
                </a:lnTo>
                <a:lnTo>
                  <a:pt x="335406" y="268858"/>
                </a:lnTo>
                <a:lnTo>
                  <a:pt x="323976" y="247268"/>
                </a:lnTo>
                <a:close/>
              </a:path>
              <a:path w="4067809" h="590550">
                <a:moveTo>
                  <a:pt x="413638" y="205993"/>
                </a:moveTo>
                <a:lnTo>
                  <a:pt x="397255" y="212724"/>
                </a:lnTo>
                <a:lnTo>
                  <a:pt x="364363" y="227329"/>
                </a:lnTo>
                <a:lnTo>
                  <a:pt x="346201" y="236092"/>
                </a:lnTo>
                <a:lnTo>
                  <a:pt x="356742" y="258063"/>
                </a:lnTo>
                <a:lnTo>
                  <a:pt x="375030" y="249300"/>
                </a:lnTo>
                <a:lnTo>
                  <a:pt x="407162" y="234949"/>
                </a:lnTo>
                <a:lnTo>
                  <a:pt x="422782" y="228599"/>
                </a:lnTo>
                <a:lnTo>
                  <a:pt x="413638" y="205993"/>
                </a:lnTo>
                <a:close/>
              </a:path>
              <a:path w="4067809" h="590550">
                <a:moveTo>
                  <a:pt x="506222" y="172592"/>
                </a:moveTo>
                <a:lnTo>
                  <a:pt x="489330" y="178053"/>
                </a:lnTo>
                <a:lnTo>
                  <a:pt x="450976" y="191515"/>
                </a:lnTo>
                <a:lnTo>
                  <a:pt x="436625" y="196849"/>
                </a:lnTo>
                <a:lnTo>
                  <a:pt x="445135" y="219709"/>
                </a:lnTo>
                <a:lnTo>
                  <a:pt x="459486" y="214248"/>
                </a:lnTo>
                <a:lnTo>
                  <a:pt x="478027" y="207644"/>
                </a:lnTo>
                <a:lnTo>
                  <a:pt x="497331" y="201040"/>
                </a:lnTo>
                <a:lnTo>
                  <a:pt x="513714" y="195706"/>
                </a:lnTo>
                <a:lnTo>
                  <a:pt x="506222" y="172592"/>
                </a:lnTo>
                <a:close/>
              </a:path>
              <a:path w="4067809" h="590550">
                <a:moveTo>
                  <a:pt x="600582" y="145287"/>
                </a:moveTo>
                <a:lnTo>
                  <a:pt x="573659" y="152526"/>
                </a:lnTo>
                <a:lnTo>
                  <a:pt x="530225" y="164972"/>
                </a:lnTo>
                <a:lnTo>
                  <a:pt x="529589" y="165226"/>
                </a:lnTo>
                <a:lnTo>
                  <a:pt x="536828" y="188467"/>
                </a:lnTo>
                <a:lnTo>
                  <a:pt x="537590" y="188213"/>
                </a:lnTo>
                <a:lnTo>
                  <a:pt x="580263" y="175894"/>
                </a:lnTo>
                <a:lnTo>
                  <a:pt x="602614" y="169925"/>
                </a:lnTo>
                <a:lnTo>
                  <a:pt x="606678" y="168909"/>
                </a:lnTo>
                <a:lnTo>
                  <a:pt x="600582" y="145287"/>
                </a:lnTo>
                <a:close/>
              </a:path>
              <a:path w="4067809" h="590550">
                <a:moveTo>
                  <a:pt x="696087" y="122935"/>
                </a:moveTo>
                <a:lnTo>
                  <a:pt x="693547" y="123443"/>
                </a:lnTo>
                <a:lnTo>
                  <a:pt x="643509" y="134619"/>
                </a:lnTo>
                <a:lnTo>
                  <a:pt x="624331" y="139318"/>
                </a:lnTo>
                <a:lnTo>
                  <a:pt x="630174" y="162940"/>
                </a:lnTo>
                <a:lnTo>
                  <a:pt x="649224" y="158368"/>
                </a:lnTo>
                <a:lnTo>
                  <a:pt x="701039" y="146811"/>
                </a:lnTo>
                <a:lnTo>
                  <a:pt x="696087" y="122935"/>
                </a:lnTo>
                <a:close/>
              </a:path>
              <a:path w="4067809" h="590550">
                <a:moveTo>
                  <a:pt x="792353" y="104520"/>
                </a:moveTo>
                <a:lnTo>
                  <a:pt x="773811" y="107695"/>
                </a:lnTo>
                <a:lnTo>
                  <a:pt x="746378" y="112775"/>
                </a:lnTo>
                <a:lnTo>
                  <a:pt x="720089" y="117982"/>
                </a:lnTo>
                <a:lnTo>
                  <a:pt x="724788" y="141858"/>
                </a:lnTo>
                <a:lnTo>
                  <a:pt x="778383" y="131571"/>
                </a:lnTo>
                <a:lnTo>
                  <a:pt x="796416" y="128523"/>
                </a:lnTo>
                <a:lnTo>
                  <a:pt x="792353" y="104520"/>
                </a:lnTo>
                <a:close/>
              </a:path>
              <a:path w="4067809" h="590550">
                <a:moveTo>
                  <a:pt x="888872" y="89153"/>
                </a:moveTo>
                <a:lnTo>
                  <a:pt x="816356" y="100329"/>
                </a:lnTo>
                <a:lnTo>
                  <a:pt x="820419" y="124459"/>
                </a:lnTo>
                <a:lnTo>
                  <a:pt x="835151" y="121919"/>
                </a:lnTo>
                <a:lnTo>
                  <a:pt x="892556" y="113283"/>
                </a:lnTo>
                <a:lnTo>
                  <a:pt x="888872" y="89153"/>
                </a:lnTo>
                <a:close/>
              </a:path>
              <a:path w="4067809" h="590550">
                <a:moveTo>
                  <a:pt x="985900" y="76453"/>
                </a:moveTo>
                <a:lnTo>
                  <a:pt x="913257" y="85724"/>
                </a:lnTo>
                <a:lnTo>
                  <a:pt x="916559" y="109854"/>
                </a:lnTo>
                <a:lnTo>
                  <a:pt x="988948" y="100710"/>
                </a:lnTo>
                <a:lnTo>
                  <a:pt x="985900" y="76453"/>
                </a:lnTo>
                <a:close/>
              </a:path>
              <a:path w="4067809" h="590550">
                <a:moveTo>
                  <a:pt x="1083183" y="65912"/>
                </a:moveTo>
                <a:lnTo>
                  <a:pt x="1056513" y="68579"/>
                </a:lnTo>
                <a:lnTo>
                  <a:pt x="1010285" y="73786"/>
                </a:lnTo>
                <a:lnTo>
                  <a:pt x="1012951" y="97916"/>
                </a:lnTo>
                <a:lnTo>
                  <a:pt x="1085595" y="90169"/>
                </a:lnTo>
                <a:lnTo>
                  <a:pt x="1083183" y="65912"/>
                </a:lnTo>
                <a:close/>
              </a:path>
              <a:path w="4067809" h="590550">
                <a:moveTo>
                  <a:pt x="1180464" y="57022"/>
                </a:moveTo>
                <a:lnTo>
                  <a:pt x="1127887" y="61594"/>
                </a:lnTo>
                <a:lnTo>
                  <a:pt x="1107439" y="63626"/>
                </a:lnTo>
                <a:lnTo>
                  <a:pt x="1109853" y="87883"/>
                </a:lnTo>
                <a:lnTo>
                  <a:pt x="1130299" y="85851"/>
                </a:lnTo>
                <a:lnTo>
                  <a:pt x="1182623" y="81279"/>
                </a:lnTo>
                <a:lnTo>
                  <a:pt x="1180464" y="57022"/>
                </a:lnTo>
                <a:close/>
              </a:path>
              <a:path w="4067809" h="590550">
                <a:moveTo>
                  <a:pt x="1277873" y="49402"/>
                </a:moveTo>
                <a:lnTo>
                  <a:pt x="1204848" y="54863"/>
                </a:lnTo>
                <a:lnTo>
                  <a:pt x="1206754" y="79247"/>
                </a:lnTo>
                <a:lnTo>
                  <a:pt x="1279651" y="73659"/>
                </a:lnTo>
                <a:lnTo>
                  <a:pt x="1277873" y="49402"/>
                </a:lnTo>
                <a:close/>
              </a:path>
              <a:path w="4067809" h="590550">
                <a:moveTo>
                  <a:pt x="1375410" y="42925"/>
                </a:moveTo>
                <a:lnTo>
                  <a:pt x="1359281" y="43814"/>
                </a:lnTo>
                <a:lnTo>
                  <a:pt x="1302258" y="47751"/>
                </a:lnTo>
                <a:lnTo>
                  <a:pt x="1303909" y="72008"/>
                </a:lnTo>
                <a:lnTo>
                  <a:pt x="1360932" y="68198"/>
                </a:lnTo>
                <a:lnTo>
                  <a:pt x="1376807" y="67309"/>
                </a:lnTo>
                <a:lnTo>
                  <a:pt x="1375410" y="42925"/>
                </a:lnTo>
                <a:close/>
              </a:path>
              <a:path w="4067809" h="590550">
                <a:moveTo>
                  <a:pt x="1472818" y="37464"/>
                </a:moveTo>
                <a:lnTo>
                  <a:pt x="1399666" y="41528"/>
                </a:lnTo>
                <a:lnTo>
                  <a:pt x="1401064" y="65912"/>
                </a:lnTo>
                <a:lnTo>
                  <a:pt x="1443355" y="63372"/>
                </a:lnTo>
                <a:lnTo>
                  <a:pt x="1474089" y="61848"/>
                </a:lnTo>
                <a:lnTo>
                  <a:pt x="1472818" y="37464"/>
                </a:lnTo>
                <a:close/>
              </a:path>
              <a:path w="4067809" h="590550">
                <a:moveTo>
                  <a:pt x="1570355" y="32765"/>
                </a:moveTo>
                <a:lnTo>
                  <a:pt x="1497203" y="36194"/>
                </a:lnTo>
                <a:lnTo>
                  <a:pt x="1498472" y="60578"/>
                </a:lnTo>
                <a:lnTo>
                  <a:pt x="1571370" y="57149"/>
                </a:lnTo>
                <a:lnTo>
                  <a:pt x="1570355" y="32765"/>
                </a:lnTo>
                <a:close/>
              </a:path>
              <a:path w="4067809" h="590550">
                <a:moveTo>
                  <a:pt x="1667890" y="28828"/>
                </a:moveTo>
                <a:lnTo>
                  <a:pt x="1594739" y="31749"/>
                </a:lnTo>
                <a:lnTo>
                  <a:pt x="1595755" y="56133"/>
                </a:lnTo>
                <a:lnTo>
                  <a:pt x="1668780" y="53212"/>
                </a:lnTo>
                <a:lnTo>
                  <a:pt x="1667890" y="28828"/>
                </a:lnTo>
                <a:close/>
              </a:path>
              <a:path w="4067809" h="590550">
                <a:moveTo>
                  <a:pt x="1765426" y="25399"/>
                </a:moveTo>
                <a:lnTo>
                  <a:pt x="1692274" y="27939"/>
                </a:lnTo>
                <a:lnTo>
                  <a:pt x="1693164" y="52323"/>
                </a:lnTo>
                <a:lnTo>
                  <a:pt x="1766189" y="49783"/>
                </a:lnTo>
                <a:lnTo>
                  <a:pt x="1765426" y="25399"/>
                </a:lnTo>
                <a:close/>
              </a:path>
              <a:path w="4067809" h="590550">
                <a:moveTo>
                  <a:pt x="1862963" y="22605"/>
                </a:moveTo>
                <a:lnTo>
                  <a:pt x="1796414" y="24383"/>
                </a:lnTo>
                <a:lnTo>
                  <a:pt x="1789811" y="24637"/>
                </a:lnTo>
                <a:lnTo>
                  <a:pt x="1790572" y="49021"/>
                </a:lnTo>
                <a:lnTo>
                  <a:pt x="1797176" y="48767"/>
                </a:lnTo>
                <a:lnTo>
                  <a:pt x="1863597" y="46989"/>
                </a:lnTo>
                <a:lnTo>
                  <a:pt x="1862963" y="22605"/>
                </a:lnTo>
                <a:close/>
              </a:path>
              <a:path w="4067809" h="590550">
                <a:moveTo>
                  <a:pt x="1960498" y="20192"/>
                </a:moveTo>
                <a:lnTo>
                  <a:pt x="1890648" y="21843"/>
                </a:lnTo>
                <a:lnTo>
                  <a:pt x="1887346" y="21843"/>
                </a:lnTo>
                <a:lnTo>
                  <a:pt x="1887982" y="46227"/>
                </a:lnTo>
                <a:lnTo>
                  <a:pt x="1891411" y="46227"/>
                </a:lnTo>
                <a:lnTo>
                  <a:pt x="1961134" y="44576"/>
                </a:lnTo>
                <a:lnTo>
                  <a:pt x="1960498" y="20192"/>
                </a:lnTo>
                <a:close/>
              </a:path>
              <a:path w="4067809" h="590550">
                <a:moveTo>
                  <a:pt x="2058162" y="18414"/>
                </a:moveTo>
                <a:lnTo>
                  <a:pt x="1986914" y="19684"/>
                </a:lnTo>
                <a:lnTo>
                  <a:pt x="1984883" y="19684"/>
                </a:lnTo>
                <a:lnTo>
                  <a:pt x="1985517" y="44068"/>
                </a:lnTo>
                <a:lnTo>
                  <a:pt x="1987549" y="43941"/>
                </a:lnTo>
                <a:lnTo>
                  <a:pt x="2058542" y="42798"/>
                </a:lnTo>
                <a:lnTo>
                  <a:pt x="2058162" y="18414"/>
                </a:lnTo>
                <a:close/>
              </a:path>
              <a:path w="4067809" h="590550">
                <a:moveTo>
                  <a:pt x="2155697" y="16890"/>
                </a:moveTo>
                <a:lnTo>
                  <a:pt x="2085086" y="17906"/>
                </a:lnTo>
                <a:lnTo>
                  <a:pt x="2082545" y="17906"/>
                </a:lnTo>
                <a:lnTo>
                  <a:pt x="2082926" y="42290"/>
                </a:lnTo>
                <a:lnTo>
                  <a:pt x="2085593" y="42290"/>
                </a:lnTo>
                <a:lnTo>
                  <a:pt x="2156079" y="41274"/>
                </a:lnTo>
                <a:lnTo>
                  <a:pt x="2155697" y="16890"/>
                </a:lnTo>
                <a:close/>
              </a:path>
              <a:path w="4067809" h="590550">
                <a:moveTo>
                  <a:pt x="2253234" y="15620"/>
                </a:moveTo>
                <a:lnTo>
                  <a:pt x="2185162" y="16382"/>
                </a:lnTo>
                <a:lnTo>
                  <a:pt x="2180082" y="16509"/>
                </a:lnTo>
                <a:lnTo>
                  <a:pt x="2180463" y="40893"/>
                </a:lnTo>
                <a:lnTo>
                  <a:pt x="2185542" y="40766"/>
                </a:lnTo>
                <a:lnTo>
                  <a:pt x="2253488" y="40004"/>
                </a:lnTo>
                <a:lnTo>
                  <a:pt x="2253234" y="15620"/>
                </a:lnTo>
                <a:close/>
              </a:path>
              <a:path w="4067809" h="590550">
                <a:moveTo>
                  <a:pt x="2350769" y="14858"/>
                </a:moveTo>
                <a:lnTo>
                  <a:pt x="2286889" y="15366"/>
                </a:lnTo>
                <a:lnTo>
                  <a:pt x="2277617" y="15366"/>
                </a:lnTo>
                <a:lnTo>
                  <a:pt x="2277871" y="39750"/>
                </a:lnTo>
                <a:lnTo>
                  <a:pt x="2287142" y="39750"/>
                </a:lnTo>
                <a:lnTo>
                  <a:pt x="2351023" y="39242"/>
                </a:lnTo>
                <a:lnTo>
                  <a:pt x="2350769" y="14858"/>
                </a:lnTo>
                <a:close/>
              </a:path>
              <a:path w="4067809" h="590550">
                <a:moveTo>
                  <a:pt x="2448433" y="14223"/>
                </a:moveTo>
                <a:lnTo>
                  <a:pt x="2375154" y="14604"/>
                </a:lnTo>
                <a:lnTo>
                  <a:pt x="2375408" y="38988"/>
                </a:lnTo>
                <a:lnTo>
                  <a:pt x="2448433" y="38607"/>
                </a:lnTo>
                <a:lnTo>
                  <a:pt x="2448433" y="14223"/>
                </a:lnTo>
                <a:close/>
              </a:path>
              <a:path w="4067809" h="590550">
                <a:moveTo>
                  <a:pt x="2545968" y="13969"/>
                </a:moveTo>
                <a:lnTo>
                  <a:pt x="2495295" y="13969"/>
                </a:lnTo>
                <a:lnTo>
                  <a:pt x="2472816" y="14096"/>
                </a:lnTo>
                <a:lnTo>
                  <a:pt x="2472816" y="38480"/>
                </a:lnTo>
                <a:lnTo>
                  <a:pt x="2545968" y="38353"/>
                </a:lnTo>
                <a:lnTo>
                  <a:pt x="2545968" y="13969"/>
                </a:lnTo>
                <a:close/>
              </a:path>
              <a:path w="4067809" h="590550">
                <a:moveTo>
                  <a:pt x="2643505" y="13842"/>
                </a:moveTo>
                <a:lnTo>
                  <a:pt x="2570353" y="13969"/>
                </a:lnTo>
                <a:lnTo>
                  <a:pt x="2570353" y="38353"/>
                </a:lnTo>
                <a:lnTo>
                  <a:pt x="2643505" y="38226"/>
                </a:lnTo>
                <a:lnTo>
                  <a:pt x="2643505" y="13842"/>
                </a:lnTo>
                <a:close/>
              </a:path>
              <a:path w="4067809" h="590550">
                <a:moveTo>
                  <a:pt x="2709291" y="13842"/>
                </a:moveTo>
                <a:lnTo>
                  <a:pt x="2667889" y="13842"/>
                </a:lnTo>
                <a:lnTo>
                  <a:pt x="2667889" y="38226"/>
                </a:lnTo>
                <a:lnTo>
                  <a:pt x="2741041" y="38353"/>
                </a:lnTo>
                <a:lnTo>
                  <a:pt x="2741041" y="13969"/>
                </a:lnTo>
                <a:lnTo>
                  <a:pt x="2709291" y="13842"/>
                </a:lnTo>
                <a:close/>
              </a:path>
              <a:path w="4067809" h="590550">
                <a:moveTo>
                  <a:pt x="2765424" y="13969"/>
                </a:moveTo>
                <a:lnTo>
                  <a:pt x="2765424" y="38353"/>
                </a:lnTo>
                <a:lnTo>
                  <a:pt x="2838576" y="38607"/>
                </a:lnTo>
                <a:lnTo>
                  <a:pt x="2838576" y="14223"/>
                </a:lnTo>
                <a:lnTo>
                  <a:pt x="2765424" y="13969"/>
                </a:lnTo>
                <a:close/>
              </a:path>
              <a:path w="4067809" h="590550">
                <a:moveTo>
                  <a:pt x="2862961" y="14350"/>
                </a:moveTo>
                <a:lnTo>
                  <a:pt x="2862961" y="38734"/>
                </a:lnTo>
                <a:lnTo>
                  <a:pt x="2928112" y="38988"/>
                </a:lnTo>
                <a:lnTo>
                  <a:pt x="2935986" y="38988"/>
                </a:lnTo>
                <a:lnTo>
                  <a:pt x="2936240" y="14604"/>
                </a:lnTo>
                <a:lnTo>
                  <a:pt x="2928112" y="14604"/>
                </a:lnTo>
                <a:lnTo>
                  <a:pt x="2862961" y="14350"/>
                </a:lnTo>
                <a:close/>
              </a:path>
              <a:path w="4067809" h="590550">
                <a:moveTo>
                  <a:pt x="2960623" y="14731"/>
                </a:moveTo>
                <a:lnTo>
                  <a:pt x="2960369" y="39115"/>
                </a:lnTo>
                <a:lnTo>
                  <a:pt x="3033521" y="39623"/>
                </a:lnTo>
                <a:lnTo>
                  <a:pt x="3033775" y="15239"/>
                </a:lnTo>
                <a:lnTo>
                  <a:pt x="2960623" y="14731"/>
                </a:lnTo>
                <a:close/>
              </a:path>
              <a:path w="4067809" h="590550">
                <a:moveTo>
                  <a:pt x="3058160" y="15493"/>
                </a:moveTo>
                <a:lnTo>
                  <a:pt x="3057906" y="39877"/>
                </a:lnTo>
                <a:lnTo>
                  <a:pt x="3131058" y="40385"/>
                </a:lnTo>
                <a:lnTo>
                  <a:pt x="3131312" y="16001"/>
                </a:lnTo>
                <a:lnTo>
                  <a:pt x="3058160" y="15493"/>
                </a:lnTo>
                <a:close/>
              </a:path>
              <a:path w="4067809" h="590550">
                <a:moveTo>
                  <a:pt x="3155695" y="16128"/>
                </a:moveTo>
                <a:lnTo>
                  <a:pt x="3155441" y="40512"/>
                </a:lnTo>
                <a:lnTo>
                  <a:pt x="3228593" y="41274"/>
                </a:lnTo>
                <a:lnTo>
                  <a:pt x="3228847" y="16890"/>
                </a:lnTo>
                <a:lnTo>
                  <a:pt x="3155695" y="16128"/>
                </a:lnTo>
                <a:close/>
              </a:path>
              <a:path w="4067809" h="590550">
                <a:moveTo>
                  <a:pt x="3253232" y="17144"/>
                </a:moveTo>
                <a:lnTo>
                  <a:pt x="3252978" y="41528"/>
                </a:lnTo>
                <a:lnTo>
                  <a:pt x="3326130" y="42163"/>
                </a:lnTo>
                <a:lnTo>
                  <a:pt x="3326384" y="17779"/>
                </a:lnTo>
                <a:lnTo>
                  <a:pt x="3253232" y="17144"/>
                </a:lnTo>
                <a:close/>
              </a:path>
              <a:path w="4067809" h="590550">
                <a:moveTo>
                  <a:pt x="3350767" y="18033"/>
                </a:moveTo>
                <a:lnTo>
                  <a:pt x="3350514" y="42417"/>
                </a:lnTo>
                <a:lnTo>
                  <a:pt x="3423666" y="43179"/>
                </a:lnTo>
                <a:lnTo>
                  <a:pt x="3423919" y="18795"/>
                </a:lnTo>
                <a:lnTo>
                  <a:pt x="3350767" y="18033"/>
                </a:lnTo>
                <a:close/>
              </a:path>
              <a:path w="4067809" h="590550">
                <a:moveTo>
                  <a:pt x="3448304" y="19049"/>
                </a:moveTo>
                <a:lnTo>
                  <a:pt x="3448049" y="43433"/>
                </a:lnTo>
                <a:lnTo>
                  <a:pt x="3521201" y="44322"/>
                </a:lnTo>
                <a:lnTo>
                  <a:pt x="3521456" y="19938"/>
                </a:lnTo>
                <a:lnTo>
                  <a:pt x="3448304" y="19049"/>
                </a:lnTo>
                <a:close/>
              </a:path>
              <a:path w="4067809" h="590550">
                <a:moveTo>
                  <a:pt x="3545840" y="20192"/>
                </a:moveTo>
                <a:lnTo>
                  <a:pt x="3545586" y="44576"/>
                </a:lnTo>
                <a:lnTo>
                  <a:pt x="3618738" y="45465"/>
                </a:lnTo>
                <a:lnTo>
                  <a:pt x="3618991" y="21081"/>
                </a:lnTo>
                <a:lnTo>
                  <a:pt x="3545840" y="20192"/>
                </a:lnTo>
                <a:close/>
              </a:path>
              <a:path w="4067809" h="590550">
                <a:moveTo>
                  <a:pt x="3643375" y="21335"/>
                </a:moveTo>
                <a:lnTo>
                  <a:pt x="3643121" y="45719"/>
                </a:lnTo>
                <a:lnTo>
                  <a:pt x="3716273" y="46608"/>
                </a:lnTo>
                <a:lnTo>
                  <a:pt x="3716528" y="22224"/>
                </a:lnTo>
                <a:lnTo>
                  <a:pt x="3643375" y="21335"/>
                </a:lnTo>
                <a:close/>
              </a:path>
              <a:path w="4067809" h="590550">
                <a:moveTo>
                  <a:pt x="3740912" y="22605"/>
                </a:moveTo>
                <a:lnTo>
                  <a:pt x="3740531" y="46989"/>
                </a:lnTo>
                <a:lnTo>
                  <a:pt x="3813683" y="47878"/>
                </a:lnTo>
                <a:lnTo>
                  <a:pt x="3814064" y="23494"/>
                </a:lnTo>
                <a:lnTo>
                  <a:pt x="3740912" y="22605"/>
                </a:lnTo>
                <a:close/>
              </a:path>
              <a:path w="4067809" h="590550">
                <a:moveTo>
                  <a:pt x="3838447" y="23875"/>
                </a:moveTo>
                <a:lnTo>
                  <a:pt x="3838066" y="48259"/>
                </a:lnTo>
                <a:lnTo>
                  <a:pt x="3911218" y="49275"/>
                </a:lnTo>
                <a:lnTo>
                  <a:pt x="3911599" y="24891"/>
                </a:lnTo>
                <a:lnTo>
                  <a:pt x="3838447" y="23875"/>
                </a:lnTo>
                <a:close/>
              </a:path>
              <a:path w="4067809" h="590550">
                <a:moveTo>
                  <a:pt x="3991610" y="0"/>
                </a:moveTo>
                <a:lnTo>
                  <a:pt x="3991265" y="25869"/>
                </a:lnTo>
                <a:lnTo>
                  <a:pt x="4003929" y="26034"/>
                </a:lnTo>
                <a:lnTo>
                  <a:pt x="4003674" y="50418"/>
                </a:lnTo>
                <a:lnTo>
                  <a:pt x="3990937" y="50418"/>
                </a:lnTo>
                <a:lnTo>
                  <a:pt x="3990593" y="76199"/>
                </a:lnTo>
                <a:lnTo>
                  <a:pt x="4043921" y="50418"/>
                </a:lnTo>
                <a:lnTo>
                  <a:pt x="4003674" y="50418"/>
                </a:lnTo>
                <a:lnTo>
                  <a:pt x="3990939" y="50252"/>
                </a:lnTo>
                <a:lnTo>
                  <a:pt x="4044265" y="50252"/>
                </a:lnTo>
                <a:lnTo>
                  <a:pt x="4067301" y="39115"/>
                </a:lnTo>
                <a:lnTo>
                  <a:pt x="3991610" y="0"/>
                </a:lnTo>
                <a:close/>
              </a:path>
              <a:path w="4067809" h="590550">
                <a:moveTo>
                  <a:pt x="3991265" y="25869"/>
                </a:moveTo>
                <a:lnTo>
                  <a:pt x="3990939" y="50252"/>
                </a:lnTo>
                <a:lnTo>
                  <a:pt x="4003674" y="50418"/>
                </a:lnTo>
                <a:lnTo>
                  <a:pt x="4003929" y="26034"/>
                </a:lnTo>
                <a:lnTo>
                  <a:pt x="3991265" y="25869"/>
                </a:lnTo>
                <a:close/>
              </a:path>
              <a:path w="4067809" h="590550">
                <a:moveTo>
                  <a:pt x="3935984" y="25145"/>
                </a:moveTo>
                <a:lnTo>
                  <a:pt x="3935603" y="49529"/>
                </a:lnTo>
                <a:lnTo>
                  <a:pt x="3990939" y="50252"/>
                </a:lnTo>
                <a:lnTo>
                  <a:pt x="3991265" y="25869"/>
                </a:lnTo>
                <a:lnTo>
                  <a:pt x="3935984" y="25145"/>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txBox="1"/>
          <p:nvPr/>
        </p:nvSpPr>
        <p:spPr>
          <a:xfrm>
            <a:off x="3174873" y="4621784"/>
            <a:ext cx="2973070" cy="677545"/>
          </a:xfrm>
          <a:prstGeom prst="rect">
            <a:avLst/>
          </a:prstGeom>
        </p:spPr>
        <p:txBody>
          <a:bodyPr vert="horz" wrap="square" lIns="0" tIns="17145" rIns="0" bIns="0" rtlCol="0">
            <a:spAutoFit/>
          </a:bodyPr>
          <a:lstStyle/>
          <a:p>
            <a:pPr marL="771525" marR="0" lvl="0" indent="0" algn="l" defTabSz="914400" rtl="0" eaLnBrk="1" fontAlgn="auto" latinLnBrk="0" hangingPunct="1">
              <a:lnSpc>
                <a:spcPct val="100000"/>
              </a:lnSpc>
              <a:spcBef>
                <a:spcPts val="135"/>
              </a:spcBef>
              <a:spcAft>
                <a:spcPts val="0"/>
              </a:spcAft>
              <a:buClrTx/>
              <a:buSzTx/>
              <a:buFontTx/>
              <a:buNone/>
              <a:tabLst/>
              <a:defRPr/>
            </a:pPr>
            <a:r>
              <a:rPr kumimoji="0" sz="2100" b="0" i="0" u="none" strike="noStrike" kern="1200" cap="none" spc="55" normalizeH="0" baseline="0" noProof="0" dirty="0">
                <a:ln>
                  <a:noFill/>
                </a:ln>
                <a:solidFill>
                  <a:srgbClr val="003B55"/>
                </a:solidFill>
                <a:effectLst/>
                <a:uLnTx/>
                <a:uFillTx/>
                <a:latin typeface="Arial"/>
                <a:ea typeface="+mn-ea"/>
                <a:cs typeface="Arial"/>
              </a:rPr>
              <a:t>2. </a:t>
            </a:r>
            <a:r>
              <a:rPr kumimoji="0" sz="2100" b="0" i="0" u="none" strike="noStrike" kern="1200" cap="none" spc="25" normalizeH="0" baseline="0" noProof="0" dirty="0">
                <a:ln>
                  <a:noFill/>
                </a:ln>
                <a:solidFill>
                  <a:srgbClr val="003B55"/>
                </a:solidFill>
                <a:effectLst/>
                <a:uLnTx/>
                <a:uFillTx/>
                <a:latin typeface="Arial"/>
                <a:ea typeface="+mn-ea"/>
                <a:cs typeface="Arial"/>
              </a:rPr>
              <a:t>Updates</a:t>
            </a:r>
            <a:r>
              <a:rPr kumimoji="0" sz="2100" b="0" i="0" u="none" strike="noStrike" kern="1200" cap="none" spc="-5" normalizeH="0" baseline="0" noProof="0" dirty="0">
                <a:ln>
                  <a:noFill/>
                </a:ln>
                <a:solidFill>
                  <a:srgbClr val="003B55"/>
                </a:solidFill>
                <a:effectLst/>
                <a:uLnTx/>
                <a:uFillTx/>
                <a:latin typeface="Arial"/>
                <a:ea typeface="+mn-ea"/>
                <a:cs typeface="Arial"/>
              </a:rPr>
              <a:t> </a:t>
            </a:r>
            <a:r>
              <a:rPr kumimoji="0" sz="2100" b="0" i="0" u="none" strike="noStrike" kern="1200" cap="none" spc="25" normalizeH="0" baseline="0" noProof="0" dirty="0">
                <a:ln>
                  <a:noFill/>
                </a:ln>
                <a:solidFill>
                  <a:srgbClr val="003B55"/>
                </a:solidFill>
                <a:effectLst/>
                <a:uLnTx/>
                <a:uFillTx/>
                <a:latin typeface="Arial"/>
                <a:ea typeface="+mn-ea"/>
                <a:cs typeface="Arial"/>
              </a:rPr>
              <a:t>routes</a:t>
            </a:r>
            <a:endParaRPr kumimoji="0" sz="21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45"/>
              </a:spcBef>
              <a:spcAft>
                <a:spcPts val="0"/>
              </a:spcAft>
              <a:buClrTx/>
              <a:buSzTx/>
              <a:buFontTx/>
              <a:buNone/>
              <a:tabLst/>
              <a:defRPr/>
            </a:pPr>
            <a:r>
              <a:rPr kumimoji="0" sz="2100" b="0" i="0" u="none" strike="noStrike" kern="1200" cap="none" spc="25" normalizeH="0" baseline="0" noProof="0" dirty="0">
                <a:ln>
                  <a:noFill/>
                </a:ln>
                <a:solidFill>
                  <a:srgbClr val="003B55"/>
                </a:solidFill>
                <a:effectLst/>
                <a:uLnTx/>
                <a:uFillTx/>
                <a:latin typeface="Arial"/>
                <a:ea typeface="+mn-ea"/>
                <a:cs typeface="Arial"/>
              </a:rPr>
              <a:t>required </a:t>
            </a:r>
            <a:r>
              <a:rPr kumimoji="0" sz="2100" b="0" i="0" u="none" strike="noStrike" kern="1200" cap="none" spc="40" normalizeH="0" baseline="0" noProof="0" dirty="0">
                <a:ln>
                  <a:noFill/>
                </a:ln>
                <a:solidFill>
                  <a:srgbClr val="003B55"/>
                </a:solidFill>
                <a:effectLst/>
                <a:uLnTx/>
                <a:uFillTx/>
                <a:latin typeface="Arial"/>
                <a:ea typeface="+mn-ea"/>
                <a:cs typeface="Arial"/>
              </a:rPr>
              <a:t>for</a:t>
            </a:r>
            <a:r>
              <a:rPr kumimoji="0" sz="2100" b="0" i="0" u="none" strike="noStrike" kern="1200" cap="none" spc="-10" normalizeH="0" baseline="0" noProof="0" dirty="0">
                <a:ln>
                  <a:noFill/>
                </a:ln>
                <a:solidFill>
                  <a:srgbClr val="003B55"/>
                </a:solidFill>
                <a:effectLst/>
                <a:uLnTx/>
                <a:uFillTx/>
                <a:latin typeface="Arial"/>
                <a:ea typeface="+mn-ea"/>
                <a:cs typeface="Arial"/>
              </a:rPr>
              <a:t> </a:t>
            </a:r>
            <a:r>
              <a:rPr kumimoji="0" sz="2100" b="0" i="0" u="none" strike="noStrike" kern="1200" cap="none" spc="30" normalizeH="0" baseline="0" noProof="0" dirty="0">
                <a:ln>
                  <a:noFill/>
                </a:ln>
                <a:solidFill>
                  <a:srgbClr val="003B55"/>
                </a:solidFill>
                <a:effectLst/>
                <a:uLnTx/>
                <a:uFillTx/>
                <a:latin typeface="Arial"/>
                <a:ea typeface="+mn-ea"/>
                <a:cs typeface="Arial"/>
              </a:rPr>
              <a:t>consistency</a:t>
            </a:r>
            <a:endParaRPr kumimoji="0" sz="2100" b="0" i="0" u="none" strike="noStrike" kern="1200" cap="none" spc="0" normalizeH="0" baseline="0" noProof="0">
              <a:ln>
                <a:noFill/>
              </a:ln>
              <a:solidFill>
                <a:prstClr val="black"/>
              </a:solidFill>
              <a:effectLst/>
              <a:uLnTx/>
              <a:uFillTx/>
              <a:latin typeface="Arial"/>
              <a:ea typeface="+mn-ea"/>
              <a:cs typeface="Arial"/>
            </a:endParaRPr>
          </a:p>
        </p:txBody>
      </p:sp>
      <p:sp>
        <p:nvSpPr>
          <p:cNvPr id="42" name="object 42"/>
          <p:cNvSpPr/>
          <p:nvPr/>
        </p:nvSpPr>
        <p:spPr>
          <a:xfrm>
            <a:off x="1353311" y="2322576"/>
            <a:ext cx="2401824" cy="1929384"/>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1560575" y="2923032"/>
            <a:ext cx="338327" cy="350520"/>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txBox="1"/>
          <p:nvPr/>
        </p:nvSpPr>
        <p:spPr>
          <a:xfrm>
            <a:off x="706627" y="6355181"/>
            <a:ext cx="3641090" cy="16256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4062001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62736" y="587501"/>
            <a:ext cx="8539480" cy="596265"/>
          </a:xfrm>
          <a:prstGeom prst="rect">
            <a:avLst/>
          </a:prstGeom>
        </p:spPr>
        <p:txBody>
          <a:bodyPr vert="horz" wrap="square" lIns="0" tIns="12065" rIns="0" bIns="0" rtlCol="0">
            <a:spAutoFit/>
          </a:bodyPr>
          <a:lstStyle/>
          <a:p>
            <a:pPr marL="12700">
              <a:lnSpc>
                <a:spcPct val="100000"/>
              </a:lnSpc>
              <a:spcBef>
                <a:spcPts val="95"/>
              </a:spcBef>
            </a:pPr>
            <a:r>
              <a:rPr spc="-10" dirty="0">
                <a:solidFill>
                  <a:srgbClr val="005073"/>
                </a:solidFill>
              </a:rPr>
              <a:t>Change </a:t>
            </a:r>
            <a:r>
              <a:rPr spc="10" dirty="0">
                <a:solidFill>
                  <a:srgbClr val="005073"/>
                </a:solidFill>
              </a:rPr>
              <a:t>Control </a:t>
            </a:r>
            <a:r>
              <a:rPr spc="30" dirty="0">
                <a:solidFill>
                  <a:srgbClr val="005073"/>
                </a:solidFill>
              </a:rPr>
              <a:t>Workflow</a:t>
            </a:r>
            <a:r>
              <a:rPr spc="180" dirty="0">
                <a:solidFill>
                  <a:srgbClr val="005073"/>
                </a:solidFill>
              </a:rPr>
              <a:t> </a:t>
            </a:r>
            <a:r>
              <a:rPr spc="5" dirty="0">
                <a:solidFill>
                  <a:srgbClr val="005073"/>
                </a:solidFill>
              </a:rPr>
              <a:t>Orchestration</a:t>
            </a:r>
          </a:p>
        </p:txBody>
      </p:sp>
      <p:sp>
        <p:nvSpPr>
          <p:cNvPr id="3" name="object 3"/>
          <p:cNvSpPr/>
          <p:nvPr/>
        </p:nvSpPr>
        <p:spPr>
          <a:xfrm>
            <a:off x="6095392" y="2443950"/>
            <a:ext cx="4730750" cy="2576830"/>
          </a:xfrm>
          <a:custGeom>
            <a:avLst/>
            <a:gdLst/>
            <a:ahLst/>
            <a:cxnLst/>
            <a:rect l="l" t="t" r="r" b="b"/>
            <a:pathLst>
              <a:path w="4730750" h="2576829">
                <a:moveTo>
                  <a:pt x="430121" y="848143"/>
                </a:moveTo>
                <a:lnTo>
                  <a:pt x="424697" y="807422"/>
                </a:lnTo>
                <a:lnTo>
                  <a:pt x="423342" y="767114"/>
                </a:lnTo>
                <a:lnTo>
                  <a:pt x="425934" y="727340"/>
                </a:lnTo>
                <a:lnTo>
                  <a:pt x="432350" y="688217"/>
                </a:lnTo>
                <a:lnTo>
                  <a:pt x="442468" y="649866"/>
                </a:lnTo>
                <a:lnTo>
                  <a:pt x="456166" y="612405"/>
                </a:lnTo>
                <a:lnTo>
                  <a:pt x="473321" y="575954"/>
                </a:lnTo>
                <a:lnTo>
                  <a:pt x="493812" y="540632"/>
                </a:lnTo>
                <a:lnTo>
                  <a:pt x="517516" y="506558"/>
                </a:lnTo>
                <a:lnTo>
                  <a:pt x="544312" y="473852"/>
                </a:lnTo>
                <a:lnTo>
                  <a:pt x="574075" y="442632"/>
                </a:lnTo>
                <a:lnTo>
                  <a:pt x="606686" y="413018"/>
                </a:lnTo>
                <a:lnTo>
                  <a:pt x="642020" y="385129"/>
                </a:lnTo>
                <a:lnTo>
                  <a:pt x="679956" y="359085"/>
                </a:lnTo>
                <a:lnTo>
                  <a:pt x="720373" y="335004"/>
                </a:lnTo>
                <a:lnTo>
                  <a:pt x="763147" y="313006"/>
                </a:lnTo>
                <a:lnTo>
                  <a:pt x="808156" y="293209"/>
                </a:lnTo>
                <a:lnTo>
                  <a:pt x="855278" y="275734"/>
                </a:lnTo>
                <a:lnTo>
                  <a:pt x="904391" y="260700"/>
                </a:lnTo>
                <a:lnTo>
                  <a:pt x="955373" y="248225"/>
                </a:lnTo>
                <a:lnTo>
                  <a:pt x="1008101" y="238429"/>
                </a:lnTo>
                <a:lnTo>
                  <a:pt x="1062454" y="231431"/>
                </a:lnTo>
                <a:lnTo>
                  <a:pt x="1111622" y="227678"/>
                </a:lnTo>
                <a:lnTo>
                  <a:pt x="1160797" y="226383"/>
                </a:lnTo>
                <a:lnTo>
                  <a:pt x="1209821" y="227523"/>
                </a:lnTo>
                <a:lnTo>
                  <a:pt x="1258532" y="231071"/>
                </a:lnTo>
                <a:lnTo>
                  <a:pt x="1306770" y="237003"/>
                </a:lnTo>
                <a:lnTo>
                  <a:pt x="1354376" y="245293"/>
                </a:lnTo>
                <a:lnTo>
                  <a:pt x="1401189" y="255917"/>
                </a:lnTo>
                <a:lnTo>
                  <a:pt x="1447050" y="268848"/>
                </a:lnTo>
                <a:lnTo>
                  <a:pt x="1491799" y="284063"/>
                </a:lnTo>
                <a:lnTo>
                  <a:pt x="1535275" y="301535"/>
                </a:lnTo>
                <a:lnTo>
                  <a:pt x="1562286" y="267538"/>
                </a:lnTo>
                <a:lnTo>
                  <a:pt x="1592759" y="236031"/>
                </a:lnTo>
                <a:lnTo>
                  <a:pt x="1626415" y="207078"/>
                </a:lnTo>
                <a:lnTo>
                  <a:pt x="1662975" y="180741"/>
                </a:lnTo>
                <a:lnTo>
                  <a:pt x="1702162" y="157085"/>
                </a:lnTo>
                <a:lnTo>
                  <a:pt x="1743696" y="136172"/>
                </a:lnTo>
                <a:lnTo>
                  <a:pt x="1787300" y="118065"/>
                </a:lnTo>
                <a:lnTo>
                  <a:pt x="1832695" y="102828"/>
                </a:lnTo>
                <a:lnTo>
                  <a:pt x="1879604" y="90524"/>
                </a:lnTo>
                <a:lnTo>
                  <a:pt x="1927747" y="81217"/>
                </a:lnTo>
                <a:lnTo>
                  <a:pt x="1976846" y="74969"/>
                </a:lnTo>
                <a:lnTo>
                  <a:pt x="2026624" y="71844"/>
                </a:lnTo>
                <a:lnTo>
                  <a:pt x="2076801" y="71904"/>
                </a:lnTo>
                <a:lnTo>
                  <a:pt x="2127100" y="75214"/>
                </a:lnTo>
                <a:lnTo>
                  <a:pt x="2177242" y="81837"/>
                </a:lnTo>
                <a:lnTo>
                  <a:pt x="2226949" y="91835"/>
                </a:lnTo>
                <a:lnTo>
                  <a:pt x="2275943" y="105272"/>
                </a:lnTo>
                <a:lnTo>
                  <a:pt x="2323945" y="122211"/>
                </a:lnTo>
                <a:lnTo>
                  <a:pt x="2360477" y="137866"/>
                </a:lnTo>
                <a:lnTo>
                  <a:pt x="2395319" y="155437"/>
                </a:lnTo>
                <a:lnTo>
                  <a:pt x="2428351" y="174843"/>
                </a:lnTo>
                <a:lnTo>
                  <a:pt x="2459454" y="195998"/>
                </a:lnTo>
                <a:lnTo>
                  <a:pt x="2485187" y="162374"/>
                </a:lnTo>
                <a:lnTo>
                  <a:pt x="2515033" y="131621"/>
                </a:lnTo>
                <a:lnTo>
                  <a:pt x="2548603" y="103836"/>
                </a:lnTo>
                <a:lnTo>
                  <a:pt x="2585505" y="79114"/>
                </a:lnTo>
                <a:lnTo>
                  <a:pt x="2625349" y="57554"/>
                </a:lnTo>
                <a:lnTo>
                  <a:pt x="2667744" y="39252"/>
                </a:lnTo>
                <a:lnTo>
                  <a:pt x="2712300" y="24304"/>
                </a:lnTo>
                <a:lnTo>
                  <a:pt x="2758626" y="12808"/>
                </a:lnTo>
                <a:lnTo>
                  <a:pt x="2806331" y="4861"/>
                </a:lnTo>
                <a:lnTo>
                  <a:pt x="2855026" y="559"/>
                </a:lnTo>
                <a:lnTo>
                  <a:pt x="2904319" y="0"/>
                </a:lnTo>
                <a:lnTo>
                  <a:pt x="2953819" y="3279"/>
                </a:lnTo>
                <a:lnTo>
                  <a:pt x="3003137" y="10495"/>
                </a:lnTo>
                <a:lnTo>
                  <a:pt x="3051881" y="21743"/>
                </a:lnTo>
                <a:lnTo>
                  <a:pt x="3099661" y="37121"/>
                </a:lnTo>
                <a:lnTo>
                  <a:pt x="3147054" y="57203"/>
                </a:lnTo>
                <a:lnTo>
                  <a:pt x="3190863" y="81095"/>
                </a:lnTo>
                <a:lnTo>
                  <a:pt x="3230695" y="108558"/>
                </a:lnTo>
                <a:lnTo>
                  <a:pt x="3266158" y="139356"/>
                </a:lnTo>
                <a:lnTo>
                  <a:pt x="3301098" y="111620"/>
                </a:lnTo>
                <a:lnTo>
                  <a:pt x="3338744" y="86919"/>
                </a:lnTo>
                <a:lnTo>
                  <a:pt x="3378782" y="65273"/>
                </a:lnTo>
                <a:lnTo>
                  <a:pt x="3420897" y="46701"/>
                </a:lnTo>
                <a:lnTo>
                  <a:pt x="3464778" y="31221"/>
                </a:lnTo>
                <a:lnTo>
                  <a:pt x="3510109" y="18853"/>
                </a:lnTo>
                <a:lnTo>
                  <a:pt x="3556577" y="9616"/>
                </a:lnTo>
                <a:lnTo>
                  <a:pt x="3603870" y="3529"/>
                </a:lnTo>
                <a:lnTo>
                  <a:pt x="3651672" y="610"/>
                </a:lnTo>
                <a:lnTo>
                  <a:pt x="3699671" y="880"/>
                </a:lnTo>
                <a:lnTo>
                  <a:pt x="3747553" y="4357"/>
                </a:lnTo>
                <a:lnTo>
                  <a:pt x="3795004" y="11060"/>
                </a:lnTo>
                <a:lnTo>
                  <a:pt x="3841711" y="21008"/>
                </a:lnTo>
                <a:lnTo>
                  <a:pt x="3887360" y="34221"/>
                </a:lnTo>
                <a:lnTo>
                  <a:pt x="3931637" y="50717"/>
                </a:lnTo>
                <a:lnTo>
                  <a:pt x="3974229" y="70516"/>
                </a:lnTo>
                <a:lnTo>
                  <a:pt x="4014823" y="93636"/>
                </a:lnTo>
                <a:lnTo>
                  <a:pt x="4059265" y="124909"/>
                </a:lnTo>
                <a:lnTo>
                  <a:pt x="4098285" y="159540"/>
                </a:lnTo>
                <a:lnTo>
                  <a:pt x="4131583" y="197141"/>
                </a:lnTo>
                <a:lnTo>
                  <a:pt x="4158860" y="237325"/>
                </a:lnTo>
                <a:lnTo>
                  <a:pt x="4179814" y="279703"/>
                </a:lnTo>
                <a:lnTo>
                  <a:pt x="4194147" y="323887"/>
                </a:lnTo>
                <a:lnTo>
                  <a:pt x="4247637" y="336766"/>
                </a:lnTo>
                <a:lnTo>
                  <a:pt x="4298312" y="353065"/>
                </a:lnTo>
                <a:lnTo>
                  <a:pt x="4345998" y="372561"/>
                </a:lnTo>
                <a:lnTo>
                  <a:pt x="4390525" y="395031"/>
                </a:lnTo>
                <a:lnTo>
                  <a:pt x="4431720" y="420252"/>
                </a:lnTo>
                <a:lnTo>
                  <a:pt x="4469413" y="448000"/>
                </a:lnTo>
                <a:lnTo>
                  <a:pt x="4503430" y="478051"/>
                </a:lnTo>
                <a:lnTo>
                  <a:pt x="4533601" y="510183"/>
                </a:lnTo>
                <a:lnTo>
                  <a:pt x="4559754" y="544173"/>
                </a:lnTo>
                <a:lnTo>
                  <a:pt x="4581718" y="579796"/>
                </a:lnTo>
                <a:lnTo>
                  <a:pt x="4599319" y="616830"/>
                </a:lnTo>
                <a:lnTo>
                  <a:pt x="4612388" y="655050"/>
                </a:lnTo>
                <a:lnTo>
                  <a:pt x="4620751" y="694235"/>
                </a:lnTo>
                <a:lnTo>
                  <a:pt x="4624238" y="734160"/>
                </a:lnTo>
                <a:lnTo>
                  <a:pt x="4622676" y="774602"/>
                </a:lnTo>
                <a:lnTo>
                  <a:pt x="4615895" y="815338"/>
                </a:lnTo>
                <a:lnTo>
                  <a:pt x="4603722" y="856144"/>
                </a:lnTo>
                <a:lnTo>
                  <a:pt x="4584612" y="899114"/>
                </a:lnTo>
                <a:lnTo>
                  <a:pt x="4576925" y="913040"/>
                </a:lnTo>
                <a:lnTo>
                  <a:pt x="4610433" y="948120"/>
                </a:lnTo>
                <a:lnTo>
                  <a:pt x="4639748" y="984450"/>
                </a:lnTo>
                <a:lnTo>
                  <a:pt x="4664902" y="1021856"/>
                </a:lnTo>
                <a:lnTo>
                  <a:pt x="4685923" y="1060169"/>
                </a:lnTo>
                <a:lnTo>
                  <a:pt x="4702844" y="1099216"/>
                </a:lnTo>
                <a:lnTo>
                  <a:pt x="4715694" y="1138826"/>
                </a:lnTo>
                <a:lnTo>
                  <a:pt x="4724503" y="1178827"/>
                </a:lnTo>
                <a:lnTo>
                  <a:pt x="4729303" y="1219049"/>
                </a:lnTo>
                <a:lnTo>
                  <a:pt x="4730123" y="1259319"/>
                </a:lnTo>
                <a:lnTo>
                  <a:pt x="4726995" y="1299466"/>
                </a:lnTo>
                <a:lnTo>
                  <a:pt x="4719947" y="1339319"/>
                </a:lnTo>
                <a:lnTo>
                  <a:pt x="4709012" y="1378706"/>
                </a:lnTo>
                <a:lnTo>
                  <a:pt x="4694219" y="1417455"/>
                </a:lnTo>
                <a:lnTo>
                  <a:pt x="4675599" y="1455396"/>
                </a:lnTo>
                <a:lnTo>
                  <a:pt x="4653182" y="1492356"/>
                </a:lnTo>
                <a:lnTo>
                  <a:pt x="4626999" y="1528165"/>
                </a:lnTo>
                <a:lnTo>
                  <a:pt x="4597080" y="1562650"/>
                </a:lnTo>
                <a:lnTo>
                  <a:pt x="4563455" y="1595641"/>
                </a:lnTo>
                <a:lnTo>
                  <a:pt x="4526156" y="1626965"/>
                </a:lnTo>
                <a:lnTo>
                  <a:pt x="4485212" y="1656452"/>
                </a:lnTo>
                <a:lnTo>
                  <a:pt x="4440654" y="1683930"/>
                </a:lnTo>
                <a:lnTo>
                  <a:pt x="4396290" y="1707332"/>
                </a:lnTo>
                <a:lnTo>
                  <a:pt x="4349875" y="1728186"/>
                </a:lnTo>
                <a:lnTo>
                  <a:pt x="4301614" y="1746432"/>
                </a:lnTo>
                <a:lnTo>
                  <a:pt x="4251712" y="1762009"/>
                </a:lnTo>
                <a:lnTo>
                  <a:pt x="4200372" y="1774859"/>
                </a:lnTo>
                <a:lnTo>
                  <a:pt x="4147799" y="1784921"/>
                </a:lnTo>
                <a:lnTo>
                  <a:pt x="4094198" y="1792134"/>
                </a:lnTo>
                <a:lnTo>
                  <a:pt x="4091439" y="1832577"/>
                </a:lnTo>
                <a:lnTo>
                  <a:pt x="4084173" y="1872038"/>
                </a:lnTo>
                <a:lnTo>
                  <a:pt x="4072592" y="1910378"/>
                </a:lnTo>
                <a:lnTo>
                  <a:pt x="4056886" y="1947456"/>
                </a:lnTo>
                <a:lnTo>
                  <a:pt x="4037247" y="1983134"/>
                </a:lnTo>
                <a:lnTo>
                  <a:pt x="4013866" y="2017271"/>
                </a:lnTo>
                <a:lnTo>
                  <a:pt x="3986935" y="2049728"/>
                </a:lnTo>
                <a:lnTo>
                  <a:pt x="3956646" y="2080365"/>
                </a:lnTo>
                <a:lnTo>
                  <a:pt x="3923189" y="2109043"/>
                </a:lnTo>
                <a:lnTo>
                  <a:pt x="3886757" y="2135622"/>
                </a:lnTo>
                <a:lnTo>
                  <a:pt x="3847539" y="2159963"/>
                </a:lnTo>
                <a:lnTo>
                  <a:pt x="3805729" y="2181924"/>
                </a:lnTo>
                <a:lnTo>
                  <a:pt x="3761517" y="2201368"/>
                </a:lnTo>
                <a:lnTo>
                  <a:pt x="3715095" y="2218155"/>
                </a:lnTo>
                <a:lnTo>
                  <a:pt x="3666654" y="2232144"/>
                </a:lnTo>
                <a:lnTo>
                  <a:pt x="3616386" y="2243196"/>
                </a:lnTo>
                <a:lnTo>
                  <a:pt x="3564482" y="2251172"/>
                </a:lnTo>
                <a:lnTo>
                  <a:pt x="3511133" y="2255931"/>
                </a:lnTo>
                <a:lnTo>
                  <a:pt x="3456531" y="2257335"/>
                </a:lnTo>
                <a:lnTo>
                  <a:pt x="3406703" y="2255601"/>
                </a:lnTo>
                <a:lnTo>
                  <a:pt x="3357406" y="2250978"/>
                </a:lnTo>
                <a:lnTo>
                  <a:pt x="3308861" y="2243512"/>
                </a:lnTo>
                <a:lnTo>
                  <a:pt x="3261285" y="2233255"/>
                </a:lnTo>
                <a:lnTo>
                  <a:pt x="3214901" y="2220253"/>
                </a:lnTo>
                <a:lnTo>
                  <a:pt x="3169928" y="2204557"/>
                </a:lnTo>
                <a:lnTo>
                  <a:pt x="3126585" y="2186215"/>
                </a:lnTo>
                <a:lnTo>
                  <a:pt x="3109522" y="2223358"/>
                </a:lnTo>
                <a:lnTo>
                  <a:pt x="3089281" y="2259008"/>
                </a:lnTo>
                <a:lnTo>
                  <a:pt x="3066019" y="2293103"/>
                </a:lnTo>
                <a:lnTo>
                  <a:pt x="3039890" y="2325582"/>
                </a:lnTo>
                <a:lnTo>
                  <a:pt x="3011051" y="2356381"/>
                </a:lnTo>
                <a:lnTo>
                  <a:pt x="2979656" y="2385440"/>
                </a:lnTo>
                <a:lnTo>
                  <a:pt x="2945863" y="2412696"/>
                </a:lnTo>
                <a:lnTo>
                  <a:pt x="2909825" y="2438086"/>
                </a:lnTo>
                <a:lnTo>
                  <a:pt x="2871699" y="2461549"/>
                </a:lnTo>
                <a:lnTo>
                  <a:pt x="2831641" y="2483023"/>
                </a:lnTo>
                <a:lnTo>
                  <a:pt x="2789805" y="2502445"/>
                </a:lnTo>
                <a:lnTo>
                  <a:pt x="2746349" y="2519753"/>
                </a:lnTo>
                <a:lnTo>
                  <a:pt x="2701427" y="2534885"/>
                </a:lnTo>
                <a:lnTo>
                  <a:pt x="2655195" y="2547779"/>
                </a:lnTo>
                <a:lnTo>
                  <a:pt x="2607808" y="2558373"/>
                </a:lnTo>
                <a:lnTo>
                  <a:pt x="2559423" y="2566605"/>
                </a:lnTo>
                <a:lnTo>
                  <a:pt x="2510195" y="2572412"/>
                </a:lnTo>
                <a:lnTo>
                  <a:pt x="2460279" y="2575733"/>
                </a:lnTo>
                <a:lnTo>
                  <a:pt x="2409831" y="2576505"/>
                </a:lnTo>
                <a:lnTo>
                  <a:pt x="2359007" y="2574666"/>
                </a:lnTo>
                <a:lnTo>
                  <a:pt x="2307963" y="2570154"/>
                </a:lnTo>
                <a:lnTo>
                  <a:pt x="2256853" y="2562908"/>
                </a:lnTo>
                <a:lnTo>
                  <a:pt x="2205835" y="2552864"/>
                </a:lnTo>
                <a:lnTo>
                  <a:pt x="2152166" y="2539048"/>
                </a:lnTo>
                <a:lnTo>
                  <a:pt x="2100343" y="2522310"/>
                </a:lnTo>
                <a:lnTo>
                  <a:pt x="2050566" y="2502755"/>
                </a:lnTo>
                <a:lnTo>
                  <a:pt x="2003033" y="2480492"/>
                </a:lnTo>
                <a:lnTo>
                  <a:pt x="1957946" y="2455625"/>
                </a:lnTo>
                <a:lnTo>
                  <a:pt x="1915503" y="2428263"/>
                </a:lnTo>
                <a:lnTo>
                  <a:pt x="1875905" y="2398511"/>
                </a:lnTo>
                <a:lnTo>
                  <a:pt x="1839350" y="2366476"/>
                </a:lnTo>
                <a:lnTo>
                  <a:pt x="1806039" y="2332265"/>
                </a:lnTo>
                <a:lnTo>
                  <a:pt x="1761162" y="2351019"/>
                </a:lnTo>
                <a:lnTo>
                  <a:pt x="1715426" y="2367530"/>
                </a:lnTo>
                <a:lnTo>
                  <a:pt x="1668954" y="2381821"/>
                </a:lnTo>
                <a:lnTo>
                  <a:pt x="1621865" y="2393915"/>
                </a:lnTo>
                <a:lnTo>
                  <a:pt x="1574281" y="2403833"/>
                </a:lnTo>
                <a:lnTo>
                  <a:pt x="1526324" y="2411600"/>
                </a:lnTo>
                <a:lnTo>
                  <a:pt x="1478114" y="2417236"/>
                </a:lnTo>
                <a:lnTo>
                  <a:pt x="1429773" y="2420765"/>
                </a:lnTo>
                <a:lnTo>
                  <a:pt x="1381421" y="2422209"/>
                </a:lnTo>
                <a:lnTo>
                  <a:pt x="1333180" y="2421591"/>
                </a:lnTo>
                <a:lnTo>
                  <a:pt x="1285172" y="2418933"/>
                </a:lnTo>
                <a:lnTo>
                  <a:pt x="1237516" y="2414258"/>
                </a:lnTo>
                <a:lnTo>
                  <a:pt x="1190334" y="2407588"/>
                </a:lnTo>
                <a:lnTo>
                  <a:pt x="1143748" y="2398946"/>
                </a:lnTo>
                <a:lnTo>
                  <a:pt x="1097878" y="2388354"/>
                </a:lnTo>
                <a:lnTo>
                  <a:pt x="1052846" y="2375835"/>
                </a:lnTo>
                <a:lnTo>
                  <a:pt x="1008772" y="2361412"/>
                </a:lnTo>
                <a:lnTo>
                  <a:pt x="965779" y="2345106"/>
                </a:lnTo>
                <a:lnTo>
                  <a:pt x="923986" y="2326941"/>
                </a:lnTo>
                <a:lnTo>
                  <a:pt x="883515" y="2306939"/>
                </a:lnTo>
                <a:lnTo>
                  <a:pt x="844488" y="2285122"/>
                </a:lnTo>
                <a:lnTo>
                  <a:pt x="807026" y="2261514"/>
                </a:lnTo>
                <a:lnTo>
                  <a:pt x="771248" y="2236136"/>
                </a:lnTo>
                <a:lnTo>
                  <a:pt x="737278" y="2209011"/>
                </a:lnTo>
                <a:lnTo>
                  <a:pt x="705235" y="2180162"/>
                </a:lnTo>
                <a:lnTo>
                  <a:pt x="675241" y="2149611"/>
                </a:lnTo>
                <a:lnTo>
                  <a:pt x="647418" y="2117381"/>
                </a:lnTo>
                <a:lnTo>
                  <a:pt x="641449" y="2109888"/>
                </a:lnTo>
                <a:lnTo>
                  <a:pt x="638528" y="2106078"/>
                </a:lnTo>
                <a:lnTo>
                  <a:pt x="582911" y="2108521"/>
                </a:lnTo>
                <a:lnTo>
                  <a:pt x="528450" y="2106263"/>
                </a:lnTo>
                <a:lnTo>
                  <a:pt x="475539" y="2099534"/>
                </a:lnTo>
                <a:lnTo>
                  <a:pt x="424577" y="2088568"/>
                </a:lnTo>
                <a:lnTo>
                  <a:pt x="375959" y="2073596"/>
                </a:lnTo>
                <a:lnTo>
                  <a:pt x="330081" y="2054850"/>
                </a:lnTo>
                <a:lnTo>
                  <a:pt x="287341" y="2032561"/>
                </a:lnTo>
                <a:lnTo>
                  <a:pt x="248135" y="2006962"/>
                </a:lnTo>
                <a:lnTo>
                  <a:pt x="212859" y="1978284"/>
                </a:lnTo>
                <a:lnTo>
                  <a:pt x="181911" y="1946760"/>
                </a:lnTo>
                <a:lnTo>
                  <a:pt x="155686" y="1912620"/>
                </a:lnTo>
                <a:lnTo>
                  <a:pt x="134581" y="1876098"/>
                </a:lnTo>
                <a:lnTo>
                  <a:pt x="118993" y="1837425"/>
                </a:lnTo>
                <a:lnTo>
                  <a:pt x="109319" y="1796833"/>
                </a:lnTo>
                <a:lnTo>
                  <a:pt x="106079" y="1752709"/>
                </a:lnTo>
                <a:lnTo>
                  <a:pt x="110257" y="1709050"/>
                </a:lnTo>
                <a:lnTo>
                  <a:pt x="121635" y="1666334"/>
                </a:lnTo>
                <a:lnTo>
                  <a:pt x="139996" y="1625043"/>
                </a:lnTo>
                <a:lnTo>
                  <a:pt x="165121" y="1585656"/>
                </a:lnTo>
                <a:lnTo>
                  <a:pt x="196793" y="1548652"/>
                </a:lnTo>
                <a:lnTo>
                  <a:pt x="234795" y="1514512"/>
                </a:lnTo>
                <a:lnTo>
                  <a:pt x="188594" y="1491588"/>
                </a:lnTo>
                <a:lnTo>
                  <a:pt x="147125" y="1465406"/>
                </a:lnTo>
                <a:lnTo>
                  <a:pt x="110513" y="1436328"/>
                </a:lnTo>
                <a:lnTo>
                  <a:pt x="78887" y="1404720"/>
                </a:lnTo>
                <a:lnTo>
                  <a:pt x="52374" y="1370946"/>
                </a:lnTo>
                <a:lnTo>
                  <a:pt x="31101" y="1335371"/>
                </a:lnTo>
                <a:lnTo>
                  <a:pt x="15196" y="1298358"/>
                </a:lnTo>
                <a:lnTo>
                  <a:pt x="4786" y="1260272"/>
                </a:lnTo>
                <a:lnTo>
                  <a:pt x="0" y="1221477"/>
                </a:lnTo>
                <a:lnTo>
                  <a:pt x="963" y="1182338"/>
                </a:lnTo>
                <a:lnTo>
                  <a:pt x="7804" y="1143220"/>
                </a:lnTo>
                <a:lnTo>
                  <a:pt x="20651" y="1104485"/>
                </a:lnTo>
                <a:lnTo>
                  <a:pt x="39630" y="1066499"/>
                </a:lnTo>
                <a:lnTo>
                  <a:pt x="64869" y="1029626"/>
                </a:lnTo>
                <a:lnTo>
                  <a:pt x="96203" y="994679"/>
                </a:lnTo>
                <a:lnTo>
                  <a:pt x="132451" y="963050"/>
                </a:lnTo>
                <a:lnTo>
                  <a:pt x="173130" y="934976"/>
                </a:lnTo>
                <a:lnTo>
                  <a:pt x="217761" y="910690"/>
                </a:lnTo>
                <a:lnTo>
                  <a:pt x="265862" y="890430"/>
                </a:lnTo>
                <a:lnTo>
                  <a:pt x="316954" y="874428"/>
                </a:lnTo>
                <a:lnTo>
                  <a:pt x="370555" y="862921"/>
                </a:lnTo>
                <a:lnTo>
                  <a:pt x="426184" y="856144"/>
                </a:lnTo>
                <a:lnTo>
                  <a:pt x="430121" y="848143"/>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6335267" y="3948429"/>
            <a:ext cx="277495" cy="48895"/>
          </a:xfrm>
          <a:custGeom>
            <a:avLst/>
            <a:gdLst/>
            <a:ahLst/>
            <a:cxnLst/>
            <a:rect l="l" t="t" r="r" b="b"/>
            <a:pathLst>
              <a:path w="277495" h="48895">
                <a:moveTo>
                  <a:pt x="276987" y="47625"/>
                </a:moveTo>
                <a:lnTo>
                  <a:pt x="228723" y="48577"/>
                </a:lnTo>
                <a:lnTo>
                  <a:pt x="180819" y="45889"/>
                </a:lnTo>
                <a:lnTo>
                  <a:pt x="133635" y="39624"/>
                </a:lnTo>
                <a:lnTo>
                  <a:pt x="87531" y="29844"/>
                </a:lnTo>
                <a:lnTo>
                  <a:pt x="42866" y="16615"/>
                </a:lnTo>
                <a:lnTo>
                  <a:pt x="0"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6735444" y="4515992"/>
            <a:ext cx="121285" cy="22860"/>
          </a:xfrm>
          <a:custGeom>
            <a:avLst/>
            <a:gdLst/>
            <a:ahLst/>
            <a:cxnLst/>
            <a:rect l="l" t="t" r="r" b="b"/>
            <a:pathLst>
              <a:path w="121284" h="22860">
                <a:moveTo>
                  <a:pt x="121284" y="0"/>
                </a:moveTo>
                <a:lnTo>
                  <a:pt x="91797" y="7927"/>
                </a:lnTo>
                <a:lnTo>
                  <a:pt x="61690" y="14366"/>
                </a:lnTo>
                <a:lnTo>
                  <a:pt x="31059" y="19305"/>
                </a:lnTo>
                <a:lnTo>
                  <a:pt x="0" y="22732"/>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7828026" y="4662170"/>
            <a:ext cx="73025" cy="104139"/>
          </a:xfrm>
          <a:custGeom>
            <a:avLst/>
            <a:gdLst/>
            <a:ahLst/>
            <a:cxnLst/>
            <a:rect l="l" t="t" r="r" b="b"/>
            <a:pathLst>
              <a:path w="73025" h="104139">
                <a:moveTo>
                  <a:pt x="73025" y="103758"/>
                </a:moveTo>
                <a:lnTo>
                  <a:pt x="52006" y="78884"/>
                </a:lnTo>
                <a:lnTo>
                  <a:pt x="32797" y="53260"/>
                </a:lnTo>
                <a:lnTo>
                  <a:pt x="15446" y="26945"/>
                </a:lnTo>
                <a:lnTo>
                  <a:pt x="0"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9222485" y="4507229"/>
            <a:ext cx="29209" cy="114300"/>
          </a:xfrm>
          <a:custGeom>
            <a:avLst/>
            <a:gdLst/>
            <a:ahLst/>
            <a:cxnLst/>
            <a:rect l="l" t="t" r="r" b="b"/>
            <a:pathLst>
              <a:path w="29209" h="114300">
                <a:moveTo>
                  <a:pt x="29083" y="0"/>
                </a:moveTo>
                <a:lnTo>
                  <a:pt x="24824" y="28852"/>
                </a:lnTo>
                <a:lnTo>
                  <a:pt x="18542" y="57467"/>
                </a:lnTo>
                <a:lnTo>
                  <a:pt x="10259" y="85796"/>
                </a:lnTo>
                <a:lnTo>
                  <a:pt x="0" y="113792"/>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9831451" y="3803903"/>
            <a:ext cx="355600" cy="425450"/>
          </a:xfrm>
          <a:custGeom>
            <a:avLst/>
            <a:gdLst/>
            <a:ahLst/>
            <a:cxnLst/>
            <a:rect l="l" t="t" r="r" b="b"/>
            <a:pathLst>
              <a:path w="355600" h="425450">
                <a:moveTo>
                  <a:pt x="0" y="0"/>
                </a:moveTo>
                <a:lnTo>
                  <a:pt x="53080" y="21538"/>
                </a:lnTo>
                <a:lnTo>
                  <a:pt x="102584" y="46427"/>
                </a:lnTo>
                <a:lnTo>
                  <a:pt x="148306" y="74422"/>
                </a:lnTo>
                <a:lnTo>
                  <a:pt x="190039" y="105273"/>
                </a:lnTo>
                <a:lnTo>
                  <a:pt x="227577" y="138735"/>
                </a:lnTo>
                <a:lnTo>
                  <a:pt x="260715" y="174561"/>
                </a:lnTo>
                <a:lnTo>
                  <a:pt x="289246" y="212503"/>
                </a:lnTo>
                <a:lnTo>
                  <a:pt x="312965" y="252316"/>
                </a:lnTo>
                <a:lnTo>
                  <a:pt x="331666" y="293751"/>
                </a:lnTo>
                <a:lnTo>
                  <a:pt x="345143" y="336561"/>
                </a:lnTo>
                <a:lnTo>
                  <a:pt x="353189" y="380501"/>
                </a:lnTo>
                <a:lnTo>
                  <a:pt x="355600" y="425323"/>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10511790" y="3350767"/>
            <a:ext cx="158750" cy="160020"/>
          </a:xfrm>
          <a:custGeom>
            <a:avLst/>
            <a:gdLst/>
            <a:ahLst/>
            <a:cxnLst/>
            <a:rect l="l" t="t" r="r" b="b"/>
            <a:pathLst>
              <a:path w="158750" h="160020">
                <a:moveTo>
                  <a:pt x="158368" y="0"/>
                </a:moveTo>
                <a:lnTo>
                  <a:pt x="134827" y="36072"/>
                </a:lnTo>
                <a:lnTo>
                  <a:pt x="107012" y="70248"/>
                </a:lnTo>
                <a:lnTo>
                  <a:pt x="75131" y="102339"/>
                </a:lnTo>
                <a:lnTo>
                  <a:pt x="39391" y="132157"/>
                </a:lnTo>
                <a:lnTo>
                  <a:pt x="0" y="159512"/>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10290175" y="2758820"/>
            <a:ext cx="8890" cy="75565"/>
          </a:xfrm>
          <a:custGeom>
            <a:avLst/>
            <a:gdLst/>
            <a:ahLst/>
            <a:cxnLst/>
            <a:rect l="l" t="t" r="r" b="b"/>
            <a:pathLst>
              <a:path w="8890" h="75564">
                <a:moveTo>
                  <a:pt x="0" y="0"/>
                </a:moveTo>
                <a:lnTo>
                  <a:pt x="3952" y="18732"/>
                </a:lnTo>
                <a:lnTo>
                  <a:pt x="6667" y="37560"/>
                </a:lnTo>
                <a:lnTo>
                  <a:pt x="8143" y="56435"/>
                </a:lnTo>
                <a:lnTo>
                  <a:pt x="8381" y="75311"/>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9279001" y="2574925"/>
            <a:ext cx="81280" cy="96520"/>
          </a:xfrm>
          <a:custGeom>
            <a:avLst/>
            <a:gdLst/>
            <a:ahLst/>
            <a:cxnLst/>
            <a:rect l="l" t="t" r="r" b="b"/>
            <a:pathLst>
              <a:path w="81279" h="96519">
                <a:moveTo>
                  <a:pt x="0" y="96012"/>
                </a:moveTo>
                <a:lnTo>
                  <a:pt x="16752" y="70455"/>
                </a:lnTo>
                <a:lnTo>
                  <a:pt x="35909" y="45862"/>
                </a:lnTo>
                <a:lnTo>
                  <a:pt x="57400" y="22342"/>
                </a:lnTo>
                <a:lnTo>
                  <a:pt x="81152" y="0"/>
                </a:lnTo>
              </a:path>
            </a:pathLst>
          </a:custGeom>
          <a:ln w="24383">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8520430" y="2633852"/>
            <a:ext cx="39370" cy="83185"/>
          </a:xfrm>
          <a:custGeom>
            <a:avLst/>
            <a:gdLst/>
            <a:ahLst/>
            <a:cxnLst/>
            <a:rect l="l" t="t" r="r" b="b"/>
            <a:pathLst>
              <a:path w="39370" h="83185">
                <a:moveTo>
                  <a:pt x="0" y="82931"/>
                </a:moveTo>
                <a:lnTo>
                  <a:pt x="7185" y="61561"/>
                </a:lnTo>
                <a:lnTo>
                  <a:pt x="16144" y="40560"/>
                </a:lnTo>
                <a:lnTo>
                  <a:pt x="26842" y="20012"/>
                </a:lnTo>
                <a:lnTo>
                  <a:pt x="39243"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7630159" y="2744851"/>
            <a:ext cx="142240" cy="80645"/>
          </a:xfrm>
          <a:custGeom>
            <a:avLst/>
            <a:gdLst/>
            <a:ahLst/>
            <a:cxnLst/>
            <a:rect l="l" t="t" r="r" b="b"/>
            <a:pathLst>
              <a:path w="142240" h="80644">
                <a:moveTo>
                  <a:pt x="0" y="0"/>
                </a:moveTo>
                <a:lnTo>
                  <a:pt x="37939" y="17704"/>
                </a:lnTo>
                <a:lnTo>
                  <a:pt x="74342" y="37052"/>
                </a:lnTo>
                <a:lnTo>
                  <a:pt x="109102" y="57971"/>
                </a:lnTo>
                <a:lnTo>
                  <a:pt x="142113" y="8039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6525514" y="3292094"/>
            <a:ext cx="25400" cy="85090"/>
          </a:xfrm>
          <a:custGeom>
            <a:avLst/>
            <a:gdLst/>
            <a:ahLst/>
            <a:cxnLst/>
            <a:rect l="l" t="t" r="r" b="b"/>
            <a:pathLst>
              <a:path w="25400" h="85089">
                <a:moveTo>
                  <a:pt x="24891" y="84581"/>
                </a:moveTo>
                <a:lnTo>
                  <a:pt x="16984" y="63722"/>
                </a:lnTo>
                <a:lnTo>
                  <a:pt x="10207" y="42672"/>
                </a:lnTo>
                <a:lnTo>
                  <a:pt x="4550" y="21431"/>
                </a:lnTo>
                <a:lnTo>
                  <a:pt x="0"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8083295" y="2093976"/>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36A3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8083295" y="2093976"/>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txBox="1"/>
          <p:nvPr/>
        </p:nvSpPr>
        <p:spPr>
          <a:xfrm>
            <a:off x="8293607" y="2289048"/>
            <a:ext cx="463550" cy="271780"/>
          </a:xfrm>
          <a:prstGeom prst="rect">
            <a:avLst/>
          </a:prstGeom>
          <a:solidFill>
            <a:srgbClr val="E0E0E0"/>
          </a:solidFill>
          <a:ln w="24384">
            <a:solidFill>
              <a:srgbClr val="003B55"/>
            </a:solidFill>
          </a:ln>
        </p:spPr>
        <p:txBody>
          <a:bodyPr vert="horz" wrap="square" lIns="0" tIns="61594" rIns="0" bIns="0" rtlCol="0">
            <a:spAutoFit/>
          </a:bodyPr>
          <a:lstStyle/>
          <a:p>
            <a:pPr marL="69215" marR="0" lvl="0" indent="0" algn="l" defTabSz="914400" rtl="0" eaLnBrk="1" fontAlgn="auto" latinLnBrk="0" hangingPunct="1">
              <a:lnSpc>
                <a:spcPct val="100000"/>
              </a:lnSpc>
              <a:spcBef>
                <a:spcPts val="484"/>
              </a:spcBef>
              <a:spcAft>
                <a:spcPts val="0"/>
              </a:spcAft>
              <a:buClrTx/>
              <a:buSzTx/>
              <a:buFontTx/>
              <a:buNone/>
              <a:tabLst/>
              <a:defRPr/>
            </a:pPr>
            <a:r>
              <a:rPr kumimoji="0" sz="850" b="0" i="0" u="none" strike="noStrike" kern="1200" cap="none" spc="0" normalizeH="0" baseline="0" noProof="0" dirty="0">
                <a:ln>
                  <a:noFill/>
                </a:ln>
                <a:solidFill>
                  <a:srgbClr val="282828"/>
                </a:solidFill>
                <a:effectLst/>
                <a:uLnTx/>
                <a:uFillTx/>
                <a:latin typeface="Lucida Sans Unicode"/>
                <a:ea typeface="+mn-ea"/>
                <a:cs typeface="Lucida Sans Unicode"/>
              </a:rPr>
              <a:t>VM-1</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18" name="object 18"/>
          <p:cNvSpPr/>
          <p:nvPr/>
        </p:nvSpPr>
        <p:spPr>
          <a:xfrm>
            <a:off x="9116568" y="2218944"/>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36A3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9116568" y="2218944"/>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txBox="1"/>
          <p:nvPr/>
        </p:nvSpPr>
        <p:spPr>
          <a:xfrm>
            <a:off x="9326880" y="2414016"/>
            <a:ext cx="463550" cy="268605"/>
          </a:xfrm>
          <a:prstGeom prst="rect">
            <a:avLst/>
          </a:prstGeom>
          <a:solidFill>
            <a:srgbClr val="E0E0E0"/>
          </a:solidFill>
          <a:ln w="24384">
            <a:solidFill>
              <a:srgbClr val="003B55"/>
            </a:solidFill>
          </a:ln>
        </p:spPr>
        <p:txBody>
          <a:bodyPr vert="horz" wrap="square" lIns="0" tIns="60960" rIns="0" bIns="0" rtlCol="0">
            <a:spAutoFit/>
          </a:bodyPr>
          <a:lstStyle/>
          <a:p>
            <a:pPr marL="69850" marR="0" lvl="0" indent="0" algn="l" defTabSz="914400" rtl="0" eaLnBrk="1" fontAlgn="auto" latinLnBrk="0" hangingPunct="1">
              <a:lnSpc>
                <a:spcPct val="100000"/>
              </a:lnSpc>
              <a:spcBef>
                <a:spcPts val="480"/>
              </a:spcBef>
              <a:spcAft>
                <a:spcPts val="0"/>
              </a:spcAft>
              <a:buClrTx/>
              <a:buSzTx/>
              <a:buFontTx/>
              <a:buNone/>
              <a:tabLst/>
              <a:defRPr/>
            </a:pPr>
            <a:r>
              <a:rPr kumimoji="0" sz="850" b="0" i="0" u="none" strike="noStrike" kern="1200" cap="none" spc="0" normalizeH="0" baseline="0" noProof="0" dirty="0">
                <a:ln>
                  <a:noFill/>
                </a:ln>
                <a:solidFill>
                  <a:srgbClr val="282828"/>
                </a:solidFill>
                <a:effectLst/>
                <a:uLnTx/>
                <a:uFillTx/>
                <a:latin typeface="Lucida Sans Unicode"/>
                <a:ea typeface="+mn-ea"/>
                <a:cs typeface="Lucida Sans Unicode"/>
              </a:rPr>
              <a:t>VM-2</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21" name="object 21"/>
          <p:cNvSpPr txBox="1"/>
          <p:nvPr/>
        </p:nvSpPr>
        <p:spPr>
          <a:xfrm>
            <a:off x="9950577" y="3091688"/>
            <a:ext cx="233045" cy="3911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2400" b="0" i="0" u="none" strike="noStrike" kern="1200" cap="none" spc="-330" normalizeH="0" baseline="0" noProof="0" dirty="0">
                <a:ln>
                  <a:noFill/>
                </a:ln>
                <a:solidFill>
                  <a:srgbClr val="282828"/>
                </a:solidFill>
                <a:effectLst/>
                <a:uLnTx/>
                <a:uFillTx/>
                <a:latin typeface="Tahoma"/>
                <a:ea typeface="+mn-ea"/>
                <a:cs typeface="Tahoma"/>
              </a:rPr>
              <a:t>…</a:t>
            </a:r>
            <a:endParaRPr kumimoji="0" sz="2400" b="0" i="0" u="none" strike="noStrike" kern="1200" cap="none" spc="0" normalizeH="0" baseline="0" noProof="0">
              <a:ln>
                <a:noFill/>
              </a:ln>
              <a:solidFill>
                <a:prstClr val="black"/>
              </a:solidFill>
              <a:effectLst/>
              <a:uLnTx/>
              <a:uFillTx/>
              <a:latin typeface="Tahoma"/>
              <a:ea typeface="+mn-ea"/>
              <a:cs typeface="Tahoma"/>
            </a:endParaRPr>
          </a:p>
        </p:txBody>
      </p:sp>
      <p:sp>
        <p:nvSpPr>
          <p:cNvPr id="22" name="object 22"/>
          <p:cNvSpPr/>
          <p:nvPr/>
        </p:nvSpPr>
        <p:spPr>
          <a:xfrm>
            <a:off x="8351519" y="4565903"/>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00AF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8351519" y="4565903"/>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txBox="1"/>
          <p:nvPr/>
        </p:nvSpPr>
        <p:spPr>
          <a:xfrm>
            <a:off x="8561831" y="4760976"/>
            <a:ext cx="463550" cy="268605"/>
          </a:xfrm>
          <a:prstGeom prst="rect">
            <a:avLst/>
          </a:prstGeom>
          <a:solidFill>
            <a:srgbClr val="E0E0E0"/>
          </a:solidFill>
          <a:ln w="24384">
            <a:solidFill>
              <a:srgbClr val="003B55"/>
            </a:solidFill>
          </a:ln>
        </p:spPr>
        <p:txBody>
          <a:bodyPr vert="horz" wrap="square" lIns="0" tIns="61594" rIns="0" bIns="0" rtlCol="0">
            <a:spAutoFit/>
          </a:bodyPr>
          <a:lstStyle/>
          <a:p>
            <a:pPr marL="66675" marR="0" lvl="0" indent="0" algn="l" defTabSz="914400" rtl="0" eaLnBrk="1" fontAlgn="auto" latinLnBrk="0" hangingPunct="1">
              <a:lnSpc>
                <a:spcPct val="100000"/>
              </a:lnSpc>
              <a:spcBef>
                <a:spcPts val="484"/>
              </a:spcBef>
              <a:spcAft>
                <a:spcPts val="0"/>
              </a:spcAft>
              <a:buClrTx/>
              <a:buSzTx/>
              <a:buFontTx/>
              <a:buNone/>
              <a:tabLst/>
              <a:defRPr/>
            </a:pPr>
            <a:r>
              <a:rPr kumimoji="0" sz="850" b="0" i="0" u="none" strike="noStrike" kern="1200" cap="none" spc="5" normalizeH="0" baseline="0" noProof="0" dirty="0">
                <a:ln>
                  <a:noFill/>
                </a:ln>
                <a:solidFill>
                  <a:srgbClr val="282828"/>
                </a:solidFill>
                <a:effectLst/>
                <a:uLnTx/>
                <a:uFillTx/>
                <a:latin typeface="Lucida Sans Unicode"/>
                <a:ea typeface="+mn-ea"/>
                <a:cs typeface="Lucida Sans Unicode"/>
              </a:rPr>
              <a:t>VM-A</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25" name="object 25"/>
          <p:cNvSpPr/>
          <p:nvPr/>
        </p:nvSpPr>
        <p:spPr>
          <a:xfrm>
            <a:off x="9427464" y="4401311"/>
            <a:ext cx="883919" cy="683260"/>
          </a:xfrm>
          <a:custGeom>
            <a:avLst/>
            <a:gdLst/>
            <a:ahLst/>
            <a:cxnLst/>
            <a:rect l="l" t="t" r="r" b="b"/>
            <a:pathLst>
              <a:path w="883920" h="683260">
                <a:moveTo>
                  <a:pt x="0" y="682751"/>
                </a:moveTo>
                <a:lnTo>
                  <a:pt x="883920" y="682751"/>
                </a:lnTo>
                <a:lnTo>
                  <a:pt x="883920" y="0"/>
                </a:lnTo>
                <a:lnTo>
                  <a:pt x="0" y="0"/>
                </a:lnTo>
                <a:lnTo>
                  <a:pt x="0" y="682751"/>
                </a:lnTo>
                <a:close/>
              </a:path>
            </a:pathLst>
          </a:custGeom>
          <a:solidFill>
            <a:srgbClr val="00AF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9427464" y="4401311"/>
            <a:ext cx="883919" cy="683260"/>
          </a:xfrm>
          <a:custGeom>
            <a:avLst/>
            <a:gdLst/>
            <a:ahLst/>
            <a:cxnLst/>
            <a:rect l="l" t="t" r="r" b="b"/>
            <a:pathLst>
              <a:path w="883920" h="683260">
                <a:moveTo>
                  <a:pt x="0" y="682751"/>
                </a:moveTo>
                <a:lnTo>
                  <a:pt x="883920" y="682751"/>
                </a:lnTo>
                <a:lnTo>
                  <a:pt x="883920" y="0"/>
                </a:lnTo>
                <a:lnTo>
                  <a:pt x="0" y="0"/>
                </a:lnTo>
                <a:lnTo>
                  <a:pt x="0" y="682751"/>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txBox="1"/>
          <p:nvPr/>
        </p:nvSpPr>
        <p:spPr>
          <a:xfrm>
            <a:off x="9637776" y="4596384"/>
            <a:ext cx="463550" cy="268605"/>
          </a:xfrm>
          <a:prstGeom prst="rect">
            <a:avLst/>
          </a:prstGeom>
          <a:solidFill>
            <a:srgbClr val="E0E0E0"/>
          </a:solidFill>
          <a:ln w="24384">
            <a:solidFill>
              <a:srgbClr val="003B55"/>
            </a:solidFill>
          </a:ln>
        </p:spPr>
        <p:txBody>
          <a:bodyPr vert="horz" wrap="square" lIns="0" tIns="54610" rIns="0" bIns="0" rtlCol="0">
            <a:spAutoFit/>
          </a:bodyPr>
          <a:lstStyle/>
          <a:p>
            <a:pPr marL="66675" marR="0" lvl="0" indent="0" algn="l" defTabSz="914400" rtl="0" eaLnBrk="1" fontAlgn="auto" latinLnBrk="0" hangingPunct="1">
              <a:lnSpc>
                <a:spcPct val="100000"/>
              </a:lnSpc>
              <a:spcBef>
                <a:spcPts val="430"/>
              </a:spcBef>
              <a:spcAft>
                <a:spcPts val="0"/>
              </a:spcAft>
              <a:buClrTx/>
              <a:buSzTx/>
              <a:buFontTx/>
              <a:buNone/>
              <a:tabLst/>
              <a:defRPr/>
            </a:pPr>
            <a:r>
              <a:rPr kumimoji="0" sz="850" b="0" i="0" u="none" strike="noStrike" kern="1200" cap="none" spc="-5" normalizeH="0" baseline="0" noProof="0" dirty="0">
                <a:ln>
                  <a:noFill/>
                </a:ln>
                <a:solidFill>
                  <a:srgbClr val="282828"/>
                </a:solidFill>
                <a:effectLst/>
                <a:uLnTx/>
                <a:uFillTx/>
                <a:latin typeface="Lucida Sans Unicode"/>
                <a:ea typeface="+mn-ea"/>
                <a:cs typeface="Lucida Sans Unicode"/>
              </a:rPr>
              <a:t>VM-B</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28" name="object 28"/>
          <p:cNvSpPr/>
          <p:nvPr/>
        </p:nvSpPr>
        <p:spPr>
          <a:xfrm>
            <a:off x="5977128" y="3895344"/>
            <a:ext cx="883919" cy="685800"/>
          </a:xfrm>
          <a:custGeom>
            <a:avLst/>
            <a:gdLst/>
            <a:ahLst/>
            <a:cxnLst/>
            <a:rect l="l" t="t" r="r" b="b"/>
            <a:pathLst>
              <a:path w="883920" h="685800">
                <a:moveTo>
                  <a:pt x="0" y="685799"/>
                </a:moveTo>
                <a:lnTo>
                  <a:pt x="883920" y="685799"/>
                </a:lnTo>
                <a:lnTo>
                  <a:pt x="883920" y="0"/>
                </a:lnTo>
                <a:lnTo>
                  <a:pt x="0" y="0"/>
                </a:lnTo>
                <a:lnTo>
                  <a:pt x="0" y="685799"/>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p:nvPr/>
        </p:nvSpPr>
        <p:spPr>
          <a:xfrm>
            <a:off x="5977128" y="3895344"/>
            <a:ext cx="883919" cy="685800"/>
          </a:xfrm>
          <a:custGeom>
            <a:avLst/>
            <a:gdLst/>
            <a:ahLst/>
            <a:cxnLst/>
            <a:rect l="l" t="t" r="r" b="b"/>
            <a:pathLst>
              <a:path w="883920" h="685800">
                <a:moveTo>
                  <a:pt x="0" y="685799"/>
                </a:moveTo>
                <a:lnTo>
                  <a:pt x="883920" y="685799"/>
                </a:lnTo>
                <a:lnTo>
                  <a:pt x="883920" y="0"/>
                </a:lnTo>
                <a:lnTo>
                  <a:pt x="0" y="0"/>
                </a:lnTo>
                <a:lnTo>
                  <a:pt x="0" y="685799"/>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txBox="1"/>
          <p:nvPr/>
        </p:nvSpPr>
        <p:spPr>
          <a:xfrm>
            <a:off x="6187440" y="4090415"/>
            <a:ext cx="463550" cy="271780"/>
          </a:xfrm>
          <a:prstGeom prst="rect">
            <a:avLst/>
          </a:prstGeom>
          <a:solidFill>
            <a:srgbClr val="E0E0E0"/>
          </a:solidFill>
          <a:ln w="24384">
            <a:solidFill>
              <a:srgbClr val="003B55"/>
            </a:solidFill>
          </a:ln>
        </p:spPr>
        <p:txBody>
          <a:bodyPr vert="horz" wrap="square" lIns="0" tIns="61594" rIns="0" bIns="0" rtlCol="0">
            <a:spAutoFit/>
          </a:bodyPr>
          <a:lstStyle/>
          <a:p>
            <a:pPr marL="83185" marR="0" lvl="0" indent="0" algn="l" defTabSz="914400" rtl="0" eaLnBrk="1" fontAlgn="auto" latinLnBrk="0" hangingPunct="1">
              <a:lnSpc>
                <a:spcPct val="100000"/>
              </a:lnSpc>
              <a:spcBef>
                <a:spcPts val="484"/>
              </a:spcBef>
              <a:spcAft>
                <a:spcPts val="0"/>
              </a:spcAft>
              <a:buClrTx/>
              <a:buSzTx/>
              <a:buFontTx/>
              <a:buNone/>
              <a:tabLst/>
              <a:defRPr/>
            </a:pPr>
            <a:r>
              <a:rPr kumimoji="0" sz="850" b="0" i="0" u="none" strike="noStrike" kern="1200" cap="none" spc="30" normalizeH="0" baseline="0" noProof="0" dirty="0">
                <a:ln>
                  <a:noFill/>
                </a:ln>
                <a:solidFill>
                  <a:srgbClr val="282828"/>
                </a:solidFill>
                <a:effectLst/>
                <a:uLnTx/>
                <a:uFillTx/>
                <a:latin typeface="Lucida Sans Unicode"/>
                <a:ea typeface="+mn-ea"/>
                <a:cs typeface="Lucida Sans Unicode"/>
              </a:rPr>
              <a:t>LB-2</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31" name="object 31"/>
          <p:cNvSpPr/>
          <p:nvPr/>
        </p:nvSpPr>
        <p:spPr>
          <a:xfrm>
            <a:off x="5977128" y="2987039"/>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5977128" y="2987039"/>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txBox="1"/>
          <p:nvPr/>
        </p:nvSpPr>
        <p:spPr>
          <a:xfrm>
            <a:off x="6187440" y="3182111"/>
            <a:ext cx="463550" cy="268605"/>
          </a:xfrm>
          <a:prstGeom prst="rect">
            <a:avLst/>
          </a:prstGeom>
          <a:solidFill>
            <a:srgbClr val="E0E0E0"/>
          </a:solidFill>
          <a:ln w="24384">
            <a:solidFill>
              <a:srgbClr val="003B55"/>
            </a:solidFill>
          </a:ln>
        </p:spPr>
        <p:txBody>
          <a:bodyPr vert="horz" wrap="square" lIns="0" tIns="60960" rIns="0" bIns="0" rtlCol="0">
            <a:spAutoFit/>
          </a:bodyPr>
          <a:lstStyle/>
          <a:p>
            <a:pPr marL="83185" marR="0" lvl="0" indent="0" algn="l" defTabSz="914400" rtl="0" eaLnBrk="1" fontAlgn="auto" latinLnBrk="0" hangingPunct="1">
              <a:lnSpc>
                <a:spcPct val="100000"/>
              </a:lnSpc>
              <a:spcBef>
                <a:spcPts val="480"/>
              </a:spcBef>
              <a:spcAft>
                <a:spcPts val="0"/>
              </a:spcAft>
              <a:buClrTx/>
              <a:buSzTx/>
              <a:buFontTx/>
              <a:buNone/>
              <a:tabLst/>
              <a:defRPr/>
            </a:pPr>
            <a:r>
              <a:rPr kumimoji="0" sz="850" b="0" i="0" u="none" strike="noStrike" kern="1200" cap="none" spc="30" normalizeH="0" baseline="0" noProof="0" dirty="0">
                <a:ln>
                  <a:noFill/>
                </a:ln>
                <a:solidFill>
                  <a:srgbClr val="282828"/>
                </a:solidFill>
                <a:effectLst/>
                <a:uLnTx/>
                <a:uFillTx/>
                <a:latin typeface="Lucida Sans Unicode"/>
                <a:ea typeface="+mn-ea"/>
                <a:cs typeface="Lucida Sans Unicode"/>
              </a:rPr>
              <a:t>LB-1</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34" name="object 34"/>
          <p:cNvSpPr/>
          <p:nvPr/>
        </p:nvSpPr>
        <p:spPr>
          <a:xfrm>
            <a:off x="7888223" y="1874520"/>
            <a:ext cx="2304415" cy="1219200"/>
          </a:xfrm>
          <a:custGeom>
            <a:avLst/>
            <a:gdLst/>
            <a:ahLst/>
            <a:cxnLst/>
            <a:rect l="l" t="t" r="r" b="b"/>
            <a:pathLst>
              <a:path w="2304415" h="1219200">
                <a:moveTo>
                  <a:pt x="0" y="1219200"/>
                </a:moveTo>
                <a:lnTo>
                  <a:pt x="2304287" y="1219200"/>
                </a:lnTo>
                <a:lnTo>
                  <a:pt x="2304287" y="0"/>
                </a:lnTo>
                <a:lnTo>
                  <a:pt x="0" y="0"/>
                </a:lnTo>
                <a:lnTo>
                  <a:pt x="0" y="1219200"/>
                </a:lnTo>
                <a:close/>
              </a:path>
            </a:pathLst>
          </a:custGeom>
          <a:ln w="24384">
            <a:solidFill>
              <a:srgbClr val="003B55"/>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txBox="1"/>
          <p:nvPr/>
        </p:nvSpPr>
        <p:spPr>
          <a:xfrm>
            <a:off x="6451219" y="1911857"/>
            <a:ext cx="1341755" cy="351155"/>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2100" b="0" i="0" u="none" strike="noStrike" kern="1200" cap="none" spc="25" normalizeH="0" baseline="0" noProof="0" dirty="0">
                <a:ln>
                  <a:noFill/>
                </a:ln>
                <a:solidFill>
                  <a:srgbClr val="003B55"/>
                </a:solidFill>
                <a:effectLst/>
                <a:uLnTx/>
                <a:uFillTx/>
                <a:latin typeface="Arial"/>
                <a:ea typeface="+mn-ea"/>
                <a:cs typeface="Arial"/>
              </a:rPr>
              <a:t>Production</a:t>
            </a:r>
            <a:endParaRPr kumimoji="0" sz="2100" b="0" i="0" u="none" strike="noStrike" kern="1200" cap="none" spc="0" normalizeH="0" baseline="0" noProof="0">
              <a:ln>
                <a:noFill/>
              </a:ln>
              <a:solidFill>
                <a:prstClr val="black"/>
              </a:solidFill>
              <a:effectLst/>
              <a:uLnTx/>
              <a:uFillTx/>
              <a:latin typeface="Arial"/>
              <a:ea typeface="+mn-ea"/>
              <a:cs typeface="Arial"/>
            </a:endParaRPr>
          </a:p>
        </p:txBody>
      </p:sp>
      <p:sp>
        <p:nvSpPr>
          <p:cNvPr id="36" name="object 36"/>
          <p:cNvSpPr/>
          <p:nvPr/>
        </p:nvSpPr>
        <p:spPr>
          <a:xfrm>
            <a:off x="8174735" y="4218432"/>
            <a:ext cx="2304415" cy="1216660"/>
          </a:xfrm>
          <a:custGeom>
            <a:avLst/>
            <a:gdLst/>
            <a:ahLst/>
            <a:cxnLst/>
            <a:rect l="l" t="t" r="r" b="b"/>
            <a:pathLst>
              <a:path w="2304415" h="1216660">
                <a:moveTo>
                  <a:pt x="0" y="1216152"/>
                </a:moveTo>
                <a:lnTo>
                  <a:pt x="2304287" y="1216152"/>
                </a:lnTo>
                <a:lnTo>
                  <a:pt x="2304287" y="0"/>
                </a:lnTo>
                <a:lnTo>
                  <a:pt x="0" y="0"/>
                </a:lnTo>
                <a:lnTo>
                  <a:pt x="0" y="1216152"/>
                </a:lnTo>
                <a:close/>
              </a:path>
            </a:pathLst>
          </a:custGeom>
          <a:ln w="24384">
            <a:solidFill>
              <a:srgbClr val="003B55"/>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txBox="1"/>
          <p:nvPr/>
        </p:nvSpPr>
        <p:spPr>
          <a:xfrm>
            <a:off x="7336028" y="5019243"/>
            <a:ext cx="738505" cy="351790"/>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2100" b="0" i="0" u="none" strike="noStrike" kern="1200" cap="none" spc="-35" normalizeH="0" baseline="0" noProof="0" dirty="0">
                <a:ln>
                  <a:noFill/>
                </a:ln>
                <a:solidFill>
                  <a:srgbClr val="003B55"/>
                </a:solidFill>
                <a:effectLst/>
                <a:uLnTx/>
                <a:uFillTx/>
                <a:latin typeface="Arial"/>
                <a:ea typeface="+mn-ea"/>
                <a:cs typeface="Arial"/>
              </a:rPr>
              <a:t>S</a:t>
            </a:r>
            <a:r>
              <a:rPr kumimoji="0" sz="2100" b="0" i="0" u="none" strike="noStrike" kern="1200" cap="none" spc="25" normalizeH="0" baseline="0" noProof="0" dirty="0">
                <a:ln>
                  <a:noFill/>
                </a:ln>
                <a:solidFill>
                  <a:srgbClr val="003B55"/>
                </a:solidFill>
                <a:effectLst/>
                <a:uLnTx/>
                <a:uFillTx/>
                <a:latin typeface="Arial"/>
                <a:ea typeface="+mn-ea"/>
                <a:cs typeface="Arial"/>
              </a:rPr>
              <a:t>tag</a:t>
            </a:r>
            <a:r>
              <a:rPr kumimoji="0" sz="2100" b="0" i="0" u="none" strike="noStrike" kern="1200" cap="none" spc="50" normalizeH="0" baseline="0" noProof="0" dirty="0">
                <a:ln>
                  <a:noFill/>
                </a:ln>
                <a:solidFill>
                  <a:srgbClr val="003B55"/>
                </a:solidFill>
                <a:effectLst/>
                <a:uLnTx/>
                <a:uFillTx/>
                <a:latin typeface="Arial"/>
                <a:ea typeface="+mn-ea"/>
                <a:cs typeface="Arial"/>
              </a:rPr>
              <a:t>e</a:t>
            </a:r>
            <a:endParaRPr kumimoji="0" sz="2100" b="0" i="0" u="none" strike="noStrike" kern="1200" cap="none" spc="0" normalizeH="0" baseline="0" noProof="0">
              <a:ln>
                <a:noFill/>
              </a:ln>
              <a:solidFill>
                <a:prstClr val="black"/>
              </a:solidFill>
              <a:effectLst/>
              <a:uLnTx/>
              <a:uFillTx/>
              <a:latin typeface="Arial"/>
              <a:ea typeface="+mn-ea"/>
              <a:cs typeface="Arial"/>
            </a:endParaRPr>
          </a:p>
        </p:txBody>
      </p:sp>
      <p:sp>
        <p:nvSpPr>
          <p:cNvPr id="38" name="object 38"/>
          <p:cNvSpPr txBox="1"/>
          <p:nvPr/>
        </p:nvSpPr>
        <p:spPr>
          <a:xfrm>
            <a:off x="1185163" y="4898593"/>
            <a:ext cx="3551554" cy="678180"/>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2100" b="0" i="0" u="none" strike="noStrike" kern="1200" cap="none" spc="55" normalizeH="0" baseline="0" noProof="0" dirty="0">
                <a:ln>
                  <a:noFill/>
                </a:ln>
                <a:solidFill>
                  <a:srgbClr val="003B55"/>
                </a:solidFill>
                <a:effectLst/>
                <a:uLnTx/>
                <a:uFillTx/>
                <a:latin typeface="Arial"/>
                <a:ea typeface="+mn-ea"/>
                <a:cs typeface="Arial"/>
              </a:rPr>
              <a:t>1. </a:t>
            </a:r>
            <a:r>
              <a:rPr kumimoji="0" sz="2100" b="0" i="0" u="none" strike="noStrike" kern="1200" cap="none" spc="15" normalizeH="0" baseline="0" noProof="0" dirty="0">
                <a:ln>
                  <a:noFill/>
                </a:ln>
                <a:solidFill>
                  <a:srgbClr val="003B55"/>
                </a:solidFill>
                <a:effectLst/>
                <a:uLnTx/>
                <a:uFillTx/>
                <a:latin typeface="Arial"/>
                <a:ea typeface="+mn-ea"/>
                <a:cs typeface="Arial"/>
              </a:rPr>
              <a:t>Deploy application</a:t>
            </a:r>
            <a:r>
              <a:rPr kumimoji="0" sz="2100" b="0" i="0" u="none" strike="noStrike" kern="1200" cap="none" spc="-85" normalizeH="0" baseline="0" noProof="0" dirty="0">
                <a:ln>
                  <a:noFill/>
                </a:ln>
                <a:solidFill>
                  <a:srgbClr val="003B55"/>
                </a:solidFill>
                <a:effectLst/>
                <a:uLnTx/>
                <a:uFillTx/>
                <a:latin typeface="Arial"/>
                <a:ea typeface="+mn-ea"/>
                <a:cs typeface="Arial"/>
              </a:rPr>
              <a:t> </a:t>
            </a:r>
            <a:r>
              <a:rPr kumimoji="0" sz="2100" b="0" i="0" u="none" strike="noStrike" kern="1200" cap="none" spc="25" normalizeH="0" baseline="0" noProof="0" dirty="0">
                <a:ln>
                  <a:noFill/>
                </a:ln>
                <a:solidFill>
                  <a:srgbClr val="003B55"/>
                </a:solidFill>
                <a:effectLst/>
                <a:uLnTx/>
                <a:uFillTx/>
                <a:latin typeface="Arial"/>
                <a:ea typeface="+mn-ea"/>
                <a:cs typeface="Arial"/>
              </a:rPr>
              <a:t>change</a:t>
            </a:r>
            <a:endParaRPr kumimoji="0" sz="2100" b="0" i="0" u="none" strike="noStrike" kern="1200" cap="none" spc="0" normalizeH="0" baseline="0" noProof="0">
              <a:ln>
                <a:noFill/>
              </a:ln>
              <a:solidFill>
                <a:prstClr val="black"/>
              </a:solidFill>
              <a:effectLst/>
              <a:uLnTx/>
              <a:uFillTx/>
              <a:latin typeface="Arial"/>
              <a:ea typeface="+mn-ea"/>
              <a:cs typeface="Arial"/>
            </a:endParaRPr>
          </a:p>
          <a:p>
            <a:pPr marL="1280795" marR="0" lvl="0" indent="0" algn="l" defTabSz="914400" rtl="0" eaLnBrk="1" fontAlgn="auto" latinLnBrk="0" hangingPunct="1">
              <a:lnSpc>
                <a:spcPct val="100000"/>
              </a:lnSpc>
              <a:spcBef>
                <a:spcPts val="45"/>
              </a:spcBef>
              <a:spcAft>
                <a:spcPts val="0"/>
              </a:spcAft>
              <a:buClrTx/>
              <a:buSzTx/>
              <a:buFontTx/>
              <a:buNone/>
              <a:tabLst/>
              <a:defRPr/>
            </a:pPr>
            <a:r>
              <a:rPr kumimoji="0" sz="2100" b="0" i="0" u="none" strike="noStrike" kern="1200" cap="none" spc="50" normalizeH="0" baseline="0" noProof="0" dirty="0">
                <a:ln>
                  <a:noFill/>
                </a:ln>
                <a:solidFill>
                  <a:srgbClr val="003B55"/>
                </a:solidFill>
                <a:effectLst/>
                <a:uLnTx/>
                <a:uFillTx/>
                <a:latin typeface="Arial"/>
                <a:ea typeface="+mn-ea"/>
                <a:cs typeface="Arial"/>
              </a:rPr>
              <a:t>to </a:t>
            </a:r>
            <a:r>
              <a:rPr kumimoji="0" sz="2100" b="0" i="0" u="none" strike="noStrike" kern="1200" cap="none" spc="25" normalizeH="0" baseline="0" noProof="0" dirty="0">
                <a:ln>
                  <a:noFill/>
                </a:ln>
                <a:solidFill>
                  <a:srgbClr val="003B55"/>
                </a:solidFill>
                <a:effectLst/>
                <a:uLnTx/>
                <a:uFillTx/>
                <a:latin typeface="Arial"/>
                <a:ea typeface="+mn-ea"/>
                <a:cs typeface="Arial"/>
              </a:rPr>
              <a:t>stage </a:t>
            </a:r>
            <a:r>
              <a:rPr kumimoji="0" sz="2100" b="0" i="0" u="none" strike="noStrike" kern="1200" cap="none" spc="5" normalizeH="0" baseline="0" noProof="0" dirty="0">
                <a:ln>
                  <a:noFill/>
                </a:ln>
                <a:solidFill>
                  <a:srgbClr val="003B55"/>
                </a:solidFill>
                <a:effectLst/>
                <a:uLnTx/>
                <a:uFillTx/>
                <a:latin typeface="Arial"/>
                <a:ea typeface="+mn-ea"/>
                <a:cs typeface="Arial"/>
              </a:rPr>
              <a:t>and</a:t>
            </a:r>
            <a:r>
              <a:rPr kumimoji="0" sz="2100" b="0" i="0" u="none" strike="noStrike" kern="1200" cap="none" spc="0" normalizeH="0" baseline="0" noProof="0" dirty="0">
                <a:ln>
                  <a:noFill/>
                </a:ln>
                <a:solidFill>
                  <a:srgbClr val="003B55"/>
                </a:solidFill>
                <a:effectLst/>
                <a:uLnTx/>
                <a:uFillTx/>
                <a:latin typeface="Arial"/>
                <a:ea typeface="+mn-ea"/>
                <a:cs typeface="Arial"/>
              </a:rPr>
              <a:t> </a:t>
            </a:r>
            <a:r>
              <a:rPr kumimoji="0" sz="2100" b="0" i="0" u="none" strike="noStrike" kern="1200" cap="none" spc="15" normalizeH="0" baseline="0" noProof="0" dirty="0">
                <a:ln>
                  <a:noFill/>
                </a:ln>
                <a:solidFill>
                  <a:srgbClr val="003B55"/>
                </a:solidFill>
                <a:effectLst/>
                <a:uLnTx/>
                <a:uFillTx/>
                <a:latin typeface="Arial"/>
                <a:ea typeface="+mn-ea"/>
                <a:cs typeface="Arial"/>
              </a:rPr>
              <a:t>verify</a:t>
            </a:r>
            <a:endParaRPr kumimoji="0" sz="2100" b="0" i="0" u="none" strike="noStrike" kern="1200" cap="none" spc="0" normalizeH="0" baseline="0" noProof="0">
              <a:ln>
                <a:noFill/>
              </a:ln>
              <a:solidFill>
                <a:prstClr val="black"/>
              </a:solidFill>
              <a:effectLst/>
              <a:uLnTx/>
              <a:uFillTx/>
              <a:latin typeface="Arial"/>
              <a:ea typeface="+mn-ea"/>
              <a:cs typeface="Arial"/>
            </a:endParaRPr>
          </a:p>
        </p:txBody>
      </p:sp>
      <p:sp>
        <p:nvSpPr>
          <p:cNvPr id="39" name="object 39"/>
          <p:cNvSpPr/>
          <p:nvPr/>
        </p:nvSpPr>
        <p:spPr>
          <a:xfrm>
            <a:off x="4836795" y="4999228"/>
            <a:ext cx="2408555" cy="227329"/>
          </a:xfrm>
          <a:custGeom>
            <a:avLst/>
            <a:gdLst/>
            <a:ahLst/>
            <a:cxnLst/>
            <a:rect l="l" t="t" r="r" b="b"/>
            <a:pathLst>
              <a:path w="2408554" h="227329">
                <a:moveTo>
                  <a:pt x="6857" y="0"/>
                </a:moveTo>
                <a:lnTo>
                  <a:pt x="0" y="23368"/>
                </a:lnTo>
                <a:lnTo>
                  <a:pt x="51307" y="38354"/>
                </a:lnTo>
                <a:lnTo>
                  <a:pt x="70484" y="43688"/>
                </a:lnTo>
                <a:lnTo>
                  <a:pt x="76962" y="20193"/>
                </a:lnTo>
                <a:lnTo>
                  <a:pt x="32257" y="7493"/>
                </a:lnTo>
                <a:lnTo>
                  <a:pt x="6857" y="0"/>
                </a:lnTo>
                <a:close/>
              </a:path>
              <a:path w="2408554" h="227329">
                <a:moveTo>
                  <a:pt x="100329" y="26543"/>
                </a:moveTo>
                <a:lnTo>
                  <a:pt x="94106" y="50038"/>
                </a:lnTo>
                <a:lnTo>
                  <a:pt x="105917" y="53213"/>
                </a:lnTo>
                <a:lnTo>
                  <a:pt x="135381" y="60579"/>
                </a:lnTo>
                <a:lnTo>
                  <a:pt x="165607" y="67691"/>
                </a:lnTo>
                <a:lnTo>
                  <a:pt x="170941" y="43815"/>
                </a:lnTo>
                <a:lnTo>
                  <a:pt x="156590" y="40640"/>
                </a:lnTo>
                <a:lnTo>
                  <a:pt x="141224" y="36957"/>
                </a:lnTo>
                <a:lnTo>
                  <a:pt x="100329" y="26543"/>
                </a:lnTo>
                <a:close/>
              </a:path>
              <a:path w="2408554" h="227329">
                <a:moveTo>
                  <a:pt x="194690" y="48895"/>
                </a:moveTo>
                <a:lnTo>
                  <a:pt x="189610" y="72771"/>
                </a:lnTo>
                <a:lnTo>
                  <a:pt x="200659" y="75184"/>
                </a:lnTo>
                <a:lnTo>
                  <a:pt x="237235" y="82296"/>
                </a:lnTo>
                <a:lnTo>
                  <a:pt x="261874" y="86614"/>
                </a:lnTo>
                <a:lnTo>
                  <a:pt x="266064" y="62611"/>
                </a:lnTo>
                <a:lnTo>
                  <a:pt x="241807" y="58293"/>
                </a:lnTo>
                <a:lnTo>
                  <a:pt x="205739" y="51308"/>
                </a:lnTo>
                <a:lnTo>
                  <a:pt x="194690" y="48895"/>
                </a:lnTo>
                <a:close/>
              </a:path>
              <a:path w="2408554" h="227329">
                <a:moveTo>
                  <a:pt x="289940" y="66675"/>
                </a:moveTo>
                <a:lnTo>
                  <a:pt x="286003" y="90678"/>
                </a:lnTo>
                <a:lnTo>
                  <a:pt x="297941" y="92710"/>
                </a:lnTo>
                <a:lnTo>
                  <a:pt x="358647" y="101600"/>
                </a:lnTo>
                <a:lnTo>
                  <a:pt x="362076" y="77343"/>
                </a:lnTo>
                <a:lnTo>
                  <a:pt x="301878" y="68580"/>
                </a:lnTo>
                <a:lnTo>
                  <a:pt x="289940" y="66675"/>
                </a:lnTo>
                <a:close/>
              </a:path>
              <a:path w="2408554" h="227329">
                <a:moveTo>
                  <a:pt x="386206" y="80645"/>
                </a:moveTo>
                <a:lnTo>
                  <a:pt x="382904" y="104902"/>
                </a:lnTo>
                <a:lnTo>
                  <a:pt x="418210" y="109347"/>
                </a:lnTo>
                <a:lnTo>
                  <a:pt x="445769" y="112522"/>
                </a:lnTo>
                <a:lnTo>
                  <a:pt x="455802" y="113538"/>
                </a:lnTo>
                <a:lnTo>
                  <a:pt x="458469" y="89408"/>
                </a:lnTo>
                <a:lnTo>
                  <a:pt x="395224" y="81915"/>
                </a:lnTo>
                <a:lnTo>
                  <a:pt x="386206" y="80645"/>
                </a:lnTo>
                <a:close/>
              </a:path>
              <a:path w="2408554" h="227329">
                <a:moveTo>
                  <a:pt x="482726" y="91948"/>
                </a:moveTo>
                <a:lnTo>
                  <a:pt x="480059" y="116205"/>
                </a:lnTo>
                <a:lnTo>
                  <a:pt x="553084" y="123444"/>
                </a:lnTo>
                <a:lnTo>
                  <a:pt x="555243" y="99187"/>
                </a:lnTo>
                <a:lnTo>
                  <a:pt x="482726" y="91948"/>
                </a:lnTo>
                <a:close/>
              </a:path>
              <a:path w="2408554" h="227329">
                <a:moveTo>
                  <a:pt x="579501" y="101346"/>
                </a:moveTo>
                <a:lnTo>
                  <a:pt x="577468" y="125603"/>
                </a:lnTo>
                <a:lnTo>
                  <a:pt x="650493" y="131699"/>
                </a:lnTo>
                <a:lnTo>
                  <a:pt x="652271" y="107315"/>
                </a:lnTo>
                <a:lnTo>
                  <a:pt x="603757" y="103505"/>
                </a:lnTo>
                <a:lnTo>
                  <a:pt x="579501" y="101346"/>
                </a:lnTo>
                <a:close/>
              </a:path>
              <a:path w="2408554" h="227329">
                <a:moveTo>
                  <a:pt x="676528" y="109220"/>
                </a:moveTo>
                <a:lnTo>
                  <a:pt x="674877" y="133604"/>
                </a:lnTo>
                <a:lnTo>
                  <a:pt x="747776" y="138684"/>
                </a:lnTo>
                <a:lnTo>
                  <a:pt x="749553" y="114427"/>
                </a:lnTo>
                <a:lnTo>
                  <a:pt x="676528" y="109220"/>
                </a:lnTo>
                <a:close/>
              </a:path>
              <a:path w="2408554" h="227329">
                <a:moveTo>
                  <a:pt x="773810" y="115951"/>
                </a:moveTo>
                <a:lnTo>
                  <a:pt x="772287" y="140208"/>
                </a:lnTo>
                <a:lnTo>
                  <a:pt x="845312" y="144780"/>
                </a:lnTo>
                <a:lnTo>
                  <a:pt x="846708" y="120396"/>
                </a:lnTo>
                <a:lnTo>
                  <a:pt x="773810" y="115951"/>
                </a:lnTo>
                <a:close/>
              </a:path>
              <a:path w="2408554" h="227329">
                <a:moveTo>
                  <a:pt x="871092" y="121793"/>
                </a:moveTo>
                <a:lnTo>
                  <a:pt x="869695" y="146177"/>
                </a:lnTo>
                <a:lnTo>
                  <a:pt x="942720" y="150241"/>
                </a:lnTo>
                <a:lnTo>
                  <a:pt x="943990" y="125857"/>
                </a:lnTo>
                <a:lnTo>
                  <a:pt x="927226" y="125095"/>
                </a:lnTo>
                <a:lnTo>
                  <a:pt x="871092" y="121793"/>
                </a:lnTo>
                <a:close/>
              </a:path>
              <a:path w="2408554" h="227329">
                <a:moveTo>
                  <a:pt x="968375" y="127127"/>
                </a:moveTo>
                <a:lnTo>
                  <a:pt x="967104" y="151511"/>
                </a:lnTo>
                <a:lnTo>
                  <a:pt x="1040256" y="155194"/>
                </a:lnTo>
                <a:lnTo>
                  <a:pt x="1041400" y="130810"/>
                </a:lnTo>
                <a:lnTo>
                  <a:pt x="968375" y="127127"/>
                </a:lnTo>
                <a:close/>
              </a:path>
              <a:path w="2408554" h="227329">
                <a:moveTo>
                  <a:pt x="1065783" y="132080"/>
                </a:moveTo>
                <a:lnTo>
                  <a:pt x="1064514" y="156337"/>
                </a:lnTo>
                <a:lnTo>
                  <a:pt x="1137665" y="159766"/>
                </a:lnTo>
                <a:lnTo>
                  <a:pt x="1138808" y="135509"/>
                </a:lnTo>
                <a:lnTo>
                  <a:pt x="1065783" y="132080"/>
                </a:lnTo>
                <a:close/>
              </a:path>
              <a:path w="2408554" h="227329">
                <a:moveTo>
                  <a:pt x="1163192" y="136525"/>
                </a:moveTo>
                <a:lnTo>
                  <a:pt x="1162050" y="160909"/>
                </a:lnTo>
                <a:lnTo>
                  <a:pt x="1235202" y="164084"/>
                </a:lnTo>
                <a:lnTo>
                  <a:pt x="1236217" y="139700"/>
                </a:lnTo>
                <a:lnTo>
                  <a:pt x="1163192" y="136525"/>
                </a:lnTo>
                <a:close/>
              </a:path>
              <a:path w="2408554" h="227329">
                <a:moveTo>
                  <a:pt x="1260475" y="140716"/>
                </a:moveTo>
                <a:lnTo>
                  <a:pt x="1259585" y="165100"/>
                </a:lnTo>
                <a:lnTo>
                  <a:pt x="1330578" y="168021"/>
                </a:lnTo>
                <a:lnTo>
                  <a:pt x="1332610" y="168021"/>
                </a:lnTo>
                <a:lnTo>
                  <a:pt x="1333627" y="143637"/>
                </a:lnTo>
                <a:lnTo>
                  <a:pt x="1331467" y="143637"/>
                </a:lnTo>
                <a:lnTo>
                  <a:pt x="1260475" y="140716"/>
                </a:lnTo>
                <a:close/>
              </a:path>
              <a:path w="2408554" h="227329">
                <a:moveTo>
                  <a:pt x="1358010" y="144653"/>
                </a:moveTo>
                <a:lnTo>
                  <a:pt x="1356994" y="169037"/>
                </a:lnTo>
                <a:lnTo>
                  <a:pt x="1430146" y="171958"/>
                </a:lnTo>
                <a:lnTo>
                  <a:pt x="1431035" y="147574"/>
                </a:lnTo>
                <a:lnTo>
                  <a:pt x="1358010" y="144653"/>
                </a:lnTo>
                <a:close/>
              </a:path>
              <a:path w="2408554" h="227329">
                <a:moveTo>
                  <a:pt x="1455419" y="148463"/>
                </a:moveTo>
                <a:lnTo>
                  <a:pt x="1454530" y="172847"/>
                </a:lnTo>
                <a:lnTo>
                  <a:pt x="1527682" y="175514"/>
                </a:lnTo>
                <a:lnTo>
                  <a:pt x="1528444" y="151130"/>
                </a:lnTo>
                <a:lnTo>
                  <a:pt x="1455419" y="148463"/>
                </a:lnTo>
                <a:close/>
              </a:path>
              <a:path w="2408554" h="227329">
                <a:moveTo>
                  <a:pt x="1552828" y="152019"/>
                </a:moveTo>
                <a:lnTo>
                  <a:pt x="1551939" y="176276"/>
                </a:lnTo>
                <a:lnTo>
                  <a:pt x="1625091" y="178943"/>
                </a:lnTo>
                <a:lnTo>
                  <a:pt x="1625980" y="154559"/>
                </a:lnTo>
                <a:lnTo>
                  <a:pt x="1552828" y="152019"/>
                </a:lnTo>
                <a:close/>
              </a:path>
              <a:path w="2408554" h="227329">
                <a:moveTo>
                  <a:pt x="1650364" y="155448"/>
                </a:moveTo>
                <a:lnTo>
                  <a:pt x="1649476" y="179705"/>
                </a:lnTo>
                <a:lnTo>
                  <a:pt x="1722627" y="182245"/>
                </a:lnTo>
                <a:lnTo>
                  <a:pt x="1723389" y="157861"/>
                </a:lnTo>
                <a:lnTo>
                  <a:pt x="1650364" y="155448"/>
                </a:lnTo>
                <a:close/>
              </a:path>
              <a:path w="2408554" h="227329">
                <a:moveTo>
                  <a:pt x="1747774" y="158750"/>
                </a:moveTo>
                <a:lnTo>
                  <a:pt x="1747011" y="183007"/>
                </a:lnTo>
                <a:lnTo>
                  <a:pt x="1820163" y="185547"/>
                </a:lnTo>
                <a:lnTo>
                  <a:pt x="1820926" y="161163"/>
                </a:lnTo>
                <a:lnTo>
                  <a:pt x="1747774" y="158750"/>
                </a:lnTo>
                <a:close/>
              </a:path>
              <a:path w="2408554" h="227329">
                <a:moveTo>
                  <a:pt x="1845309" y="161925"/>
                </a:moveTo>
                <a:lnTo>
                  <a:pt x="1844421" y="186309"/>
                </a:lnTo>
                <a:lnTo>
                  <a:pt x="1917573" y="188595"/>
                </a:lnTo>
                <a:lnTo>
                  <a:pt x="1918334" y="164211"/>
                </a:lnTo>
                <a:lnTo>
                  <a:pt x="1845309" y="161925"/>
                </a:lnTo>
                <a:close/>
              </a:path>
              <a:path w="2408554" h="227329">
                <a:moveTo>
                  <a:pt x="1942719" y="164973"/>
                </a:moveTo>
                <a:lnTo>
                  <a:pt x="1941956" y="189357"/>
                </a:lnTo>
                <a:lnTo>
                  <a:pt x="2015108" y="191770"/>
                </a:lnTo>
                <a:lnTo>
                  <a:pt x="2015871" y="167386"/>
                </a:lnTo>
                <a:lnTo>
                  <a:pt x="1942719" y="164973"/>
                </a:lnTo>
                <a:close/>
              </a:path>
              <a:path w="2408554" h="227329">
                <a:moveTo>
                  <a:pt x="2040254" y="168148"/>
                </a:moveTo>
                <a:lnTo>
                  <a:pt x="2039493" y="192532"/>
                </a:lnTo>
                <a:lnTo>
                  <a:pt x="2112645" y="194818"/>
                </a:lnTo>
                <a:lnTo>
                  <a:pt x="2113279" y="170434"/>
                </a:lnTo>
                <a:lnTo>
                  <a:pt x="2040254" y="168148"/>
                </a:lnTo>
                <a:close/>
              </a:path>
              <a:path w="2408554" h="227329">
                <a:moveTo>
                  <a:pt x="2137663" y="171196"/>
                </a:moveTo>
                <a:lnTo>
                  <a:pt x="2136902" y="195453"/>
                </a:lnTo>
                <a:lnTo>
                  <a:pt x="2210054" y="197739"/>
                </a:lnTo>
                <a:lnTo>
                  <a:pt x="2210815" y="173355"/>
                </a:lnTo>
                <a:lnTo>
                  <a:pt x="2137663" y="171196"/>
                </a:lnTo>
                <a:close/>
              </a:path>
              <a:path w="2408554" h="227329">
                <a:moveTo>
                  <a:pt x="2235200" y="174117"/>
                </a:moveTo>
                <a:lnTo>
                  <a:pt x="2234437" y="198501"/>
                </a:lnTo>
                <a:lnTo>
                  <a:pt x="2307589" y="200660"/>
                </a:lnTo>
                <a:lnTo>
                  <a:pt x="2308352" y="176276"/>
                </a:lnTo>
                <a:lnTo>
                  <a:pt x="2235200" y="174117"/>
                </a:lnTo>
                <a:close/>
              </a:path>
              <a:path w="2408554" h="227329">
                <a:moveTo>
                  <a:pt x="2333244" y="151130"/>
                </a:moveTo>
                <a:lnTo>
                  <a:pt x="2330957" y="227330"/>
                </a:lnTo>
                <a:lnTo>
                  <a:pt x="2386085" y="201803"/>
                </a:lnTo>
                <a:lnTo>
                  <a:pt x="2344420" y="201803"/>
                </a:lnTo>
                <a:lnTo>
                  <a:pt x="2331974" y="201422"/>
                </a:lnTo>
                <a:lnTo>
                  <a:pt x="2332735" y="177038"/>
                </a:lnTo>
                <a:lnTo>
                  <a:pt x="2381393" y="177038"/>
                </a:lnTo>
                <a:lnTo>
                  <a:pt x="2333244" y="151130"/>
                </a:lnTo>
                <a:close/>
              </a:path>
              <a:path w="2408554" h="227329">
                <a:moveTo>
                  <a:pt x="2332735" y="177038"/>
                </a:moveTo>
                <a:lnTo>
                  <a:pt x="2331974" y="201422"/>
                </a:lnTo>
                <a:lnTo>
                  <a:pt x="2344420" y="201803"/>
                </a:lnTo>
                <a:lnTo>
                  <a:pt x="2345181" y="177419"/>
                </a:lnTo>
                <a:lnTo>
                  <a:pt x="2332735" y="177038"/>
                </a:lnTo>
                <a:close/>
              </a:path>
              <a:path w="2408554" h="227329">
                <a:moveTo>
                  <a:pt x="2381393" y="177038"/>
                </a:moveTo>
                <a:lnTo>
                  <a:pt x="2332735" y="177038"/>
                </a:lnTo>
                <a:lnTo>
                  <a:pt x="2345181" y="177419"/>
                </a:lnTo>
                <a:lnTo>
                  <a:pt x="2344420" y="201803"/>
                </a:lnTo>
                <a:lnTo>
                  <a:pt x="2386085" y="201803"/>
                </a:lnTo>
                <a:lnTo>
                  <a:pt x="2408301" y="191516"/>
                </a:lnTo>
                <a:lnTo>
                  <a:pt x="2381393" y="177038"/>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0"/>
          <p:cNvSpPr txBox="1"/>
          <p:nvPr/>
        </p:nvSpPr>
        <p:spPr>
          <a:xfrm>
            <a:off x="1089456" y="1691767"/>
            <a:ext cx="2947670" cy="677545"/>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2100" b="0" i="0" u="none" strike="noStrike" kern="1200" cap="none" spc="55" normalizeH="0" baseline="0" noProof="0" dirty="0">
                <a:ln>
                  <a:noFill/>
                </a:ln>
                <a:solidFill>
                  <a:srgbClr val="003B55"/>
                </a:solidFill>
                <a:effectLst/>
                <a:uLnTx/>
                <a:uFillTx/>
                <a:latin typeface="Arial"/>
                <a:ea typeface="+mn-ea"/>
                <a:cs typeface="Arial"/>
              </a:rPr>
              <a:t>2. </a:t>
            </a:r>
            <a:r>
              <a:rPr kumimoji="0" sz="2100" b="0" i="0" u="none" strike="noStrike" kern="1200" cap="none" spc="25" normalizeH="0" baseline="0" noProof="0" dirty="0">
                <a:ln>
                  <a:noFill/>
                </a:ln>
                <a:solidFill>
                  <a:srgbClr val="003B55"/>
                </a:solidFill>
                <a:effectLst/>
                <a:uLnTx/>
                <a:uFillTx/>
                <a:latin typeface="Arial"/>
                <a:ea typeface="+mn-ea"/>
                <a:cs typeface="Arial"/>
              </a:rPr>
              <a:t>Update </a:t>
            </a:r>
            <a:r>
              <a:rPr kumimoji="0" sz="2100" b="0" i="0" u="none" strike="noStrike" kern="1200" cap="none" spc="10" normalizeH="0" baseline="0" noProof="0" dirty="0">
                <a:ln>
                  <a:noFill/>
                </a:ln>
                <a:solidFill>
                  <a:srgbClr val="003B55"/>
                </a:solidFill>
                <a:effectLst/>
                <a:uLnTx/>
                <a:uFillTx/>
                <a:latin typeface="Arial"/>
                <a:ea typeface="+mn-ea"/>
                <a:cs typeface="Arial"/>
              </a:rPr>
              <a:t>load</a:t>
            </a:r>
            <a:r>
              <a:rPr kumimoji="0" sz="2100" b="0" i="0" u="none" strike="noStrike" kern="1200" cap="none" spc="-30" normalizeH="0" baseline="0" noProof="0" dirty="0">
                <a:ln>
                  <a:noFill/>
                </a:ln>
                <a:solidFill>
                  <a:srgbClr val="003B55"/>
                </a:solidFill>
                <a:effectLst/>
                <a:uLnTx/>
                <a:uFillTx/>
                <a:latin typeface="Arial"/>
                <a:ea typeface="+mn-ea"/>
                <a:cs typeface="Arial"/>
              </a:rPr>
              <a:t> </a:t>
            </a:r>
            <a:r>
              <a:rPr kumimoji="0" sz="2100" b="0" i="0" u="none" strike="noStrike" kern="1200" cap="none" spc="15" normalizeH="0" baseline="0" noProof="0" dirty="0">
                <a:ln>
                  <a:noFill/>
                </a:ln>
                <a:solidFill>
                  <a:srgbClr val="003B55"/>
                </a:solidFill>
                <a:effectLst/>
                <a:uLnTx/>
                <a:uFillTx/>
                <a:latin typeface="Arial"/>
                <a:ea typeface="+mn-ea"/>
                <a:cs typeface="Arial"/>
              </a:rPr>
              <a:t>balancer</a:t>
            </a:r>
            <a:endParaRPr kumimoji="0" sz="2100" b="0" i="0" u="none" strike="noStrike" kern="1200" cap="none" spc="0" normalizeH="0" baseline="0" noProof="0">
              <a:ln>
                <a:noFill/>
              </a:ln>
              <a:solidFill>
                <a:prstClr val="black"/>
              </a:solidFill>
              <a:effectLst/>
              <a:uLnTx/>
              <a:uFillTx/>
              <a:latin typeface="Arial"/>
              <a:ea typeface="+mn-ea"/>
              <a:cs typeface="Arial"/>
            </a:endParaRPr>
          </a:p>
          <a:p>
            <a:pPr marL="201295" marR="0" lvl="0" indent="0" algn="l" defTabSz="914400" rtl="0" eaLnBrk="1" fontAlgn="auto" latinLnBrk="0" hangingPunct="1">
              <a:lnSpc>
                <a:spcPct val="100000"/>
              </a:lnSpc>
              <a:spcBef>
                <a:spcPts val="45"/>
              </a:spcBef>
              <a:spcAft>
                <a:spcPts val="0"/>
              </a:spcAft>
              <a:buClrTx/>
              <a:buSzTx/>
              <a:buFontTx/>
              <a:buNone/>
              <a:tabLst/>
              <a:defRPr/>
            </a:pPr>
            <a:r>
              <a:rPr kumimoji="0" sz="2100" b="0" i="0" u="none" strike="noStrike" kern="1200" cap="none" spc="30" normalizeH="0" baseline="0" noProof="0" dirty="0">
                <a:ln>
                  <a:noFill/>
                </a:ln>
                <a:solidFill>
                  <a:srgbClr val="003B55"/>
                </a:solidFill>
                <a:effectLst/>
                <a:uLnTx/>
                <a:uFillTx/>
                <a:latin typeface="Arial"/>
                <a:ea typeface="+mn-ea"/>
                <a:cs typeface="Arial"/>
              </a:rPr>
              <a:t>pools </a:t>
            </a:r>
            <a:r>
              <a:rPr kumimoji="0" sz="2100" b="0" i="0" u="none" strike="noStrike" kern="1200" cap="none" spc="50" normalizeH="0" baseline="0" noProof="0" dirty="0">
                <a:ln>
                  <a:noFill/>
                </a:ln>
                <a:solidFill>
                  <a:srgbClr val="003B55"/>
                </a:solidFill>
                <a:effectLst/>
                <a:uLnTx/>
                <a:uFillTx/>
                <a:latin typeface="Arial"/>
                <a:ea typeface="+mn-ea"/>
                <a:cs typeface="Arial"/>
              </a:rPr>
              <a:t>to </a:t>
            </a:r>
            <a:r>
              <a:rPr kumimoji="0" sz="2100" b="0" i="0" u="none" strike="noStrike" kern="1200" cap="none" spc="25" normalizeH="0" baseline="0" noProof="0" dirty="0">
                <a:ln>
                  <a:noFill/>
                </a:ln>
                <a:solidFill>
                  <a:srgbClr val="003B55"/>
                </a:solidFill>
                <a:effectLst/>
                <a:uLnTx/>
                <a:uFillTx/>
                <a:latin typeface="Arial"/>
                <a:ea typeface="+mn-ea"/>
                <a:cs typeface="Arial"/>
              </a:rPr>
              <a:t>point </a:t>
            </a:r>
            <a:r>
              <a:rPr kumimoji="0" sz="2100" b="0" i="0" u="none" strike="noStrike" kern="1200" cap="none" spc="50" normalizeH="0" baseline="0" noProof="0" dirty="0">
                <a:ln>
                  <a:noFill/>
                </a:ln>
                <a:solidFill>
                  <a:srgbClr val="003B55"/>
                </a:solidFill>
                <a:effectLst/>
                <a:uLnTx/>
                <a:uFillTx/>
                <a:latin typeface="Arial"/>
                <a:ea typeface="+mn-ea"/>
                <a:cs typeface="Arial"/>
              </a:rPr>
              <a:t>to</a:t>
            </a:r>
            <a:r>
              <a:rPr kumimoji="0" sz="2100" b="0" i="0" u="none" strike="noStrike" kern="1200" cap="none" spc="15" normalizeH="0" baseline="0" noProof="0" dirty="0">
                <a:ln>
                  <a:noFill/>
                </a:ln>
                <a:solidFill>
                  <a:srgbClr val="003B55"/>
                </a:solidFill>
                <a:effectLst/>
                <a:uLnTx/>
                <a:uFillTx/>
                <a:latin typeface="Arial"/>
                <a:ea typeface="+mn-ea"/>
                <a:cs typeface="Arial"/>
              </a:rPr>
              <a:t> </a:t>
            </a:r>
            <a:r>
              <a:rPr kumimoji="0" sz="2100" b="0" i="0" u="none" strike="noStrike" kern="1200" cap="none" spc="25" normalizeH="0" baseline="0" noProof="0" dirty="0">
                <a:ln>
                  <a:noFill/>
                </a:ln>
                <a:solidFill>
                  <a:srgbClr val="003B55"/>
                </a:solidFill>
                <a:effectLst/>
                <a:uLnTx/>
                <a:uFillTx/>
                <a:latin typeface="Arial"/>
                <a:ea typeface="+mn-ea"/>
                <a:cs typeface="Arial"/>
              </a:rPr>
              <a:t>stage</a:t>
            </a:r>
            <a:endParaRPr kumimoji="0" sz="2100" b="0" i="0" u="none" strike="noStrike" kern="1200" cap="none" spc="0" normalizeH="0" baseline="0" noProof="0">
              <a:ln>
                <a:noFill/>
              </a:ln>
              <a:solidFill>
                <a:prstClr val="black"/>
              </a:solidFill>
              <a:effectLst/>
              <a:uLnTx/>
              <a:uFillTx/>
              <a:latin typeface="Arial"/>
              <a:ea typeface="+mn-ea"/>
              <a:cs typeface="Arial"/>
            </a:endParaRPr>
          </a:p>
        </p:txBody>
      </p:sp>
      <p:sp>
        <p:nvSpPr>
          <p:cNvPr id="41" name="object 41"/>
          <p:cNvSpPr/>
          <p:nvPr/>
        </p:nvSpPr>
        <p:spPr>
          <a:xfrm>
            <a:off x="4205478" y="2277110"/>
            <a:ext cx="1683385" cy="1749425"/>
          </a:xfrm>
          <a:custGeom>
            <a:avLst/>
            <a:gdLst/>
            <a:ahLst/>
            <a:cxnLst/>
            <a:rect l="l" t="t" r="r" b="b"/>
            <a:pathLst>
              <a:path w="1683385" h="1749425">
                <a:moveTo>
                  <a:pt x="73025" y="2159"/>
                </a:moveTo>
                <a:lnTo>
                  <a:pt x="41021" y="3937"/>
                </a:lnTo>
                <a:lnTo>
                  <a:pt x="0" y="6730"/>
                </a:lnTo>
                <a:lnTo>
                  <a:pt x="1524" y="31114"/>
                </a:lnTo>
                <a:lnTo>
                  <a:pt x="74422" y="26415"/>
                </a:lnTo>
                <a:lnTo>
                  <a:pt x="73025" y="2159"/>
                </a:lnTo>
                <a:close/>
              </a:path>
              <a:path w="1683385" h="1749425">
                <a:moveTo>
                  <a:pt x="165735" y="0"/>
                </a:moveTo>
                <a:lnTo>
                  <a:pt x="123698" y="0"/>
                </a:lnTo>
                <a:lnTo>
                  <a:pt x="97662" y="1015"/>
                </a:lnTo>
                <a:lnTo>
                  <a:pt x="98551" y="25400"/>
                </a:lnTo>
                <a:lnTo>
                  <a:pt x="124713" y="24384"/>
                </a:lnTo>
                <a:lnTo>
                  <a:pt x="170819" y="24384"/>
                </a:lnTo>
                <a:lnTo>
                  <a:pt x="171704" y="126"/>
                </a:lnTo>
                <a:lnTo>
                  <a:pt x="165735" y="0"/>
                </a:lnTo>
                <a:close/>
              </a:path>
              <a:path w="1683385" h="1749425">
                <a:moveTo>
                  <a:pt x="170819" y="24384"/>
                </a:moveTo>
                <a:lnTo>
                  <a:pt x="165735" y="24384"/>
                </a:lnTo>
                <a:lnTo>
                  <a:pt x="170814" y="24511"/>
                </a:lnTo>
                <a:close/>
              </a:path>
              <a:path w="1683385" h="1749425">
                <a:moveTo>
                  <a:pt x="196087" y="1142"/>
                </a:moveTo>
                <a:lnTo>
                  <a:pt x="195199" y="25526"/>
                </a:lnTo>
                <a:lnTo>
                  <a:pt x="207137" y="25907"/>
                </a:lnTo>
                <a:lnTo>
                  <a:pt x="227837" y="27559"/>
                </a:lnTo>
                <a:lnTo>
                  <a:pt x="248793" y="29717"/>
                </a:lnTo>
                <a:lnTo>
                  <a:pt x="266700" y="32257"/>
                </a:lnTo>
                <a:lnTo>
                  <a:pt x="270129" y="8127"/>
                </a:lnTo>
                <a:lnTo>
                  <a:pt x="251333" y="5587"/>
                </a:lnTo>
                <a:lnTo>
                  <a:pt x="229743" y="3301"/>
                </a:lnTo>
                <a:lnTo>
                  <a:pt x="208152" y="1524"/>
                </a:lnTo>
                <a:lnTo>
                  <a:pt x="196087" y="1142"/>
                </a:lnTo>
                <a:close/>
              </a:path>
              <a:path w="1683385" h="1749425">
                <a:moveTo>
                  <a:pt x="294894" y="12191"/>
                </a:moveTo>
                <a:lnTo>
                  <a:pt x="294513" y="12191"/>
                </a:lnTo>
                <a:lnTo>
                  <a:pt x="290449" y="36194"/>
                </a:lnTo>
                <a:lnTo>
                  <a:pt x="290830" y="36194"/>
                </a:lnTo>
                <a:lnTo>
                  <a:pt x="312166" y="40512"/>
                </a:lnTo>
                <a:lnTo>
                  <a:pt x="333629" y="45719"/>
                </a:lnTo>
                <a:lnTo>
                  <a:pt x="355219" y="51815"/>
                </a:lnTo>
                <a:lnTo>
                  <a:pt x="359791" y="53212"/>
                </a:lnTo>
                <a:lnTo>
                  <a:pt x="367157" y="29972"/>
                </a:lnTo>
                <a:lnTo>
                  <a:pt x="361823" y="28320"/>
                </a:lnTo>
                <a:lnTo>
                  <a:pt x="339217" y="21970"/>
                </a:lnTo>
                <a:lnTo>
                  <a:pt x="316992" y="16637"/>
                </a:lnTo>
                <a:lnTo>
                  <a:pt x="294894" y="12191"/>
                </a:lnTo>
                <a:close/>
              </a:path>
              <a:path w="1683385" h="1749425">
                <a:moveTo>
                  <a:pt x="390779" y="37718"/>
                </a:moveTo>
                <a:lnTo>
                  <a:pt x="382524" y="60705"/>
                </a:lnTo>
                <a:lnTo>
                  <a:pt x="399034" y="66675"/>
                </a:lnTo>
                <a:lnTo>
                  <a:pt x="421259" y="75691"/>
                </a:lnTo>
                <a:lnTo>
                  <a:pt x="443738" y="85598"/>
                </a:lnTo>
                <a:lnTo>
                  <a:pt x="448691" y="88137"/>
                </a:lnTo>
                <a:lnTo>
                  <a:pt x="459613" y="66293"/>
                </a:lnTo>
                <a:lnTo>
                  <a:pt x="453644" y="63373"/>
                </a:lnTo>
                <a:lnTo>
                  <a:pt x="430402" y="52959"/>
                </a:lnTo>
                <a:lnTo>
                  <a:pt x="407288" y="43687"/>
                </a:lnTo>
                <a:lnTo>
                  <a:pt x="390779" y="37718"/>
                </a:lnTo>
                <a:close/>
              </a:path>
              <a:path w="1683385" h="1749425">
                <a:moveTo>
                  <a:pt x="481711" y="77469"/>
                </a:moveTo>
                <a:lnTo>
                  <a:pt x="470154" y="98932"/>
                </a:lnTo>
                <a:lnTo>
                  <a:pt x="489458" y="109347"/>
                </a:lnTo>
                <a:lnTo>
                  <a:pt x="512699" y="123062"/>
                </a:lnTo>
                <a:lnTo>
                  <a:pt x="532384" y="135636"/>
                </a:lnTo>
                <a:lnTo>
                  <a:pt x="545464" y="115062"/>
                </a:lnTo>
                <a:lnTo>
                  <a:pt x="525018" y="101980"/>
                </a:lnTo>
                <a:lnTo>
                  <a:pt x="501014" y="87884"/>
                </a:lnTo>
                <a:lnTo>
                  <a:pt x="481711" y="77469"/>
                </a:lnTo>
                <a:close/>
              </a:path>
              <a:path w="1683385" h="1749425">
                <a:moveTo>
                  <a:pt x="565912" y="129031"/>
                </a:moveTo>
                <a:lnTo>
                  <a:pt x="552196" y="149098"/>
                </a:lnTo>
                <a:lnTo>
                  <a:pt x="559943" y="154431"/>
                </a:lnTo>
                <a:lnTo>
                  <a:pt x="584073" y="172338"/>
                </a:lnTo>
                <a:lnTo>
                  <a:pt x="608457" y="191769"/>
                </a:lnTo>
                <a:lnTo>
                  <a:pt x="609473" y="192531"/>
                </a:lnTo>
                <a:lnTo>
                  <a:pt x="625221" y="173862"/>
                </a:lnTo>
                <a:lnTo>
                  <a:pt x="623697" y="172592"/>
                </a:lnTo>
                <a:lnTo>
                  <a:pt x="598551" y="152780"/>
                </a:lnTo>
                <a:lnTo>
                  <a:pt x="573786" y="134365"/>
                </a:lnTo>
                <a:lnTo>
                  <a:pt x="565912" y="129031"/>
                </a:lnTo>
                <a:close/>
              </a:path>
              <a:path w="1683385" h="1749425">
                <a:moveTo>
                  <a:pt x="643889" y="189611"/>
                </a:moveTo>
                <a:lnTo>
                  <a:pt x="628142" y="208279"/>
                </a:lnTo>
                <a:lnTo>
                  <a:pt x="633349" y="212598"/>
                </a:lnTo>
                <a:lnTo>
                  <a:pt x="658368" y="235076"/>
                </a:lnTo>
                <a:lnTo>
                  <a:pt x="681609" y="257048"/>
                </a:lnTo>
                <a:lnTo>
                  <a:pt x="698373" y="239394"/>
                </a:lnTo>
                <a:lnTo>
                  <a:pt x="674751" y="217042"/>
                </a:lnTo>
                <a:lnTo>
                  <a:pt x="649097" y="193928"/>
                </a:lnTo>
                <a:lnTo>
                  <a:pt x="643889" y="189611"/>
                </a:lnTo>
                <a:close/>
              </a:path>
              <a:path w="1683385" h="1749425">
                <a:moveTo>
                  <a:pt x="715899" y="256793"/>
                </a:moveTo>
                <a:lnTo>
                  <a:pt x="698626" y="274065"/>
                </a:lnTo>
                <a:lnTo>
                  <a:pt x="709802" y="285241"/>
                </a:lnTo>
                <a:lnTo>
                  <a:pt x="736092" y="312927"/>
                </a:lnTo>
                <a:lnTo>
                  <a:pt x="748538" y="326770"/>
                </a:lnTo>
                <a:lnTo>
                  <a:pt x="766699" y="310388"/>
                </a:lnTo>
                <a:lnTo>
                  <a:pt x="753745" y="296163"/>
                </a:lnTo>
                <a:lnTo>
                  <a:pt x="727075" y="267969"/>
                </a:lnTo>
                <a:lnTo>
                  <a:pt x="715899" y="256793"/>
                </a:lnTo>
                <a:close/>
              </a:path>
              <a:path w="1683385" h="1749425">
                <a:moveTo>
                  <a:pt x="783082" y="328675"/>
                </a:moveTo>
                <a:lnTo>
                  <a:pt x="764667" y="344677"/>
                </a:lnTo>
                <a:lnTo>
                  <a:pt x="789813" y="373506"/>
                </a:lnTo>
                <a:lnTo>
                  <a:pt x="811911" y="400176"/>
                </a:lnTo>
                <a:lnTo>
                  <a:pt x="830707" y="384555"/>
                </a:lnTo>
                <a:lnTo>
                  <a:pt x="808101" y="357504"/>
                </a:lnTo>
                <a:lnTo>
                  <a:pt x="783082" y="328675"/>
                </a:lnTo>
                <a:close/>
              </a:path>
              <a:path w="1683385" h="1749425">
                <a:moveTo>
                  <a:pt x="846201" y="403605"/>
                </a:moveTo>
                <a:lnTo>
                  <a:pt x="827277" y="418973"/>
                </a:lnTo>
                <a:lnTo>
                  <a:pt x="844676" y="440563"/>
                </a:lnTo>
                <a:lnTo>
                  <a:pt x="872489" y="476123"/>
                </a:lnTo>
                <a:lnTo>
                  <a:pt x="891667" y="461137"/>
                </a:lnTo>
                <a:lnTo>
                  <a:pt x="863726" y="425323"/>
                </a:lnTo>
                <a:lnTo>
                  <a:pt x="846201" y="403605"/>
                </a:lnTo>
                <a:close/>
              </a:path>
              <a:path w="1683385" h="1749425">
                <a:moveTo>
                  <a:pt x="906526" y="480694"/>
                </a:moveTo>
                <a:lnTo>
                  <a:pt x="887095" y="495426"/>
                </a:lnTo>
                <a:lnTo>
                  <a:pt x="900938" y="513714"/>
                </a:lnTo>
                <a:lnTo>
                  <a:pt x="929639" y="552450"/>
                </a:lnTo>
                <a:lnTo>
                  <a:pt x="930656" y="553847"/>
                </a:lnTo>
                <a:lnTo>
                  <a:pt x="950468" y="539623"/>
                </a:lnTo>
                <a:lnTo>
                  <a:pt x="949198" y="537844"/>
                </a:lnTo>
                <a:lnTo>
                  <a:pt x="920369" y="498982"/>
                </a:lnTo>
                <a:lnTo>
                  <a:pt x="906526" y="480694"/>
                </a:lnTo>
                <a:close/>
              </a:path>
              <a:path w="1683385" h="1749425">
                <a:moveTo>
                  <a:pt x="964692" y="559435"/>
                </a:moveTo>
                <a:lnTo>
                  <a:pt x="944880" y="573659"/>
                </a:lnTo>
                <a:lnTo>
                  <a:pt x="958469" y="592454"/>
                </a:lnTo>
                <a:lnTo>
                  <a:pt x="987171" y="633222"/>
                </a:lnTo>
                <a:lnTo>
                  <a:pt x="1007110" y="619125"/>
                </a:lnTo>
                <a:lnTo>
                  <a:pt x="978281" y="578230"/>
                </a:lnTo>
                <a:lnTo>
                  <a:pt x="964692" y="559435"/>
                </a:lnTo>
                <a:close/>
              </a:path>
              <a:path w="1683385" h="1749425">
                <a:moveTo>
                  <a:pt x="1021080" y="639317"/>
                </a:moveTo>
                <a:lnTo>
                  <a:pt x="1001013" y="653161"/>
                </a:lnTo>
                <a:lnTo>
                  <a:pt x="1017016" y="676401"/>
                </a:lnTo>
                <a:lnTo>
                  <a:pt x="1042162" y="713486"/>
                </a:lnTo>
                <a:lnTo>
                  <a:pt x="1062355" y="699769"/>
                </a:lnTo>
                <a:lnTo>
                  <a:pt x="1037082" y="662559"/>
                </a:lnTo>
                <a:lnTo>
                  <a:pt x="1021080" y="639317"/>
                </a:lnTo>
                <a:close/>
              </a:path>
              <a:path w="1683385" h="1749425">
                <a:moveTo>
                  <a:pt x="1076071" y="720089"/>
                </a:moveTo>
                <a:lnTo>
                  <a:pt x="1055751" y="733678"/>
                </a:lnTo>
                <a:lnTo>
                  <a:pt x="1076579" y="764920"/>
                </a:lnTo>
                <a:lnTo>
                  <a:pt x="1096010" y="794638"/>
                </a:lnTo>
                <a:lnTo>
                  <a:pt x="1116330" y="781176"/>
                </a:lnTo>
                <a:lnTo>
                  <a:pt x="1096899" y="751331"/>
                </a:lnTo>
                <a:lnTo>
                  <a:pt x="1076071" y="720089"/>
                </a:lnTo>
                <a:close/>
              </a:path>
              <a:path w="1683385" h="1749425">
                <a:moveTo>
                  <a:pt x="1129792" y="801751"/>
                </a:moveTo>
                <a:lnTo>
                  <a:pt x="1109218" y="814959"/>
                </a:lnTo>
                <a:lnTo>
                  <a:pt x="1136904" y="857757"/>
                </a:lnTo>
                <a:lnTo>
                  <a:pt x="1148842" y="876426"/>
                </a:lnTo>
                <a:lnTo>
                  <a:pt x="1169416" y="863345"/>
                </a:lnTo>
                <a:lnTo>
                  <a:pt x="1157477" y="844550"/>
                </a:lnTo>
                <a:lnTo>
                  <a:pt x="1129792" y="801751"/>
                </a:lnTo>
                <a:close/>
              </a:path>
              <a:path w="1683385" h="1749425">
                <a:moveTo>
                  <a:pt x="1182497" y="883919"/>
                </a:moveTo>
                <a:lnTo>
                  <a:pt x="1161923" y="897001"/>
                </a:lnTo>
                <a:lnTo>
                  <a:pt x="1198118" y="954404"/>
                </a:lnTo>
                <a:lnTo>
                  <a:pt x="1200785" y="958723"/>
                </a:lnTo>
                <a:lnTo>
                  <a:pt x="1221486" y="945895"/>
                </a:lnTo>
                <a:lnTo>
                  <a:pt x="1182497" y="883919"/>
                </a:lnTo>
                <a:close/>
              </a:path>
              <a:path w="1683385" h="1749425">
                <a:moveTo>
                  <a:pt x="1234439" y="966597"/>
                </a:moveTo>
                <a:lnTo>
                  <a:pt x="1213739" y="979424"/>
                </a:lnTo>
                <a:lnTo>
                  <a:pt x="1252093" y="1041653"/>
                </a:lnTo>
                <a:lnTo>
                  <a:pt x="1272921" y="1028826"/>
                </a:lnTo>
                <a:lnTo>
                  <a:pt x="1249680" y="991107"/>
                </a:lnTo>
                <a:lnTo>
                  <a:pt x="1234439" y="966597"/>
                </a:lnTo>
                <a:close/>
              </a:path>
              <a:path w="1683385" h="1749425">
                <a:moveTo>
                  <a:pt x="1285621" y="1049654"/>
                </a:moveTo>
                <a:lnTo>
                  <a:pt x="1264793" y="1062354"/>
                </a:lnTo>
                <a:lnTo>
                  <a:pt x="1291209" y="1105535"/>
                </a:lnTo>
                <a:lnTo>
                  <a:pt x="1302893" y="1124839"/>
                </a:lnTo>
                <a:lnTo>
                  <a:pt x="1323721" y="1112265"/>
                </a:lnTo>
                <a:lnTo>
                  <a:pt x="1312037" y="1092835"/>
                </a:lnTo>
                <a:lnTo>
                  <a:pt x="1285621" y="1049654"/>
                </a:lnTo>
                <a:close/>
              </a:path>
              <a:path w="1683385" h="1749425">
                <a:moveTo>
                  <a:pt x="1336294" y="1133093"/>
                </a:moveTo>
                <a:lnTo>
                  <a:pt x="1315466" y="1145666"/>
                </a:lnTo>
                <a:lnTo>
                  <a:pt x="1353058" y="1208404"/>
                </a:lnTo>
                <a:lnTo>
                  <a:pt x="1374013" y="1195831"/>
                </a:lnTo>
                <a:lnTo>
                  <a:pt x="1343406" y="1144777"/>
                </a:lnTo>
                <a:lnTo>
                  <a:pt x="1336294" y="1133093"/>
                </a:lnTo>
                <a:close/>
              </a:path>
              <a:path w="1683385" h="1749425">
                <a:moveTo>
                  <a:pt x="1386459" y="1216914"/>
                </a:moveTo>
                <a:lnTo>
                  <a:pt x="1365504" y="1229360"/>
                </a:lnTo>
                <a:lnTo>
                  <a:pt x="1402842" y="1292225"/>
                </a:lnTo>
                <a:lnTo>
                  <a:pt x="1423797" y="1279778"/>
                </a:lnTo>
                <a:lnTo>
                  <a:pt x="1386459" y="1216914"/>
                </a:lnTo>
                <a:close/>
              </a:path>
              <a:path w="1683385" h="1749425">
                <a:moveTo>
                  <a:pt x="1436243" y="1300734"/>
                </a:moveTo>
                <a:lnTo>
                  <a:pt x="1415288" y="1313179"/>
                </a:lnTo>
                <a:lnTo>
                  <a:pt x="1417066" y="1316227"/>
                </a:lnTo>
                <a:lnTo>
                  <a:pt x="1452372" y="1376171"/>
                </a:lnTo>
                <a:lnTo>
                  <a:pt x="1473454" y="1363852"/>
                </a:lnTo>
                <a:lnTo>
                  <a:pt x="1438148" y="1303781"/>
                </a:lnTo>
                <a:lnTo>
                  <a:pt x="1436243" y="1300734"/>
                </a:lnTo>
                <a:close/>
              </a:path>
              <a:path w="1683385" h="1749425">
                <a:moveTo>
                  <a:pt x="1485773" y="1384808"/>
                </a:moveTo>
                <a:lnTo>
                  <a:pt x="1464691" y="1397253"/>
                </a:lnTo>
                <a:lnTo>
                  <a:pt x="1480693" y="1424432"/>
                </a:lnTo>
                <a:lnTo>
                  <a:pt x="1501648" y="1460245"/>
                </a:lnTo>
                <a:lnTo>
                  <a:pt x="1522730" y="1448053"/>
                </a:lnTo>
                <a:lnTo>
                  <a:pt x="1501775" y="1411985"/>
                </a:lnTo>
                <a:lnTo>
                  <a:pt x="1485773" y="1384808"/>
                </a:lnTo>
                <a:close/>
              </a:path>
              <a:path w="1683385" h="1749425">
                <a:moveTo>
                  <a:pt x="1534922" y="1469135"/>
                </a:moveTo>
                <a:lnTo>
                  <a:pt x="1513839" y="1481327"/>
                </a:lnTo>
                <a:lnTo>
                  <a:pt x="1544574" y="1534033"/>
                </a:lnTo>
                <a:lnTo>
                  <a:pt x="1550670" y="1544573"/>
                </a:lnTo>
                <a:lnTo>
                  <a:pt x="1571752" y="1532382"/>
                </a:lnTo>
                <a:lnTo>
                  <a:pt x="1534922" y="1469135"/>
                </a:lnTo>
                <a:close/>
              </a:path>
              <a:path w="1683385" h="1749425">
                <a:moveTo>
                  <a:pt x="1583944" y="1553464"/>
                </a:moveTo>
                <a:lnTo>
                  <a:pt x="1562862" y="1565656"/>
                </a:lnTo>
                <a:lnTo>
                  <a:pt x="1599564" y="1628902"/>
                </a:lnTo>
                <a:lnTo>
                  <a:pt x="1620647" y="1616709"/>
                </a:lnTo>
                <a:lnTo>
                  <a:pt x="1583944" y="1553464"/>
                </a:lnTo>
                <a:close/>
              </a:path>
              <a:path w="1683385" h="1749425">
                <a:moveTo>
                  <a:pt x="1634629" y="1689415"/>
                </a:moveTo>
                <a:lnTo>
                  <a:pt x="1612138" y="1702434"/>
                </a:lnTo>
                <a:lnTo>
                  <a:pt x="1683258" y="1749297"/>
                </a:lnTo>
                <a:lnTo>
                  <a:pt x="1680338" y="1700402"/>
                </a:lnTo>
                <a:lnTo>
                  <a:pt x="1640967" y="1700402"/>
                </a:lnTo>
                <a:lnTo>
                  <a:pt x="1634629" y="1689415"/>
                </a:lnTo>
                <a:close/>
              </a:path>
              <a:path w="1683385" h="1749425">
                <a:moveTo>
                  <a:pt x="1655706" y="1677215"/>
                </a:moveTo>
                <a:lnTo>
                  <a:pt x="1634629" y="1689415"/>
                </a:lnTo>
                <a:lnTo>
                  <a:pt x="1640967" y="1700402"/>
                </a:lnTo>
                <a:lnTo>
                  <a:pt x="1662049" y="1688210"/>
                </a:lnTo>
                <a:lnTo>
                  <a:pt x="1655706" y="1677215"/>
                </a:lnTo>
                <a:close/>
              </a:path>
              <a:path w="1683385" h="1749425">
                <a:moveTo>
                  <a:pt x="1678177" y="1664208"/>
                </a:moveTo>
                <a:lnTo>
                  <a:pt x="1655706" y="1677215"/>
                </a:lnTo>
                <a:lnTo>
                  <a:pt x="1662049" y="1688210"/>
                </a:lnTo>
                <a:lnTo>
                  <a:pt x="1640967" y="1700402"/>
                </a:lnTo>
                <a:lnTo>
                  <a:pt x="1680338" y="1700402"/>
                </a:lnTo>
                <a:lnTo>
                  <a:pt x="1678177" y="1664208"/>
                </a:lnTo>
                <a:close/>
              </a:path>
              <a:path w="1683385" h="1749425">
                <a:moveTo>
                  <a:pt x="1632966" y="1637791"/>
                </a:moveTo>
                <a:lnTo>
                  <a:pt x="1611884" y="1649983"/>
                </a:lnTo>
                <a:lnTo>
                  <a:pt x="1634629" y="1689415"/>
                </a:lnTo>
                <a:lnTo>
                  <a:pt x="1655706" y="1677215"/>
                </a:lnTo>
                <a:lnTo>
                  <a:pt x="1632966" y="1637791"/>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4206113" y="1950847"/>
            <a:ext cx="1697989" cy="1329055"/>
          </a:xfrm>
          <a:custGeom>
            <a:avLst/>
            <a:gdLst/>
            <a:ahLst/>
            <a:cxnLst/>
            <a:rect l="l" t="t" r="r" b="b"/>
            <a:pathLst>
              <a:path w="1697989" h="1329054">
                <a:moveTo>
                  <a:pt x="72422" y="24383"/>
                </a:moveTo>
                <a:lnTo>
                  <a:pt x="19176" y="24383"/>
                </a:lnTo>
                <a:lnTo>
                  <a:pt x="38353" y="24511"/>
                </a:lnTo>
                <a:lnTo>
                  <a:pt x="57658" y="25145"/>
                </a:lnTo>
                <a:lnTo>
                  <a:pt x="72262" y="26415"/>
                </a:lnTo>
                <a:lnTo>
                  <a:pt x="72422" y="24383"/>
                </a:lnTo>
                <a:close/>
              </a:path>
              <a:path w="1697989" h="1329054">
                <a:moveTo>
                  <a:pt x="18923" y="0"/>
                </a:moveTo>
                <a:lnTo>
                  <a:pt x="0" y="126"/>
                </a:lnTo>
                <a:lnTo>
                  <a:pt x="253" y="24511"/>
                </a:lnTo>
                <a:lnTo>
                  <a:pt x="72422" y="24383"/>
                </a:lnTo>
                <a:lnTo>
                  <a:pt x="74167" y="2158"/>
                </a:lnTo>
                <a:lnTo>
                  <a:pt x="58547" y="888"/>
                </a:lnTo>
                <a:lnTo>
                  <a:pt x="38481" y="126"/>
                </a:lnTo>
                <a:lnTo>
                  <a:pt x="18923" y="0"/>
                </a:lnTo>
                <a:close/>
              </a:path>
              <a:path w="1697989" h="1329054">
                <a:moveTo>
                  <a:pt x="99060" y="5333"/>
                </a:moveTo>
                <a:lnTo>
                  <a:pt x="95631" y="29463"/>
                </a:lnTo>
                <a:lnTo>
                  <a:pt x="98678" y="29844"/>
                </a:lnTo>
                <a:lnTo>
                  <a:pt x="120903" y="34416"/>
                </a:lnTo>
                <a:lnTo>
                  <a:pt x="144907" y="40766"/>
                </a:lnTo>
                <a:lnTo>
                  <a:pt x="157352" y="44703"/>
                </a:lnTo>
                <a:lnTo>
                  <a:pt x="164084" y="47116"/>
                </a:lnTo>
                <a:lnTo>
                  <a:pt x="172212" y="24129"/>
                </a:lnTo>
                <a:lnTo>
                  <a:pt x="164719" y="21462"/>
                </a:lnTo>
                <a:lnTo>
                  <a:pt x="151129" y="17272"/>
                </a:lnTo>
                <a:lnTo>
                  <a:pt x="125857" y="10540"/>
                </a:lnTo>
                <a:lnTo>
                  <a:pt x="102108" y="5714"/>
                </a:lnTo>
                <a:lnTo>
                  <a:pt x="99060" y="5333"/>
                </a:lnTo>
                <a:close/>
              </a:path>
              <a:path w="1697989" h="1329054">
                <a:moveTo>
                  <a:pt x="195579" y="33019"/>
                </a:moveTo>
                <a:lnTo>
                  <a:pt x="186182" y="55499"/>
                </a:lnTo>
                <a:lnTo>
                  <a:pt x="198247" y="60578"/>
                </a:lnTo>
                <a:lnTo>
                  <a:pt x="213360" y="67182"/>
                </a:lnTo>
                <a:lnTo>
                  <a:pt x="228853" y="74549"/>
                </a:lnTo>
                <a:lnTo>
                  <a:pt x="244983" y="82803"/>
                </a:lnTo>
                <a:lnTo>
                  <a:pt x="251206" y="86232"/>
                </a:lnTo>
                <a:lnTo>
                  <a:pt x="262763" y="64769"/>
                </a:lnTo>
                <a:lnTo>
                  <a:pt x="256032" y="61087"/>
                </a:lnTo>
                <a:lnTo>
                  <a:pt x="239267" y="52577"/>
                </a:lnTo>
                <a:lnTo>
                  <a:pt x="223138" y="44957"/>
                </a:lnTo>
                <a:lnTo>
                  <a:pt x="207772" y="38100"/>
                </a:lnTo>
                <a:lnTo>
                  <a:pt x="195579" y="33019"/>
                </a:lnTo>
                <a:close/>
              </a:path>
              <a:path w="1697989" h="1329054">
                <a:moveTo>
                  <a:pt x="284352" y="76580"/>
                </a:moveTo>
                <a:lnTo>
                  <a:pt x="272414" y="97916"/>
                </a:lnTo>
                <a:lnTo>
                  <a:pt x="279653" y="101980"/>
                </a:lnTo>
                <a:lnTo>
                  <a:pt x="298069" y="112902"/>
                </a:lnTo>
                <a:lnTo>
                  <a:pt x="317246" y="124713"/>
                </a:lnTo>
                <a:lnTo>
                  <a:pt x="334263" y="135636"/>
                </a:lnTo>
                <a:lnTo>
                  <a:pt x="347345" y="115062"/>
                </a:lnTo>
                <a:lnTo>
                  <a:pt x="330073" y="104012"/>
                </a:lnTo>
                <a:lnTo>
                  <a:pt x="310514" y="91820"/>
                </a:lnTo>
                <a:lnTo>
                  <a:pt x="291591" y="80644"/>
                </a:lnTo>
                <a:lnTo>
                  <a:pt x="284352" y="76580"/>
                </a:lnTo>
                <a:close/>
              </a:path>
              <a:path w="1697989" h="1329054">
                <a:moveTo>
                  <a:pt x="367919" y="128524"/>
                </a:moveTo>
                <a:lnTo>
                  <a:pt x="354457" y="148970"/>
                </a:lnTo>
                <a:lnTo>
                  <a:pt x="358521" y="151637"/>
                </a:lnTo>
                <a:lnTo>
                  <a:pt x="380364" y="166624"/>
                </a:lnTo>
                <a:lnTo>
                  <a:pt x="403225" y="182752"/>
                </a:lnTo>
                <a:lnTo>
                  <a:pt x="413892" y="190626"/>
                </a:lnTo>
                <a:lnTo>
                  <a:pt x="428244" y="170941"/>
                </a:lnTo>
                <a:lnTo>
                  <a:pt x="417322" y="162940"/>
                </a:lnTo>
                <a:lnTo>
                  <a:pt x="394208" y="146557"/>
                </a:lnTo>
                <a:lnTo>
                  <a:pt x="371983" y="131190"/>
                </a:lnTo>
                <a:lnTo>
                  <a:pt x="367919" y="128524"/>
                </a:lnTo>
                <a:close/>
              </a:path>
              <a:path w="1697989" h="1329054">
                <a:moveTo>
                  <a:pt x="448056" y="185419"/>
                </a:moveTo>
                <a:lnTo>
                  <a:pt x="433450" y="204977"/>
                </a:lnTo>
                <a:lnTo>
                  <a:pt x="451865" y="218820"/>
                </a:lnTo>
                <a:lnTo>
                  <a:pt x="477774" y="238632"/>
                </a:lnTo>
                <a:lnTo>
                  <a:pt x="491363" y="249174"/>
                </a:lnTo>
                <a:lnTo>
                  <a:pt x="506349" y="229997"/>
                </a:lnTo>
                <a:lnTo>
                  <a:pt x="492633" y="219328"/>
                </a:lnTo>
                <a:lnTo>
                  <a:pt x="466471" y="199262"/>
                </a:lnTo>
                <a:lnTo>
                  <a:pt x="448056" y="185419"/>
                </a:lnTo>
                <a:close/>
              </a:path>
              <a:path w="1697989" h="1329054">
                <a:moveTo>
                  <a:pt x="525526" y="245237"/>
                </a:moveTo>
                <a:lnTo>
                  <a:pt x="510413" y="264287"/>
                </a:lnTo>
                <a:lnTo>
                  <a:pt x="532764" y="282193"/>
                </a:lnTo>
                <a:lnTo>
                  <a:pt x="561721" y="305688"/>
                </a:lnTo>
                <a:lnTo>
                  <a:pt x="567054" y="310133"/>
                </a:lnTo>
                <a:lnTo>
                  <a:pt x="582549" y="291338"/>
                </a:lnTo>
                <a:lnTo>
                  <a:pt x="548004" y="263143"/>
                </a:lnTo>
                <a:lnTo>
                  <a:pt x="525526" y="245237"/>
                </a:lnTo>
                <a:close/>
              </a:path>
              <a:path w="1697989" h="1329054">
                <a:moveTo>
                  <a:pt x="601345" y="306831"/>
                </a:moveTo>
                <a:lnTo>
                  <a:pt x="585851" y="325627"/>
                </a:lnTo>
                <a:lnTo>
                  <a:pt x="591820" y="330580"/>
                </a:lnTo>
                <a:lnTo>
                  <a:pt x="641731" y="372617"/>
                </a:lnTo>
                <a:lnTo>
                  <a:pt x="657478" y="354075"/>
                </a:lnTo>
                <a:lnTo>
                  <a:pt x="607313" y="311785"/>
                </a:lnTo>
                <a:lnTo>
                  <a:pt x="601345" y="306831"/>
                </a:lnTo>
                <a:close/>
              </a:path>
              <a:path w="1697989" h="1329054">
                <a:moveTo>
                  <a:pt x="676148" y="369950"/>
                </a:moveTo>
                <a:lnTo>
                  <a:pt x="660273" y="388365"/>
                </a:lnTo>
                <a:lnTo>
                  <a:pt x="715517" y="436244"/>
                </a:lnTo>
                <a:lnTo>
                  <a:pt x="731520" y="417829"/>
                </a:lnTo>
                <a:lnTo>
                  <a:pt x="703072" y="393064"/>
                </a:lnTo>
                <a:lnTo>
                  <a:pt x="676148" y="369950"/>
                </a:lnTo>
                <a:close/>
              </a:path>
              <a:path w="1697989" h="1329054">
                <a:moveTo>
                  <a:pt x="749935" y="433831"/>
                </a:moveTo>
                <a:lnTo>
                  <a:pt x="733933" y="452247"/>
                </a:lnTo>
                <a:lnTo>
                  <a:pt x="788797" y="500506"/>
                </a:lnTo>
                <a:lnTo>
                  <a:pt x="804926" y="482218"/>
                </a:lnTo>
                <a:lnTo>
                  <a:pt x="749935" y="433831"/>
                </a:lnTo>
                <a:close/>
              </a:path>
              <a:path w="1697989" h="1329054">
                <a:moveTo>
                  <a:pt x="823213" y="498475"/>
                </a:moveTo>
                <a:lnTo>
                  <a:pt x="806958" y="516636"/>
                </a:lnTo>
                <a:lnTo>
                  <a:pt x="861440" y="565403"/>
                </a:lnTo>
                <a:lnTo>
                  <a:pt x="877697" y="547242"/>
                </a:lnTo>
                <a:lnTo>
                  <a:pt x="842263" y="515365"/>
                </a:lnTo>
                <a:lnTo>
                  <a:pt x="823213" y="498475"/>
                </a:lnTo>
                <a:close/>
              </a:path>
              <a:path w="1697989" h="1329054">
                <a:moveTo>
                  <a:pt x="895858" y="563626"/>
                </a:moveTo>
                <a:lnTo>
                  <a:pt x="879475" y="581660"/>
                </a:lnTo>
                <a:lnTo>
                  <a:pt x="899795" y="599948"/>
                </a:lnTo>
                <a:lnTo>
                  <a:pt x="933703" y="630808"/>
                </a:lnTo>
                <a:lnTo>
                  <a:pt x="950087" y="612648"/>
                </a:lnTo>
                <a:lnTo>
                  <a:pt x="895858" y="563626"/>
                </a:lnTo>
                <a:close/>
              </a:path>
              <a:path w="1697989" h="1329054">
                <a:moveTo>
                  <a:pt x="968121" y="629157"/>
                </a:moveTo>
                <a:lnTo>
                  <a:pt x="951738" y="647191"/>
                </a:lnTo>
                <a:lnTo>
                  <a:pt x="976122" y="669289"/>
                </a:lnTo>
                <a:lnTo>
                  <a:pt x="1005713" y="696467"/>
                </a:lnTo>
                <a:lnTo>
                  <a:pt x="1022223" y="678561"/>
                </a:lnTo>
                <a:lnTo>
                  <a:pt x="968121" y="629157"/>
                </a:lnTo>
                <a:close/>
              </a:path>
              <a:path w="1697989" h="1329054">
                <a:moveTo>
                  <a:pt x="1040129" y="695070"/>
                </a:moveTo>
                <a:lnTo>
                  <a:pt x="1023620" y="712977"/>
                </a:lnTo>
                <a:lnTo>
                  <a:pt x="1077467" y="762507"/>
                </a:lnTo>
                <a:lnTo>
                  <a:pt x="1093977" y="744601"/>
                </a:lnTo>
                <a:lnTo>
                  <a:pt x="1071245" y="723518"/>
                </a:lnTo>
                <a:lnTo>
                  <a:pt x="1040129" y="695070"/>
                </a:lnTo>
                <a:close/>
              </a:path>
              <a:path w="1697989" h="1329054">
                <a:moveTo>
                  <a:pt x="1112012" y="761111"/>
                </a:moveTo>
                <a:lnTo>
                  <a:pt x="1095375" y="779017"/>
                </a:lnTo>
                <a:lnTo>
                  <a:pt x="1148969" y="828801"/>
                </a:lnTo>
                <a:lnTo>
                  <a:pt x="1165606" y="810894"/>
                </a:lnTo>
                <a:lnTo>
                  <a:pt x="1112012" y="761111"/>
                </a:lnTo>
                <a:close/>
              </a:path>
              <a:path w="1697989" h="1329054">
                <a:moveTo>
                  <a:pt x="1183386" y="827531"/>
                </a:moveTo>
                <a:lnTo>
                  <a:pt x="1166876" y="845438"/>
                </a:lnTo>
                <a:lnTo>
                  <a:pt x="1220215" y="895223"/>
                </a:lnTo>
                <a:lnTo>
                  <a:pt x="1236979" y="877442"/>
                </a:lnTo>
                <a:lnTo>
                  <a:pt x="1192911" y="836294"/>
                </a:lnTo>
                <a:lnTo>
                  <a:pt x="1183386" y="827531"/>
                </a:lnTo>
                <a:close/>
              </a:path>
              <a:path w="1697989" h="1329054">
                <a:moveTo>
                  <a:pt x="1254760" y="894079"/>
                </a:moveTo>
                <a:lnTo>
                  <a:pt x="1238123" y="911987"/>
                </a:lnTo>
                <a:lnTo>
                  <a:pt x="1291463" y="961898"/>
                </a:lnTo>
                <a:lnTo>
                  <a:pt x="1308100" y="944117"/>
                </a:lnTo>
                <a:lnTo>
                  <a:pt x="1254760" y="894079"/>
                </a:lnTo>
                <a:close/>
              </a:path>
              <a:path w="1697989" h="1329054">
                <a:moveTo>
                  <a:pt x="1325879" y="960881"/>
                </a:moveTo>
                <a:lnTo>
                  <a:pt x="1309242" y="978662"/>
                </a:lnTo>
                <a:lnTo>
                  <a:pt x="1362583" y="1028700"/>
                </a:lnTo>
                <a:lnTo>
                  <a:pt x="1379220" y="1010919"/>
                </a:lnTo>
                <a:lnTo>
                  <a:pt x="1360424" y="993139"/>
                </a:lnTo>
                <a:lnTo>
                  <a:pt x="1325879" y="960881"/>
                </a:lnTo>
                <a:close/>
              </a:path>
              <a:path w="1697989" h="1329054">
                <a:moveTo>
                  <a:pt x="1397000" y="1027683"/>
                </a:moveTo>
                <a:lnTo>
                  <a:pt x="1380236" y="1045463"/>
                </a:lnTo>
                <a:lnTo>
                  <a:pt x="1433449" y="1095628"/>
                </a:lnTo>
                <a:lnTo>
                  <a:pt x="1450213" y="1077849"/>
                </a:lnTo>
                <a:lnTo>
                  <a:pt x="1397000" y="1027683"/>
                </a:lnTo>
                <a:close/>
              </a:path>
              <a:path w="1697989" h="1329054">
                <a:moveTo>
                  <a:pt x="1467992" y="1094613"/>
                </a:moveTo>
                <a:lnTo>
                  <a:pt x="1451228" y="1112392"/>
                </a:lnTo>
                <a:lnTo>
                  <a:pt x="1504441" y="1162557"/>
                </a:lnTo>
                <a:lnTo>
                  <a:pt x="1521206" y="1144777"/>
                </a:lnTo>
                <a:lnTo>
                  <a:pt x="1467992" y="1094613"/>
                </a:lnTo>
                <a:close/>
              </a:path>
              <a:path w="1697989" h="1329054">
                <a:moveTo>
                  <a:pt x="1538859" y="1161541"/>
                </a:moveTo>
                <a:lnTo>
                  <a:pt x="1522095" y="1179322"/>
                </a:lnTo>
                <a:lnTo>
                  <a:pt x="1575308" y="1229614"/>
                </a:lnTo>
                <a:lnTo>
                  <a:pt x="1592072" y="1211833"/>
                </a:lnTo>
                <a:lnTo>
                  <a:pt x="1538859" y="1161541"/>
                </a:lnTo>
                <a:close/>
              </a:path>
              <a:path w="1697989" h="1329054">
                <a:moveTo>
                  <a:pt x="1634129" y="1285241"/>
                </a:moveTo>
                <a:lnTo>
                  <a:pt x="1616328" y="1304036"/>
                </a:lnTo>
                <a:lnTo>
                  <a:pt x="1697863" y="1328801"/>
                </a:lnTo>
                <a:lnTo>
                  <a:pt x="1685158" y="1294002"/>
                </a:lnTo>
                <a:lnTo>
                  <a:pt x="1643379" y="1294002"/>
                </a:lnTo>
                <a:lnTo>
                  <a:pt x="1634129" y="1285241"/>
                </a:lnTo>
                <a:close/>
              </a:path>
              <a:path w="1697989" h="1329054">
                <a:moveTo>
                  <a:pt x="1650870" y="1267566"/>
                </a:moveTo>
                <a:lnTo>
                  <a:pt x="1634129" y="1285241"/>
                </a:lnTo>
                <a:lnTo>
                  <a:pt x="1643379" y="1294002"/>
                </a:lnTo>
                <a:lnTo>
                  <a:pt x="1660144" y="1276350"/>
                </a:lnTo>
                <a:lnTo>
                  <a:pt x="1650870" y="1267566"/>
                </a:lnTo>
                <a:close/>
              </a:path>
              <a:path w="1697989" h="1329054">
                <a:moveTo>
                  <a:pt x="1668652" y="1248790"/>
                </a:moveTo>
                <a:lnTo>
                  <a:pt x="1650870" y="1267566"/>
                </a:lnTo>
                <a:lnTo>
                  <a:pt x="1660144" y="1276350"/>
                </a:lnTo>
                <a:lnTo>
                  <a:pt x="1643379" y="1294002"/>
                </a:lnTo>
                <a:lnTo>
                  <a:pt x="1685158" y="1294002"/>
                </a:lnTo>
                <a:lnTo>
                  <a:pt x="1668652" y="1248790"/>
                </a:lnTo>
                <a:close/>
              </a:path>
              <a:path w="1697989" h="1329054">
                <a:moveTo>
                  <a:pt x="1609725" y="1228598"/>
                </a:moveTo>
                <a:lnTo>
                  <a:pt x="1592961" y="1246251"/>
                </a:lnTo>
                <a:lnTo>
                  <a:pt x="1634129" y="1285241"/>
                </a:lnTo>
                <a:lnTo>
                  <a:pt x="1650870" y="1267566"/>
                </a:lnTo>
                <a:lnTo>
                  <a:pt x="1609725" y="1228598"/>
                </a:lnTo>
                <a:close/>
              </a:path>
            </a:pathLst>
          </a:custGeom>
          <a:solidFill>
            <a:srgbClr val="003B5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1146047" y="2560320"/>
            <a:ext cx="2401824" cy="1929383"/>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1353311" y="3160776"/>
            <a:ext cx="332231" cy="347472"/>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txBox="1"/>
          <p:nvPr/>
        </p:nvSpPr>
        <p:spPr>
          <a:xfrm>
            <a:off x="706627" y="6355181"/>
            <a:ext cx="3641090" cy="16256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4362476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62736" y="587501"/>
            <a:ext cx="5299710" cy="596265"/>
          </a:xfrm>
          <a:prstGeom prst="rect">
            <a:avLst/>
          </a:prstGeom>
        </p:spPr>
        <p:txBody>
          <a:bodyPr vert="horz" wrap="square" lIns="0" tIns="12065" rIns="0" bIns="0" rtlCol="0">
            <a:spAutoFit/>
          </a:bodyPr>
          <a:lstStyle/>
          <a:p>
            <a:pPr marL="12700">
              <a:lnSpc>
                <a:spcPct val="100000"/>
              </a:lnSpc>
              <a:spcBef>
                <a:spcPts val="95"/>
              </a:spcBef>
            </a:pPr>
            <a:r>
              <a:rPr spc="25" dirty="0">
                <a:solidFill>
                  <a:srgbClr val="005073"/>
                </a:solidFill>
              </a:rPr>
              <a:t>How </a:t>
            </a:r>
            <a:r>
              <a:rPr spc="35" dirty="0">
                <a:solidFill>
                  <a:srgbClr val="005073"/>
                </a:solidFill>
              </a:rPr>
              <a:t>does </a:t>
            </a:r>
            <a:r>
              <a:rPr spc="-10" dirty="0">
                <a:solidFill>
                  <a:srgbClr val="005073"/>
                </a:solidFill>
              </a:rPr>
              <a:t>Ansible</a:t>
            </a:r>
            <a:r>
              <a:rPr spc="75" dirty="0">
                <a:solidFill>
                  <a:srgbClr val="005073"/>
                </a:solidFill>
              </a:rPr>
              <a:t> </a:t>
            </a:r>
            <a:r>
              <a:rPr spc="5" dirty="0">
                <a:solidFill>
                  <a:srgbClr val="005073"/>
                </a:solidFill>
              </a:rPr>
              <a:t>work?</a:t>
            </a:r>
          </a:p>
        </p:txBody>
      </p:sp>
      <p:sp>
        <p:nvSpPr>
          <p:cNvPr id="3" name="object 3"/>
          <p:cNvSpPr/>
          <p:nvPr/>
        </p:nvSpPr>
        <p:spPr>
          <a:xfrm>
            <a:off x="6104536" y="2318927"/>
            <a:ext cx="4730750" cy="2573655"/>
          </a:xfrm>
          <a:custGeom>
            <a:avLst/>
            <a:gdLst/>
            <a:ahLst/>
            <a:cxnLst/>
            <a:rect l="l" t="t" r="r" b="b"/>
            <a:pathLst>
              <a:path w="4730750" h="2573654">
                <a:moveTo>
                  <a:pt x="430121" y="847182"/>
                </a:moveTo>
                <a:lnTo>
                  <a:pt x="424697" y="806512"/>
                </a:lnTo>
                <a:lnTo>
                  <a:pt x="423342" y="766254"/>
                </a:lnTo>
                <a:lnTo>
                  <a:pt x="425934" y="726527"/>
                </a:lnTo>
                <a:lnTo>
                  <a:pt x="432350" y="687450"/>
                </a:lnTo>
                <a:lnTo>
                  <a:pt x="442468" y="649143"/>
                </a:lnTo>
                <a:lnTo>
                  <a:pt x="456166" y="611725"/>
                </a:lnTo>
                <a:lnTo>
                  <a:pt x="473321" y="575314"/>
                </a:lnTo>
                <a:lnTo>
                  <a:pt x="493812" y="540030"/>
                </a:lnTo>
                <a:lnTo>
                  <a:pt x="517516" y="505992"/>
                </a:lnTo>
                <a:lnTo>
                  <a:pt x="544312" y="473320"/>
                </a:lnTo>
                <a:lnTo>
                  <a:pt x="574075" y="442131"/>
                </a:lnTo>
                <a:lnTo>
                  <a:pt x="606686" y="412546"/>
                </a:lnTo>
                <a:lnTo>
                  <a:pt x="642020" y="384684"/>
                </a:lnTo>
                <a:lnTo>
                  <a:pt x="679956" y="358664"/>
                </a:lnTo>
                <a:lnTo>
                  <a:pt x="720373" y="334605"/>
                </a:lnTo>
                <a:lnTo>
                  <a:pt x="763147" y="312625"/>
                </a:lnTo>
                <a:lnTo>
                  <a:pt x="808156" y="292845"/>
                </a:lnTo>
                <a:lnTo>
                  <a:pt x="855278" y="275384"/>
                </a:lnTo>
                <a:lnTo>
                  <a:pt x="904391" y="260360"/>
                </a:lnTo>
                <a:lnTo>
                  <a:pt x="955373" y="247893"/>
                </a:lnTo>
                <a:lnTo>
                  <a:pt x="1008101" y="238101"/>
                </a:lnTo>
                <a:lnTo>
                  <a:pt x="1062454" y="231105"/>
                </a:lnTo>
                <a:lnTo>
                  <a:pt x="1111622" y="227386"/>
                </a:lnTo>
                <a:lnTo>
                  <a:pt x="1160797" y="226118"/>
                </a:lnTo>
                <a:lnTo>
                  <a:pt x="1209821" y="227277"/>
                </a:lnTo>
                <a:lnTo>
                  <a:pt x="1258532" y="230837"/>
                </a:lnTo>
                <a:lnTo>
                  <a:pt x="1306770" y="236772"/>
                </a:lnTo>
                <a:lnTo>
                  <a:pt x="1354376" y="245059"/>
                </a:lnTo>
                <a:lnTo>
                  <a:pt x="1401189" y="255671"/>
                </a:lnTo>
                <a:lnTo>
                  <a:pt x="1447050" y="268583"/>
                </a:lnTo>
                <a:lnTo>
                  <a:pt x="1491799" y="283771"/>
                </a:lnTo>
                <a:lnTo>
                  <a:pt x="1535275" y="301209"/>
                </a:lnTo>
                <a:lnTo>
                  <a:pt x="1562286" y="267253"/>
                </a:lnTo>
                <a:lnTo>
                  <a:pt x="1592759" y="235784"/>
                </a:lnTo>
                <a:lnTo>
                  <a:pt x="1626415" y="206867"/>
                </a:lnTo>
                <a:lnTo>
                  <a:pt x="1662975" y="180563"/>
                </a:lnTo>
                <a:lnTo>
                  <a:pt x="1702162" y="156935"/>
                </a:lnTo>
                <a:lnTo>
                  <a:pt x="1743696" y="136048"/>
                </a:lnTo>
                <a:lnTo>
                  <a:pt x="1787300" y="117963"/>
                </a:lnTo>
                <a:lnTo>
                  <a:pt x="1832695" y="102743"/>
                </a:lnTo>
                <a:lnTo>
                  <a:pt x="1879604" y="90452"/>
                </a:lnTo>
                <a:lnTo>
                  <a:pt x="1927747" y="81153"/>
                </a:lnTo>
                <a:lnTo>
                  <a:pt x="1976846" y="74908"/>
                </a:lnTo>
                <a:lnTo>
                  <a:pt x="2026624" y="71781"/>
                </a:lnTo>
                <a:lnTo>
                  <a:pt x="2076801" y="71834"/>
                </a:lnTo>
                <a:lnTo>
                  <a:pt x="2127100" y="75131"/>
                </a:lnTo>
                <a:lnTo>
                  <a:pt x="2177242" y="81734"/>
                </a:lnTo>
                <a:lnTo>
                  <a:pt x="2226949" y="91707"/>
                </a:lnTo>
                <a:lnTo>
                  <a:pt x="2275943" y="105112"/>
                </a:lnTo>
                <a:lnTo>
                  <a:pt x="2323945" y="122012"/>
                </a:lnTo>
                <a:lnTo>
                  <a:pt x="2360477" y="137720"/>
                </a:lnTo>
                <a:lnTo>
                  <a:pt x="2395319" y="155286"/>
                </a:lnTo>
                <a:lnTo>
                  <a:pt x="2428351" y="174661"/>
                </a:lnTo>
                <a:lnTo>
                  <a:pt x="2459454" y="195799"/>
                </a:lnTo>
                <a:lnTo>
                  <a:pt x="2485187" y="162223"/>
                </a:lnTo>
                <a:lnTo>
                  <a:pt x="2515033" y="131511"/>
                </a:lnTo>
                <a:lnTo>
                  <a:pt x="2548603" y="103759"/>
                </a:lnTo>
                <a:lnTo>
                  <a:pt x="2585505" y="79067"/>
                </a:lnTo>
                <a:lnTo>
                  <a:pt x="2625349" y="57529"/>
                </a:lnTo>
                <a:lnTo>
                  <a:pt x="2667744" y="39243"/>
                </a:lnTo>
                <a:lnTo>
                  <a:pt x="2712300" y="24307"/>
                </a:lnTo>
                <a:lnTo>
                  <a:pt x="2758626" y="12818"/>
                </a:lnTo>
                <a:lnTo>
                  <a:pt x="2806331" y="4872"/>
                </a:lnTo>
                <a:lnTo>
                  <a:pt x="2855026" y="567"/>
                </a:lnTo>
                <a:lnTo>
                  <a:pt x="2904319" y="0"/>
                </a:lnTo>
                <a:lnTo>
                  <a:pt x="2953819" y="3267"/>
                </a:lnTo>
                <a:lnTo>
                  <a:pt x="3003137" y="10466"/>
                </a:lnTo>
                <a:lnTo>
                  <a:pt x="3051881" y="21694"/>
                </a:lnTo>
                <a:lnTo>
                  <a:pt x="3099661" y="37049"/>
                </a:lnTo>
                <a:lnTo>
                  <a:pt x="3147054" y="57129"/>
                </a:lnTo>
                <a:lnTo>
                  <a:pt x="3190863" y="81007"/>
                </a:lnTo>
                <a:lnTo>
                  <a:pt x="3230695" y="108433"/>
                </a:lnTo>
                <a:lnTo>
                  <a:pt x="3266158" y="139157"/>
                </a:lnTo>
                <a:lnTo>
                  <a:pt x="3301098" y="111464"/>
                </a:lnTo>
                <a:lnTo>
                  <a:pt x="3338744" y="86804"/>
                </a:lnTo>
                <a:lnTo>
                  <a:pt x="3378782" y="65195"/>
                </a:lnTo>
                <a:lnTo>
                  <a:pt x="3420897" y="46657"/>
                </a:lnTo>
                <a:lnTo>
                  <a:pt x="3464778" y="31207"/>
                </a:lnTo>
                <a:lnTo>
                  <a:pt x="3510109" y="18864"/>
                </a:lnTo>
                <a:lnTo>
                  <a:pt x="3556577" y="9648"/>
                </a:lnTo>
                <a:lnTo>
                  <a:pt x="3603870" y="3577"/>
                </a:lnTo>
                <a:lnTo>
                  <a:pt x="3651672" y="670"/>
                </a:lnTo>
                <a:lnTo>
                  <a:pt x="3699671" y="946"/>
                </a:lnTo>
                <a:lnTo>
                  <a:pt x="3747553" y="4422"/>
                </a:lnTo>
                <a:lnTo>
                  <a:pt x="3795004" y="11119"/>
                </a:lnTo>
                <a:lnTo>
                  <a:pt x="3841711" y="21055"/>
                </a:lnTo>
                <a:lnTo>
                  <a:pt x="3887360" y="34249"/>
                </a:lnTo>
                <a:lnTo>
                  <a:pt x="3931637" y="50719"/>
                </a:lnTo>
                <a:lnTo>
                  <a:pt x="3974229" y="70485"/>
                </a:lnTo>
                <a:lnTo>
                  <a:pt x="4014823" y="93564"/>
                </a:lnTo>
                <a:lnTo>
                  <a:pt x="4059265" y="124826"/>
                </a:lnTo>
                <a:lnTo>
                  <a:pt x="4098285" y="159430"/>
                </a:lnTo>
                <a:lnTo>
                  <a:pt x="4131583" y="196990"/>
                </a:lnTo>
                <a:lnTo>
                  <a:pt x="4158860" y="237121"/>
                </a:lnTo>
                <a:lnTo>
                  <a:pt x="4179814" y="279440"/>
                </a:lnTo>
                <a:lnTo>
                  <a:pt x="4194147" y="323561"/>
                </a:lnTo>
                <a:lnTo>
                  <a:pt x="4247637" y="336416"/>
                </a:lnTo>
                <a:lnTo>
                  <a:pt x="4298312" y="352689"/>
                </a:lnTo>
                <a:lnTo>
                  <a:pt x="4345998" y="372156"/>
                </a:lnTo>
                <a:lnTo>
                  <a:pt x="4390525" y="394596"/>
                </a:lnTo>
                <a:lnTo>
                  <a:pt x="4431720" y="419784"/>
                </a:lnTo>
                <a:lnTo>
                  <a:pt x="4469413" y="447497"/>
                </a:lnTo>
                <a:lnTo>
                  <a:pt x="4503430" y="477513"/>
                </a:lnTo>
                <a:lnTo>
                  <a:pt x="4533601" y="509607"/>
                </a:lnTo>
                <a:lnTo>
                  <a:pt x="4559754" y="543557"/>
                </a:lnTo>
                <a:lnTo>
                  <a:pt x="4581718" y="579140"/>
                </a:lnTo>
                <a:lnTo>
                  <a:pt x="4599319" y="616132"/>
                </a:lnTo>
                <a:lnTo>
                  <a:pt x="4612388" y="654310"/>
                </a:lnTo>
                <a:lnTo>
                  <a:pt x="4620751" y="693451"/>
                </a:lnTo>
                <a:lnTo>
                  <a:pt x="4624238" y="733333"/>
                </a:lnTo>
                <a:lnTo>
                  <a:pt x="4622676" y="773730"/>
                </a:lnTo>
                <a:lnTo>
                  <a:pt x="4615895" y="814421"/>
                </a:lnTo>
                <a:lnTo>
                  <a:pt x="4603722" y="855183"/>
                </a:lnTo>
                <a:lnTo>
                  <a:pt x="4584612" y="898099"/>
                </a:lnTo>
                <a:lnTo>
                  <a:pt x="4576925" y="912079"/>
                </a:lnTo>
                <a:lnTo>
                  <a:pt x="4610433" y="947104"/>
                </a:lnTo>
                <a:lnTo>
                  <a:pt x="4639748" y="983377"/>
                </a:lnTo>
                <a:lnTo>
                  <a:pt x="4664902" y="1020726"/>
                </a:lnTo>
                <a:lnTo>
                  <a:pt x="4685923" y="1058980"/>
                </a:lnTo>
                <a:lnTo>
                  <a:pt x="4702844" y="1097968"/>
                </a:lnTo>
                <a:lnTo>
                  <a:pt x="4715694" y="1137519"/>
                </a:lnTo>
                <a:lnTo>
                  <a:pt x="4724503" y="1177462"/>
                </a:lnTo>
                <a:lnTo>
                  <a:pt x="4729303" y="1217625"/>
                </a:lnTo>
                <a:lnTo>
                  <a:pt x="4730123" y="1257838"/>
                </a:lnTo>
                <a:lnTo>
                  <a:pt x="4726995" y="1297929"/>
                </a:lnTo>
                <a:lnTo>
                  <a:pt x="4719947" y="1337727"/>
                </a:lnTo>
                <a:lnTo>
                  <a:pt x="4709012" y="1377062"/>
                </a:lnTo>
                <a:lnTo>
                  <a:pt x="4694219" y="1415761"/>
                </a:lnTo>
                <a:lnTo>
                  <a:pt x="4675599" y="1453654"/>
                </a:lnTo>
                <a:lnTo>
                  <a:pt x="4653182" y="1490569"/>
                </a:lnTo>
                <a:lnTo>
                  <a:pt x="4626999" y="1526336"/>
                </a:lnTo>
                <a:lnTo>
                  <a:pt x="4597080" y="1560784"/>
                </a:lnTo>
                <a:lnTo>
                  <a:pt x="4563455" y="1593740"/>
                </a:lnTo>
                <a:lnTo>
                  <a:pt x="4526156" y="1625035"/>
                </a:lnTo>
                <a:lnTo>
                  <a:pt x="4485212" y="1654496"/>
                </a:lnTo>
                <a:lnTo>
                  <a:pt x="4440654" y="1681953"/>
                </a:lnTo>
                <a:lnTo>
                  <a:pt x="4396290" y="1705355"/>
                </a:lnTo>
                <a:lnTo>
                  <a:pt x="4349875" y="1726206"/>
                </a:lnTo>
                <a:lnTo>
                  <a:pt x="4301614" y="1744445"/>
                </a:lnTo>
                <a:lnTo>
                  <a:pt x="4251712" y="1760009"/>
                </a:lnTo>
                <a:lnTo>
                  <a:pt x="4200372" y="1772836"/>
                </a:lnTo>
                <a:lnTo>
                  <a:pt x="4147799" y="1782863"/>
                </a:lnTo>
                <a:lnTo>
                  <a:pt x="4094198" y="1790030"/>
                </a:lnTo>
                <a:lnTo>
                  <a:pt x="4091439" y="1830433"/>
                </a:lnTo>
                <a:lnTo>
                  <a:pt x="4084173" y="1869854"/>
                </a:lnTo>
                <a:lnTo>
                  <a:pt x="4072592" y="1908154"/>
                </a:lnTo>
                <a:lnTo>
                  <a:pt x="4056886" y="1945194"/>
                </a:lnTo>
                <a:lnTo>
                  <a:pt x="4037247" y="1980834"/>
                </a:lnTo>
                <a:lnTo>
                  <a:pt x="4013866" y="2014934"/>
                </a:lnTo>
                <a:lnTo>
                  <a:pt x="3986935" y="2047356"/>
                </a:lnTo>
                <a:lnTo>
                  <a:pt x="3956646" y="2077959"/>
                </a:lnTo>
                <a:lnTo>
                  <a:pt x="3923189" y="2106605"/>
                </a:lnTo>
                <a:lnTo>
                  <a:pt x="3886757" y="2133154"/>
                </a:lnTo>
                <a:lnTo>
                  <a:pt x="3847539" y="2157467"/>
                </a:lnTo>
                <a:lnTo>
                  <a:pt x="3805729" y="2179403"/>
                </a:lnTo>
                <a:lnTo>
                  <a:pt x="3761517" y="2198824"/>
                </a:lnTo>
                <a:lnTo>
                  <a:pt x="3715095" y="2215591"/>
                </a:lnTo>
                <a:lnTo>
                  <a:pt x="3666654" y="2229563"/>
                </a:lnTo>
                <a:lnTo>
                  <a:pt x="3616386" y="2240602"/>
                </a:lnTo>
                <a:lnTo>
                  <a:pt x="3564482" y="2248568"/>
                </a:lnTo>
                <a:lnTo>
                  <a:pt x="3511133" y="2253321"/>
                </a:lnTo>
                <a:lnTo>
                  <a:pt x="3456531" y="2254723"/>
                </a:lnTo>
                <a:lnTo>
                  <a:pt x="3406703" y="2252949"/>
                </a:lnTo>
                <a:lnTo>
                  <a:pt x="3357406" y="2248310"/>
                </a:lnTo>
                <a:lnTo>
                  <a:pt x="3308861" y="2240847"/>
                </a:lnTo>
                <a:lnTo>
                  <a:pt x="3261285" y="2230603"/>
                </a:lnTo>
                <a:lnTo>
                  <a:pt x="3214901" y="2217619"/>
                </a:lnTo>
                <a:lnTo>
                  <a:pt x="3169928" y="2201938"/>
                </a:lnTo>
                <a:lnTo>
                  <a:pt x="3126585" y="2183603"/>
                </a:lnTo>
                <a:lnTo>
                  <a:pt x="3109522" y="2220712"/>
                </a:lnTo>
                <a:lnTo>
                  <a:pt x="3089281" y="2256329"/>
                </a:lnTo>
                <a:lnTo>
                  <a:pt x="3066019" y="2290392"/>
                </a:lnTo>
                <a:lnTo>
                  <a:pt x="3039890" y="2322839"/>
                </a:lnTo>
                <a:lnTo>
                  <a:pt x="3011051" y="2353608"/>
                </a:lnTo>
                <a:lnTo>
                  <a:pt x="2979656" y="2382636"/>
                </a:lnTo>
                <a:lnTo>
                  <a:pt x="2945863" y="2409863"/>
                </a:lnTo>
                <a:lnTo>
                  <a:pt x="2909825" y="2435225"/>
                </a:lnTo>
                <a:lnTo>
                  <a:pt x="2871699" y="2458662"/>
                </a:lnTo>
                <a:lnTo>
                  <a:pt x="2831641" y="2480111"/>
                </a:lnTo>
                <a:lnTo>
                  <a:pt x="2789805" y="2499510"/>
                </a:lnTo>
                <a:lnTo>
                  <a:pt x="2746349" y="2516797"/>
                </a:lnTo>
                <a:lnTo>
                  <a:pt x="2701427" y="2531911"/>
                </a:lnTo>
                <a:lnTo>
                  <a:pt x="2655195" y="2544789"/>
                </a:lnTo>
                <a:lnTo>
                  <a:pt x="2607808" y="2555370"/>
                </a:lnTo>
                <a:lnTo>
                  <a:pt x="2559423" y="2563591"/>
                </a:lnTo>
                <a:lnTo>
                  <a:pt x="2510195" y="2569390"/>
                </a:lnTo>
                <a:lnTo>
                  <a:pt x="2460279" y="2572707"/>
                </a:lnTo>
                <a:lnTo>
                  <a:pt x="2409831" y="2573478"/>
                </a:lnTo>
                <a:lnTo>
                  <a:pt x="2359007" y="2571642"/>
                </a:lnTo>
                <a:lnTo>
                  <a:pt x="2307963" y="2567137"/>
                </a:lnTo>
                <a:lnTo>
                  <a:pt x="2256853" y="2559900"/>
                </a:lnTo>
                <a:lnTo>
                  <a:pt x="2205835" y="2549871"/>
                </a:lnTo>
                <a:lnTo>
                  <a:pt x="2152166" y="2536093"/>
                </a:lnTo>
                <a:lnTo>
                  <a:pt x="2100343" y="2519387"/>
                </a:lnTo>
                <a:lnTo>
                  <a:pt x="2050566" y="2499861"/>
                </a:lnTo>
                <a:lnTo>
                  <a:pt x="2003033" y="2477626"/>
                </a:lnTo>
                <a:lnTo>
                  <a:pt x="1957946" y="2452792"/>
                </a:lnTo>
                <a:lnTo>
                  <a:pt x="1915503" y="2425467"/>
                </a:lnTo>
                <a:lnTo>
                  <a:pt x="1875905" y="2395763"/>
                </a:lnTo>
                <a:lnTo>
                  <a:pt x="1839350" y="2363788"/>
                </a:lnTo>
                <a:lnTo>
                  <a:pt x="1806039" y="2329653"/>
                </a:lnTo>
                <a:lnTo>
                  <a:pt x="1761162" y="2348366"/>
                </a:lnTo>
                <a:lnTo>
                  <a:pt x="1715426" y="2364841"/>
                </a:lnTo>
                <a:lnTo>
                  <a:pt x="1668954" y="2379101"/>
                </a:lnTo>
                <a:lnTo>
                  <a:pt x="1621865" y="2391166"/>
                </a:lnTo>
                <a:lnTo>
                  <a:pt x="1574281" y="2401061"/>
                </a:lnTo>
                <a:lnTo>
                  <a:pt x="1526324" y="2408808"/>
                </a:lnTo>
                <a:lnTo>
                  <a:pt x="1478114" y="2414428"/>
                </a:lnTo>
                <a:lnTo>
                  <a:pt x="1429773" y="2417945"/>
                </a:lnTo>
                <a:lnTo>
                  <a:pt x="1381421" y="2419381"/>
                </a:lnTo>
                <a:lnTo>
                  <a:pt x="1333180" y="2418758"/>
                </a:lnTo>
                <a:lnTo>
                  <a:pt x="1285172" y="2416100"/>
                </a:lnTo>
                <a:lnTo>
                  <a:pt x="1237516" y="2411428"/>
                </a:lnTo>
                <a:lnTo>
                  <a:pt x="1190334" y="2404765"/>
                </a:lnTo>
                <a:lnTo>
                  <a:pt x="1143748" y="2396133"/>
                </a:lnTo>
                <a:lnTo>
                  <a:pt x="1097878" y="2385556"/>
                </a:lnTo>
                <a:lnTo>
                  <a:pt x="1052846" y="2373054"/>
                </a:lnTo>
                <a:lnTo>
                  <a:pt x="1008772" y="2358652"/>
                </a:lnTo>
                <a:lnTo>
                  <a:pt x="965779" y="2342372"/>
                </a:lnTo>
                <a:lnTo>
                  <a:pt x="923986" y="2324235"/>
                </a:lnTo>
                <a:lnTo>
                  <a:pt x="883515" y="2304265"/>
                </a:lnTo>
                <a:lnTo>
                  <a:pt x="844488" y="2282483"/>
                </a:lnTo>
                <a:lnTo>
                  <a:pt x="807026" y="2258914"/>
                </a:lnTo>
                <a:lnTo>
                  <a:pt x="771248" y="2233578"/>
                </a:lnTo>
                <a:lnTo>
                  <a:pt x="737278" y="2206498"/>
                </a:lnTo>
                <a:lnTo>
                  <a:pt x="705235" y="2177697"/>
                </a:lnTo>
                <a:lnTo>
                  <a:pt x="675241" y="2147198"/>
                </a:lnTo>
                <a:lnTo>
                  <a:pt x="647418" y="2115023"/>
                </a:lnTo>
                <a:lnTo>
                  <a:pt x="638528" y="2103593"/>
                </a:lnTo>
                <a:lnTo>
                  <a:pt x="582911" y="2106038"/>
                </a:lnTo>
                <a:lnTo>
                  <a:pt x="528450" y="2103785"/>
                </a:lnTo>
                <a:lnTo>
                  <a:pt x="475539" y="2097067"/>
                </a:lnTo>
                <a:lnTo>
                  <a:pt x="424577" y="2086114"/>
                </a:lnTo>
                <a:lnTo>
                  <a:pt x="375959" y="2071160"/>
                </a:lnTo>
                <a:lnTo>
                  <a:pt x="330081" y="2052434"/>
                </a:lnTo>
                <a:lnTo>
                  <a:pt x="287341" y="2030171"/>
                </a:lnTo>
                <a:lnTo>
                  <a:pt x="248135" y="2004601"/>
                </a:lnTo>
                <a:lnTo>
                  <a:pt x="212859" y="1975956"/>
                </a:lnTo>
                <a:lnTo>
                  <a:pt x="181911" y="1944469"/>
                </a:lnTo>
                <a:lnTo>
                  <a:pt x="155686" y="1910371"/>
                </a:lnTo>
                <a:lnTo>
                  <a:pt x="134581" y="1873893"/>
                </a:lnTo>
                <a:lnTo>
                  <a:pt x="118993" y="1835269"/>
                </a:lnTo>
                <a:lnTo>
                  <a:pt x="109319" y="1794729"/>
                </a:lnTo>
                <a:lnTo>
                  <a:pt x="106079" y="1750660"/>
                </a:lnTo>
                <a:lnTo>
                  <a:pt x="110257" y="1707054"/>
                </a:lnTo>
                <a:lnTo>
                  <a:pt x="121635" y="1664394"/>
                </a:lnTo>
                <a:lnTo>
                  <a:pt x="139996" y="1623157"/>
                </a:lnTo>
                <a:lnTo>
                  <a:pt x="165121" y="1583824"/>
                </a:lnTo>
                <a:lnTo>
                  <a:pt x="196793" y="1546874"/>
                </a:lnTo>
                <a:lnTo>
                  <a:pt x="234795" y="1512789"/>
                </a:lnTo>
                <a:lnTo>
                  <a:pt x="188594" y="1489871"/>
                </a:lnTo>
                <a:lnTo>
                  <a:pt x="147125" y="1463704"/>
                </a:lnTo>
                <a:lnTo>
                  <a:pt x="110513" y="1434651"/>
                </a:lnTo>
                <a:lnTo>
                  <a:pt x="78887" y="1403076"/>
                </a:lnTo>
                <a:lnTo>
                  <a:pt x="52374" y="1369340"/>
                </a:lnTo>
                <a:lnTo>
                  <a:pt x="31101" y="1333808"/>
                </a:lnTo>
                <a:lnTo>
                  <a:pt x="15196" y="1296841"/>
                </a:lnTo>
                <a:lnTo>
                  <a:pt x="4786" y="1258804"/>
                </a:lnTo>
                <a:lnTo>
                  <a:pt x="0" y="1220058"/>
                </a:lnTo>
                <a:lnTo>
                  <a:pt x="963" y="1180967"/>
                </a:lnTo>
                <a:lnTo>
                  <a:pt x="7804" y="1141894"/>
                </a:lnTo>
                <a:lnTo>
                  <a:pt x="20651" y="1103202"/>
                </a:lnTo>
                <a:lnTo>
                  <a:pt x="39630" y="1065253"/>
                </a:lnTo>
                <a:lnTo>
                  <a:pt x="64869" y="1028411"/>
                </a:lnTo>
                <a:lnTo>
                  <a:pt x="96203" y="993511"/>
                </a:lnTo>
                <a:lnTo>
                  <a:pt x="132451" y="961928"/>
                </a:lnTo>
                <a:lnTo>
                  <a:pt x="173130" y="933897"/>
                </a:lnTo>
                <a:lnTo>
                  <a:pt x="217761" y="909650"/>
                </a:lnTo>
                <a:lnTo>
                  <a:pt x="265862" y="889422"/>
                </a:lnTo>
                <a:lnTo>
                  <a:pt x="316954" y="873445"/>
                </a:lnTo>
                <a:lnTo>
                  <a:pt x="370555" y="861954"/>
                </a:lnTo>
                <a:lnTo>
                  <a:pt x="426184" y="855183"/>
                </a:lnTo>
                <a:lnTo>
                  <a:pt x="430121" y="847182"/>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6344411" y="3821684"/>
            <a:ext cx="277495" cy="48895"/>
          </a:xfrm>
          <a:custGeom>
            <a:avLst/>
            <a:gdLst/>
            <a:ahLst/>
            <a:cxnLst/>
            <a:rect l="l" t="t" r="r" b="b"/>
            <a:pathLst>
              <a:path w="277495" h="48895">
                <a:moveTo>
                  <a:pt x="276987" y="47498"/>
                </a:moveTo>
                <a:lnTo>
                  <a:pt x="228723" y="48459"/>
                </a:lnTo>
                <a:lnTo>
                  <a:pt x="180819" y="45795"/>
                </a:lnTo>
                <a:lnTo>
                  <a:pt x="133635" y="39560"/>
                </a:lnTo>
                <a:lnTo>
                  <a:pt x="87531" y="29812"/>
                </a:lnTo>
                <a:lnTo>
                  <a:pt x="42866" y="16606"/>
                </a:lnTo>
                <a:lnTo>
                  <a:pt x="0"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6744589" y="4388611"/>
            <a:ext cx="121285" cy="22860"/>
          </a:xfrm>
          <a:custGeom>
            <a:avLst/>
            <a:gdLst/>
            <a:ahLst/>
            <a:cxnLst/>
            <a:rect l="l" t="t" r="r" b="b"/>
            <a:pathLst>
              <a:path w="121284" h="22860">
                <a:moveTo>
                  <a:pt x="121284" y="0"/>
                </a:moveTo>
                <a:lnTo>
                  <a:pt x="91797" y="7856"/>
                </a:lnTo>
                <a:lnTo>
                  <a:pt x="61690" y="14271"/>
                </a:lnTo>
                <a:lnTo>
                  <a:pt x="31059" y="19234"/>
                </a:lnTo>
                <a:lnTo>
                  <a:pt x="0" y="22732"/>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7837169" y="4534534"/>
            <a:ext cx="73025" cy="104139"/>
          </a:xfrm>
          <a:custGeom>
            <a:avLst/>
            <a:gdLst/>
            <a:ahLst/>
            <a:cxnLst/>
            <a:rect l="l" t="t" r="r" b="b"/>
            <a:pathLst>
              <a:path w="73025" h="104139">
                <a:moveTo>
                  <a:pt x="73025" y="103631"/>
                </a:moveTo>
                <a:lnTo>
                  <a:pt x="52006" y="78831"/>
                </a:lnTo>
                <a:lnTo>
                  <a:pt x="32797" y="53244"/>
                </a:lnTo>
                <a:lnTo>
                  <a:pt x="15446" y="26943"/>
                </a:lnTo>
                <a:lnTo>
                  <a:pt x="0"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9231630" y="4379721"/>
            <a:ext cx="29209" cy="114300"/>
          </a:xfrm>
          <a:custGeom>
            <a:avLst/>
            <a:gdLst/>
            <a:ahLst/>
            <a:cxnLst/>
            <a:rect l="l" t="t" r="r" b="b"/>
            <a:pathLst>
              <a:path w="29209" h="114300">
                <a:moveTo>
                  <a:pt x="29083" y="0"/>
                </a:moveTo>
                <a:lnTo>
                  <a:pt x="24824" y="28852"/>
                </a:lnTo>
                <a:lnTo>
                  <a:pt x="18542" y="57467"/>
                </a:lnTo>
                <a:lnTo>
                  <a:pt x="10259" y="85796"/>
                </a:lnTo>
                <a:lnTo>
                  <a:pt x="0" y="113791"/>
                </a:lnTo>
              </a:path>
            </a:pathLst>
          </a:custGeom>
          <a:ln w="24383">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9840594" y="3677284"/>
            <a:ext cx="355600" cy="425450"/>
          </a:xfrm>
          <a:custGeom>
            <a:avLst/>
            <a:gdLst/>
            <a:ahLst/>
            <a:cxnLst/>
            <a:rect l="l" t="t" r="r" b="b"/>
            <a:pathLst>
              <a:path w="355600" h="425450">
                <a:moveTo>
                  <a:pt x="0" y="0"/>
                </a:moveTo>
                <a:lnTo>
                  <a:pt x="53080" y="21506"/>
                </a:lnTo>
                <a:lnTo>
                  <a:pt x="102584" y="46364"/>
                </a:lnTo>
                <a:lnTo>
                  <a:pt x="148306" y="74326"/>
                </a:lnTo>
                <a:lnTo>
                  <a:pt x="190039" y="105146"/>
                </a:lnTo>
                <a:lnTo>
                  <a:pt x="227577" y="138576"/>
                </a:lnTo>
                <a:lnTo>
                  <a:pt x="260715" y="174371"/>
                </a:lnTo>
                <a:lnTo>
                  <a:pt x="289246" y="212281"/>
                </a:lnTo>
                <a:lnTo>
                  <a:pt x="312965" y="252062"/>
                </a:lnTo>
                <a:lnTo>
                  <a:pt x="331666" y="293465"/>
                </a:lnTo>
                <a:lnTo>
                  <a:pt x="345143" y="336244"/>
                </a:lnTo>
                <a:lnTo>
                  <a:pt x="353189" y="380152"/>
                </a:lnTo>
                <a:lnTo>
                  <a:pt x="355600" y="424941"/>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10520933" y="3224657"/>
            <a:ext cx="158750" cy="159385"/>
          </a:xfrm>
          <a:custGeom>
            <a:avLst/>
            <a:gdLst/>
            <a:ahLst/>
            <a:cxnLst/>
            <a:rect l="l" t="t" r="r" b="b"/>
            <a:pathLst>
              <a:path w="158750" h="159385">
                <a:moveTo>
                  <a:pt x="158369" y="0"/>
                </a:moveTo>
                <a:lnTo>
                  <a:pt x="134827" y="36022"/>
                </a:lnTo>
                <a:lnTo>
                  <a:pt x="107012" y="70185"/>
                </a:lnTo>
                <a:lnTo>
                  <a:pt x="75131" y="102275"/>
                </a:lnTo>
                <a:lnTo>
                  <a:pt x="39391" y="132079"/>
                </a:lnTo>
                <a:lnTo>
                  <a:pt x="0" y="159384"/>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10299318" y="2633472"/>
            <a:ext cx="8890" cy="75565"/>
          </a:xfrm>
          <a:custGeom>
            <a:avLst/>
            <a:gdLst/>
            <a:ahLst/>
            <a:cxnLst/>
            <a:rect l="l" t="t" r="r" b="b"/>
            <a:pathLst>
              <a:path w="8890" h="75564">
                <a:moveTo>
                  <a:pt x="0" y="0"/>
                </a:moveTo>
                <a:lnTo>
                  <a:pt x="3952" y="18714"/>
                </a:lnTo>
                <a:lnTo>
                  <a:pt x="6667" y="37512"/>
                </a:lnTo>
                <a:lnTo>
                  <a:pt x="8143" y="56382"/>
                </a:lnTo>
                <a:lnTo>
                  <a:pt x="8381" y="75311"/>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9288144" y="2449702"/>
            <a:ext cx="81280" cy="96520"/>
          </a:xfrm>
          <a:custGeom>
            <a:avLst/>
            <a:gdLst/>
            <a:ahLst/>
            <a:cxnLst/>
            <a:rect l="l" t="t" r="r" b="b"/>
            <a:pathLst>
              <a:path w="81279" h="96519">
                <a:moveTo>
                  <a:pt x="0" y="96012"/>
                </a:moveTo>
                <a:lnTo>
                  <a:pt x="16752" y="70455"/>
                </a:lnTo>
                <a:lnTo>
                  <a:pt x="35909" y="45862"/>
                </a:lnTo>
                <a:lnTo>
                  <a:pt x="57400" y="22342"/>
                </a:lnTo>
                <a:lnTo>
                  <a:pt x="81152" y="0"/>
                </a:lnTo>
              </a:path>
            </a:pathLst>
          </a:custGeom>
          <a:ln w="24383">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8529573" y="2508630"/>
            <a:ext cx="39370" cy="83185"/>
          </a:xfrm>
          <a:custGeom>
            <a:avLst/>
            <a:gdLst/>
            <a:ahLst/>
            <a:cxnLst/>
            <a:rect l="l" t="t" r="r" b="b"/>
            <a:pathLst>
              <a:path w="39370" h="83185">
                <a:moveTo>
                  <a:pt x="0" y="82804"/>
                </a:moveTo>
                <a:lnTo>
                  <a:pt x="7185" y="61454"/>
                </a:lnTo>
                <a:lnTo>
                  <a:pt x="16144" y="40497"/>
                </a:lnTo>
                <a:lnTo>
                  <a:pt x="26842" y="19992"/>
                </a:lnTo>
                <a:lnTo>
                  <a:pt x="39243"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7639304" y="2619501"/>
            <a:ext cx="142240" cy="80645"/>
          </a:xfrm>
          <a:custGeom>
            <a:avLst/>
            <a:gdLst/>
            <a:ahLst/>
            <a:cxnLst/>
            <a:rect l="l" t="t" r="r" b="b"/>
            <a:pathLst>
              <a:path w="142240" h="80644">
                <a:moveTo>
                  <a:pt x="0" y="0"/>
                </a:moveTo>
                <a:lnTo>
                  <a:pt x="37939" y="17686"/>
                </a:lnTo>
                <a:lnTo>
                  <a:pt x="74342" y="37004"/>
                </a:lnTo>
                <a:lnTo>
                  <a:pt x="109102" y="57917"/>
                </a:lnTo>
                <a:lnTo>
                  <a:pt x="142113" y="8039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6534657" y="3166110"/>
            <a:ext cx="25400" cy="84455"/>
          </a:xfrm>
          <a:custGeom>
            <a:avLst/>
            <a:gdLst/>
            <a:ahLst/>
            <a:cxnLst/>
            <a:rect l="l" t="t" r="r" b="b"/>
            <a:pathLst>
              <a:path w="25400" h="84455">
                <a:moveTo>
                  <a:pt x="24892" y="84454"/>
                </a:moveTo>
                <a:lnTo>
                  <a:pt x="16984" y="63650"/>
                </a:lnTo>
                <a:lnTo>
                  <a:pt x="10207" y="42608"/>
                </a:lnTo>
                <a:lnTo>
                  <a:pt x="4550" y="21375"/>
                </a:lnTo>
                <a:lnTo>
                  <a:pt x="0" y="0"/>
                </a:lnTo>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8092440" y="1965960"/>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36A3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8092440" y="1965960"/>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txBox="1"/>
          <p:nvPr/>
        </p:nvSpPr>
        <p:spPr>
          <a:xfrm>
            <a:off x="8302752" y="2164079"/>
            <a:ext cx="463550" cy="268605"/>
          </a:xfrm>
          <a:prstGeom prst="rect">
            <a:avLst/>
          </a:prstGeom>
          <a:solidFill>
            <a:srgbClr val="E0E0E0"/>
          </a:solidFill>
          <a:ln w="24384">
            <a:solidFill>
              <a:srgbClr val="003B55"/>
            </a:solidFill>
          </a:ln>
        </p:spPr>
        <p:txBody>
          <a:bodyPr vert="horz" wrap="square" lIns="0" tIns="59055" rIns="0" bIns="0" rtlCol="0">
            <a:spAutoFit/>
          </a:bodyPr>
          <a:lstStyle/>
          <a:p>
            <a:pPr marL="78740" marR="0" lvl="0" indent="0" algn="l" defTabSz="914400" rtl="0" eaLnBrk="1" fontAlgn="auto" latinLnBrk="0" hangingPunct="1">
              <a:lnSpc>
                <a:spcPct val="100000"/>
              </a:lnSpc>
              <a:spcBef>
                <a:spcPts val="465"/>
              </a:spcBef>
              <a:spcAft>
                <a:spcPts val="0"/>
              </a:spcAft>
              <a:buClrTx/>
              <a:buSzTx/>
              <a:buFontTx/>
              <a:buNone/>
              <a:tabLst/>
              <a:defRPr/>
            </a:pPr>
            <a:r>
              <a:rPr kumimoji="0" sz="850" b="0" i="0" u="none" strike="noStrike" kern="1200" cap="none" spc="15" normalizeH="0" baseline="0" noProof="0" dirty="0">
                <a:ln>
                  <a:noFill/>
                </a:ln>
                <a:solidFill>
                  <a:srgbClr val="282828"/>
                </a:solidFill>
                <a:effectLst/>
                <a:uLnTx/>
                <a:uFillTx/>
                <a:latin typeface="Lucida Sans Unicode"/>
                <a:ea typeface="+mn-ea"/>
                <a:cs typeface="Lucida Sans Unicode"/>
              </a:rPr>
              <a:t>DB-1</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18" name="object 18"/>
          <p:cNvSpPr/>
          <p:nvPr/>
        </p:nvSpPr>
        <p:spPr>
          <a:xfrm>
            <a:off x="9125711" y="2090927"/>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36A3D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9125711" y="2090927"/>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txBox="1"/>
          <p:nvPr/>
        </p:nvSpPr>
        <p:spPr>
          <a:xfrm>
            <a:off x="9336023" y="2286000"/>
            <a:ext cx="463550" cy="271780"/>
          </a:xfrm>
          <a:prstGeom prst="rect">
            <a:avLst/>
          </a:prstGeom>
          <a:solidFill>
            <a:srgbClr val="E0E0E0"/>
          </a:solidFill>
          <a:ln w="24384">
            <a:solidFill>
              <a:srgbClr val="003B55"/>
            </a:solidFill>
          </a:ln>
        </p:spPr>
        <p:txBody>
          <a:bodyPr vert="horz" wrap="square" lIns="0" tIns="61594" rIns="0" bIns="0" rtlCol="0">
            <a:spAutoFit/>
          </a:bodyPr>
          <a:lstStyle/>
          <a:p>
            <a:pPr marL="79375" marR="0" lvl="0" indent="0" algn="l" defTabSz="914400" rtl="0" eaLnBrk="1" fontAlgn="auto" latinLnBrk="0" hangingPunct="1">
              <a:lnSpc>
                <a:spcPct val="100000"/>
              </a:lnSpc>
              <a:spcBef>
                <a:spcPts val="484"/>
              </a:spcBef>
              <a:spcAft>
                <a:spcPts val="0"/>
              </a:spcAft>
              <a:buClrTx/>
              <a:buSzTx/>
              <a:buFontTx/>
              <a:buNone/>
              <a:tabLst/>
              <a:defRPr/>
            </a:pPr>
            <a:r>
              <a:rPr kumimoji="0" sz="850" b="0" i="0" u="none" strike="noStrike" kern="1200" cap="none" spc="15" normalizeH="0" baseline="0" noProof="0" dirty="0">
                <a:ln>
                  <a:noFill/>
                </a:ln>
                <a:solidFill>
                  <a:srgbClr val="282828"/>
                </a:solidFill>
                <a:effectLst/>
                <a:uLnTx/>
                <a:uFillTx/>
                <a:latin typeface="Lucida Sans Unicode"/>
                <a:ea typeface="+mn-ea"/>
                <a:cs typeface="Lucida Sans Unicode"/>
              </a:rPr>
              <a:t>DB-2</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21" name="object 21"/>
          <p:cNvSpPr/>
          <p:nvPr/>
        </p:nvSpPr>
        <p:spPr>
          <a:xfrm>
            <a:off x="10158983" y="2621279"/>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00AF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10158983" y="2621279"/>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txBox="1"/>
          <p:nvPr/>
        </p:nvSpPr>
        <p:spPr>
          <a:xfrm>
            <a:off x="10369295" y="2816351"/>
            <a:ext cx="463550" cy="271780"/>
          </a:xfrm>
          <a:prstGeom prst="rect">
            <a:avLst/>
          </a:prstGeom>
          <a:solidFill>
            <a:srgbClr val="E0E0E0"/>
          </a:solidFill>
          <a:ln w="24384">
            <a:solidFill>
              <a:srgbClr val="003B55"/>
            </a:solidFill>
          </a:ln>
        </p:spPr>
        <p:txBody>
          <a:bodyPr vert="horz" wrap="square" lIns="0" tIns="60960" rIns="0" bIns="0" rtlCol="0">
            <a:spAutoFit/>
          </a:bodyPr>
          <a:lstStyle/>
          <a:p>
            <a:pPr marL="31115" marR="0" lvl="0" indent="0" algn="l" defTabSz="914400" rtl="0" eaLnBrk="1" fontAlgn="auto" latinLnBrk="0" hangingPunct="1">
              <a:lnSpc>
                <a:spcPct val="100000"/>
              </a:lnSpc>
              <a:spcBef>
                <a:spcPts val="480"/>
              </a:spcBef>
              <a:spcAft>
                <a:spcPts val="0"/>
              </a:spcAft>
              <a:buClrTx/>
              <a:buSzTx/>
              <a:buFontTx/>
              <a:buNone/>
              <a:tabLst/>
              <a:defRPr/>
            </a:pPr>
            <a:r>
              <a:rPr kumimoji="0" sz="850" b="0" i="0" u="none" strike="noStrike" kern="1200" cap="none" spc="50" normalizeH="0" baseline="0" noProof="0" dirty="0">
                <a:ln>
                  <a:noFill/>
                </a:ln>
                <a:solidFill>
                  <a:srgbClr val="282828"/>
                </a:solidFill>
                <a:effectLst/>
                <a:uLnTx/>
                <a:uFillTx/>
                <a:latin typeface="Lucida Sans Unicode"/>
                <a:ea typeface="+mn-ea"/>
                <a:cs typeface="Lucida Sans Unicode"/>
              </a:rPr>
              <a:t>WEB-1</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24" name="object 24"/>
          <p:cNvSpPr/>
          <p:nvPr/>
        </p:nvSpPr>
        <p:spPr>
          <a:xfrm>
            <a:off x="10497311" y="3450335"/>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solidFill>
            <a:srgbClr val="00AF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10497311" y="3450335"/>
            <a:ext cx="883919" cy="685800"/>
          </a:xfrm>
          <a:custGeom>
            <a:avLst/>
            <a:gdLst/>
            <a:ahLst/>
            <a:cxnLst/>
            <a:rect l="l" t="t" r="r" b="b"/>
            <a:pathLst>
              <a:path w="883920" h="685800">
                <a:moveTo>
                  <a:pt x="0" y="685800"/>
                </a:moveTo>
                <a:lnTo>
                  <a:pt x="883920" y="685800"/>
                </a:lnTo>
                <a:lnTo>
                  <a:pt x="883920"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txBox="1"/>
          <p:nvPr/>
        </p:nvSpPr>
        <p:spPr>
          <a:xfrm>
            <a:off x="10707623" y="3648455"/>
            <a:ext cx="463550" cy="268605"/>
          </a:xfrm>
          <a:prstGeom prst="rect">
            <a:avLst/>
          </a:prstGeom>
          <a:solidFill>
            <a:srgbClr val="E0E0E0"/>
          </a:solidFill>
          <a:ln w="24384">
            <a:solidFill>
              <a:srgbClr val="003B55"/>
            </a:solidFill>
          </a:ln>
        </p:spPr>
        <p:txBody>
          <a:bodyPr vert="horz" wrap="square" lIns="0" tIns="60325" rIns="0" bIns="0" rtlCol="0">
            <a:spAutoFit/>
          </a:bodyPr>
          <a:lstStyle/>
          <a:p>
            <a:pPr marL="29845" marR="0" lvl="0" indent="0" algn="l" defTabSz="914400" rtl="0" eaLnBrk="1" fontAlgn="auto" latinLnBrk="0" hangingPunct="1">
              <a:lnSpc>
                <a:spcPct val="100000"/>
              </a:lnSpc>
              <a:spcBef>
                <a:spcPts val="475"/>
              </a:spcBef>
              <a:spcAft>
                <a:spcPts val="0"/>
              </a:spcAft>
              <a:buClrTx/>
              <a:buSzTx/>
              <a:buFontTx/>
              <a:buNone/>
              <a:tabLst/>
              <a:defRPr/>
            </a:pPr>
            <a:r>
              <a:rPr kumimoji="0" sz="850" b="0" i="0" u="none" strike="noStrike" kern="1200" cap="none" spc="50" normalizeH="0" baseline="0" noProof="0" dirty="0">
                <a:ln>
                  <a:noFill/>
                </a:ln>
                <a:solidFill>
                  <a:srgbClr val="282828"/>
                </a:solidFill>
                <a:effectLst/>
                <a:uLnTx/>
                <a:uFillTx/>
                <a:latin typeface="Lucida Sans Unicode"/>
                <a:ea typeface="+mn-ea"/>
                <a:cs typeface="Lucida Sans Unicode"/>
              </a:rPr>
              <a:t>WEB-2</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27" name="object 27"/>
          <p:cNvSpPr/>
          <p:nvPr/>
        </p:nvSpPr>
        <p:spPr>
          <a:xfrm>
            <a:off x="9503664" y="3950208"/>
            <a:ext cx="887094" cy="685800"/>
          </a:xfrm>
          <a:custGeom>
            <a:avLst/>
            <a:gdLst/>
            <a:ahLst/>
            <a:cxnLst/>
            <a:rect l="l" t="t" r="r" b="b"/>
            <a:pathLst>
              <a:path w="887095" h="685800">
                <a:moveTo>
                  <a:pt x="0" y="685800"/>
                </a:moveTo>
                <a:lnTo>
                  <a:pt x="886968" y="685800"/>
                </a:lnTo>
                <a:lnTo>
                  <a:pt x="886968" y="0"/>
                </a:lnTo>
                <a:lnTo>
                  <a:pt x="0" y="0"/>
                </a:lnTo>
                <a:lnTo>
                  <a:pt x="0" y="68580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8"/>
          <p:cNvSpPr/>
          <p:nvPr/>
        </p:nvSpPr>
        <p:spPr>
          <a:xfrm>
            <a:off x="9503664" y="3950208"/>
            <a:ext cx="887094" cy="685800"/>
          </a:xfrm>
          <a:custGeom>
            <a:avLst/>
            <a:gdLst/>
            <a:ahLst/>
            <a:cxnLst/>
            <a:rect l="l" t="t" r="r" b="b"/>
            <a:pathLst>
              <a:path w="887095" h="685800">
                <a:moveTo>
                  <a:pt x="0" y="685800"/>
                </a:moveTo>
                <a:lnTo>
                  <a:pt x="886968" y="685800"/>
                </a:lnTo>
                <a:lnTo>
                  <a:pt x="886968" y="0"/>
                </a:lnTo>
                <a:lnTo>
                  <a:pt x="0" y="0"/>
                </a:lnTo>
                <a:lnTo>
                  <a:pt x="0" y="685800"/>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p:nvPr/>
        </p:nvSpPr>
        <p:spPr>
          <a:xfrm>
            <a:off x="9717023" y="4145279"/>
            <a:ext cx="460375" cy="271780"/>
          </a:xfrm>
          <a:custGeom>
            <a:avLst/>
            <a:gdLst/>
            <a:ahLst/>
            <a:cxnLst/>
            <a:rect l="l" t="t" r="r" b="b"/>
            <a:pathLst>
              <a:path w="460375" h="271779">
                <a:moveTo>
                  <a:pt x="0" y="271272"/>
                </a:moveTo>
                <a:lnTo>
                  <a:pt x="460248" y="271272"/>
                </a:lnTo>
                <a:lnTo>
                  <a:pt x="460248" y="0"/>
                </a:lnTo>
                <a:lnTo>
                  <a:pt x="0" y="0"/>
                </a:lnTo>
                <a:lnTo>
                  <a:pt x="0" y="271272"/>
                </a:lnTo>
                <a:close/>
              </a:path>
            </a:pathLst>
          </a:custGeom>
          <a:solidFill>
            <a:srgbClr val="E0E0E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p:nvPr/>
        </p:nvSpPr>
        <p:spPr>
          <a:xfrm>
            <a:off x="9717023" y="4145279"/>
            <a:ext cx="460375" cy="271780"/>
          </a:xfrm>
          <a:custGeom>
            <a:avLst/>
            <a:gdLst/>
            <a:ahLst/>
            <a:cxnLst/>
            <a:rect l="l" t="t" r="r" b="b"/>
            <a:pathLst>
              <a:path w="460375" h="271779">
                <a:moveTo>
                  <a:pt x="0" y="271272"/>
                </a:moveTo>
                <a:lnTo>
                  <a:pt x="460248" y="271272"/>
                </a:lnTo>
                <a:lnTo>
                  <a:pt x="460248" y="0"/>
                </a:lnTo>
                <a:lnTo>
                  <a:pt x="0" y="0"/>
                </a:lnTo>
                <a:lnTo>
                  <a:pt x="0" y="271272"/>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txBox="1"/>
          <p:nvPr/>
        </p:nvSpPr>
        <p:spPr>
          <a:xfrm>
            <a:off x="9717023" y="4202048"/>
            <a:ext cx="448309" cy="161290"/>
          </a:xfrm>
          <a:prstGeom prst="rect">
            <a:avLst/>
          </a:prstGeom>
        </p:spPr>
        <p:txBody>
          <a:bodyPr vert="horz" wrap="square" lIns="0" tIns="17145" rIns="0" bIns="0" rtlCol="0">
            <a:spAutoFit/>
          </a:bodyPr>
          <a:lstStyle/>
          <a:p>
            <a:pPr marL="53340" marR="0" lvl="0" indent="0" algn="l" defTabSz="914400" rtl="0" eaLnBrk="1" fontAlgn="auto" latinLnBrk="0" hangingPunct="1">
              <a:lnSpc>
                <a:spcPct val="100000"/>
              </a:lnSpc>
              <a:spcBef>
                <a:spcPts val="135"/>
              </a:spcBef>
              <a:spcAft>
                <a:spcPts val="0"/>
              </a:spcAft>
              <a:buClrTx/>
              <a:buSzTx/>
              <a:buFontTx/>
              <a:buNone/>
              <a:tabLst/>
              <a:defRPr/>
            </a:pPr>
            <a:r>
              <a:rPr kumimoji="0" sz="850" b="0" i="0" u="none" strike="noStrike" kern="1200" cap="none" spc="35" normalizeH="0" baseline="0" noProof="0" dirty="0">
                <a:ln>
                  <a:noFill/>
                </a:ln>
                <a:solidFill>
                  <a:srgbClr val="282828"/>
                </a:solidFill>
                <a:effectLst/>
                <a:uLnTx/>
                <a:uFillTx/>
                <a:latin typeface="Lucida Sans Unicode"/>
                <a:ea typeface="+mn-ea"/>
                <a:cs typeface="Lucida Sans Unicode"/>
              </a:rPr>
              <a:t>APP-2</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32" name="object 32"/>
          <p:cNvSpPr/>
          <p:nvPr/>
        </p:nvSpPr>
        <p:spPr>
          <a:xfrm>
            <a:off x="8470392" y="4279391"/>
            <a:ext cx="887094" cy="685800"/>
          </a:xfrm>
          <a:custGeom>
            <a:avLst/>
            <a:gdLst/>
            <a:ahLst/>
            <a:cxnLst/>
            <a:rect l="l" t="t" r="r" b="b"/>
            <a:pathLst>
              <a:path w="887095" h="685800">
                <a:moveTo>
                  <a:pt x="0" y="685799"/>
                </a:moveTo>
                <a:lnTo>
                  <a:pt x="886968" y="685799"/>
                </a:lnTo>
                <a:lnTo>
                  <a:pt x="886968" y="0"/>
                </a:lnTo>
                <a:lnTo>
                  <a:pt x="0" y="0"/>
                </a:lnTo>
                <a:lnTo>
                  <a:pt x="0" y="685799"/>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8470392" y="4279391"/>
            <a:ext cx="887094" cy="685800"/>
          </a:xfrm>
          <a:custGeom>
            <a:avLst/>
            <a:gdLst/>
            <a:ahLst/>
            <a:cxnLst/>
            <a:rect l="l" t="t" r="r" b="b"/>
            <a:pathLst>
              <a:path w="887095" h="685800">
                <a:moveTo>
                  <a:pt x="0" y="685799"/>
                </a:moveTo>
                <a:lnTo>
                  <a:pt x="886968" y="685799"/>
                </a:lnTo>
                <a:lnTo>
                  <a:pt x="886968" y="0"/>
                </a:lnTo>
                <a:lnTo>
                  <a:pt x="0" y="0"/>
                </a:lnTo>
                <a:lnTo>
                  <a:pt x="0" y="685799"/>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4"/>
          <p:cNvSpPr/>
          <p:nvPr/>
        </p:nvSpPr>
        <p:spPr>
          <a:xfrm>
            <a:off x="8683752" y="4477511"/>
            <a:ext cx="460375" cy="268605"/>
          </a:xfrm>
          <a:custGeom>
            <a:avLst/>
            <a:gdLst/>
            <a:ahLst/>
            <a:cxnLst/>
            <a:rect l="l" t="t" r="r" b="b"/>
            <a:pathLst>
              <a:path w="460375" h="268604">
                <a:moveTo>
                  <a:pt x="0" y="268224"/>
                </a:moveTo>
                <a:lnTo>
                  <a:pt x="460248" y="268224"/>
                </a:lnTo>
                <a:lnTo>
                  <a:pt x="460248" y="0"/>
                </a:lnTo>
                <a:lnTo>
                  <a:pt x="0" y="0"/>
                </a:lnTo>
                <a:lnTo>
                  <a:pt x="0" y="268224"/>
                </a:lnTo>
                <a:close/>
              </a:path>
            </a:pathLst>
          </a:custGeom>
          <a:solidFill>
            <a:srgbClr val="E0E0E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8683752" y="4477511"/>
            <a:ext cx="460375" cy="268605"/>
          </a:xfrm>
          <a:custGeom>
            <a:avLst/>
            <a:gdLst/>
            <a:ahLst/>
            <a:cxnLst/>
            <a:rect l="l" t="t" r="r" b="b"/>
            <a:pathLst>
              <a:path w="460375" h="268604">
                <a:moveTo>
                  <a:pt x="0" y="268224"/>
                </a:moveTo>
                <a:lnTo>
                  <a:pt x="460248" y="268224"/>
                </a:lnTo>
                <a:lnTo>
                  <a:pt x="460248" y="0"/>
                </a:lnTo>
                <a:lnTo>
                  <a:pt x="0" y="0"/>
                </a:lnTo>
                <a:lnTo>
                  <a:pt x="0" y="268224"/>
                </a:lnTo>
                <a:close/>
              </a:path>
            </a:pathLst>
          </a:custGeom>
          <a:ln w="24384">
            <a:solidFill>
              <a:srgbClr val="003B5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txBox="1"/>
          <p:nvPr/>
        </p:nvSpPr>
        <p:spPr>
          <a:xfrm>
            <a:off x="8724138" y="4532757"/>
            <a:ext cx="379730" cy="161290"/>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850" b="0" i="0" u="none" strike="noStrike" kern="1200" cap="none" spc="5" normalizeH="0" baseline="0" noProof="0" dirty="0">
                <a:ln>
                  <a:noFill/>
                </a:ln>
                <a:solidFill>
                  <a:srgbClr val="282828"/>
                </a:solidFill>
                <a:effectLst/>
                <a:uLnTx/>
                <a:uFillTx/>
                <a:latin typeface="Lucida Sans Unicode"/>
                <a:ea typeface="+mn-ea"/>
                <a:cs typeface="Lucida Sans Unicode"/>
              </a:rPr>
              <a:t>A</a:t>
            </a:r>
            <a:r>
              <a:rPr kumimoji="0" sz="850" b="0" i="0" u="none" strike="noStrike" kern="1200" cap="none" spc="95" normalizeH="0" baseline="0" noProof="0" dirty="0">
                <a:ln>
                  <a:noFill/>
                </a:ln>
                <a:solidFill>
                  <a:srgbClr val="282828"/>
                </a:solidFill>
                <a:effectLst/>
                <a:uLnTx/>
                <a:uFillTx/>
                <a:latin typeface="Lucida Sans Unicode"/>
                <a:ea typeface="+mn-ea"/>
                <a:cs typeface="Lucida Sans Unicode"/>
              </a:rPr>
              <a:t>P</a:t>
            </a:r>
            <a:r>
              <a:rPr kumimoji="0" sz="850" b="0" i="0" u="none" strike="noStrike" kern="1200" cap="none" spc="100" normalizeH="0" baseline="0" noProof="0" dirty="0">
                <a:ln>
                  <a:noFill/>
                </a:ln>
                <a:solidFill>
                  <a:srgbClr val="282828"/>
                </a:solidFill>
                <a:effectLst/>
                <a:uLnTx/>
                <a:uFillTx/>
                <a:latin typeface="Lucida Sans Unicode"/>
                <a:ea typeface="+mn-ea"/>
                <a:cs typeface="Lucida Sans Unicode"/>
              </a:rPr>
              <a:t>P</a:t>
            </a:r>
            <a:r>
              <a:rPr kumimoji="0" sz="850" b="0" i="0" u="none" strike="noStrike" kern="1200" cap="none" spc="0" normalizeH="0" baseline="0" noProof="0" dirty="0">
                <a:ln>
                  <a:noFill/>
                </a:ln>
                <a:solidFill>
                  <a:srgbClr val="282828"/>
                </a:solidFill>
                <a:effectLst/>
                <a:uLnTx/>
                <a:uFillTx/>
                <a:latin typeface="Lucida Sans Unicode"/>
                <a:ea typeface="+mn-ea"/>
                <a:cs typeface="Lucida Sans Unicode"/>
              </a:rPr>
              <a:t>-</a:t>
            </a:r>
            <a:r>
              <a:rPr kumimoji="0" sz="850" b="0" i="0" u="none" strike="noStrike" kern="1200" cap="none" spc="-5" normalizeH="0" baseline="0" noProof="0" dirty="0">
                <a:ln>
                  <a:noFill/>
                </a:ln>
                <a:solidFill>
                  <a:srgbClr val="282828"/>
                </a:solidFill>
                <a:effectLst/>
                <a:uLnTx/>
                <a:uFillTx/>
                <a:latin typeface="Lucida Sans Unicode"/>
                <a:ea typeface="+mn-ea"/>
                <a:cs typeface="Lucida Sans Unicode"/>
              </a:rPr>
              <a:t>1</a:t>
            </a:r>
            <a:endParaRPr kumimoji="0" sz="850" b="0" i="0" u="none" strike="noStrike" kern="1200" cap="none" spc="0" normalizeH="0" baseline="0" noProof="0">
              <a:ln>
                <a:noFill/>
              </a:ln>
              <a:solidFill>
                <a:prstClr val="black"/>
              </a:solidFill>
              <a:effectLst/>
              <a:uLnTx/>
              <a:uFillTx/>
              <a:latin typeface="Lucida Sans Unicode"/>
              <a:ea typeface="+mn-ea"/>
              <a:cs typeface="Lucida Sans Unicode"/>
            </a:endParaRPr>
          </a:p>
        </p:txBody>
      </p:sp>
      <p:sp>
        <p:nvSpPr>
          <p:cNvPr id="37" name="object 37"/>
          <p:cNvSpPr txBox="1"/>
          <p:nvPr/>
        </p:nvSpPr>
        <p:spPr>
          <a:xfrm>
            <a:off x="2840227" y="5847384"/>
            <a:ext cx="2779395" cy="351155"/>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2100" b="0" i="0" u="none" strike="noStrike" kern="1200" cap="none" spc="5" normalizeH="0" baseline="0" noProof="0" dirty="0">
                <a:ln>
                  <a:noFill/>
                </a:ln>
                <a:solidFill>
                  <a:srgbClr val="003B55"/>
                </a:solidFill>
                <a:effectLst/>
                <a:uLnTx/>
                <a:uFillTx/>
                <a:latin typeface="Arial"/>
                <a:ea typeface="+mn-ea"/>
                <a:cs typeface="Arial"/>
              </a:rPr>
              <a:t>Ansible Control</a:t>
            </a:r>
            <a:r>
              <a:rPr kumimoji="0" sz="2100" b="0" i="0" u="none" strike="noStrike" kern="1200" cap="none" spc="-40" normalizeH="0" baseline="0" noProof="0" dirty="0">
                <a:ln>
                  <a:noFill/>
                </a:ln>
                <a:solidFill>
                  <a:srgbClr val="003B55"/>
                </a:solidFill>
                <a:effectLst/>
                <a:uLnTx/>
                <a:uFillTx/>
                <a:latin typeface="Arial"/>
                <a:ea typeface="+mn-ea"/>
                <a:cs typeface="Arial"/>
              </a:rPr>
              <a:t> </a:t>
            </a:r>
            <a:r>
              <a:rPr kumimoji="0" sz="2100" b="0" i="0" u="none" strike="noStrike" kern="1200" cap="none" spc="5" normalizeH="0" baseline="0" noProof="0" dirty="0">
                <a:ln>
                  <a:noFill/>
                </a:ln>
                <a:solidFill>
                  <a:srgbClr val="003B55"/>
                </a:solidFill>
                <a:effectLst/>
                <a:uLnTx/>
                <a:uFillTx/>
                <a:latin typeface="Arial"/>
                <a:ea typeface="+mn-ea"/>
                <a:cs typeface="Arial"/>
              </a:rPr>
              <a:t>Station</a:t>
            </a:r>
            <a:endParaRPr kumimoji="0" sz="2100" b="0" i="0" u="none" strike="noStrike" kern="1200" cap="none" spc="0" normalizeH="0" baseline="0" noProof="0">
              <a:ln>
                <a:noFill/>
              </a:ln>
              <a:solidFill>
                <a:prstClr val="black"/>
              </a:solidFill>
              <a:effectLst/>
              <a:uLnTx/>
              <a:uFillTx/>
              <a:latin typeface="Arial"/>
              <a:ea typeface="+mn-ea"/>
              <a:cs typeface="Arial"/>
            </a:endParaRPr>
          </a:p>
        </p:txBody>
      </p:sp>
      <p:sp>
        <p:nvSpPr>
          <p:cNvPr id="38" name="object 38"/>
          <p:cNvSpPr/>
          <p:nvPr/>
        </p:nvSpPr>
        <p:spPr>
          <a:xfrm>
            <a:off x="3313176" y="1347216"/>
            <a:ext cx="487679" cy="490727"/>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p:nvPr/>
        </p:nvSpPr>
        <p:spPr>
          <a:xfrm>
            <a:off x="3313176" y="1837944"/>
            <a:ext cx="774191" cy="890015"/>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0"/>
          <p:cNvSpPr/>
          <p:nvPr/>
        </p:nvSpPr>
        <p:spPr>
          <a:xfrm>
            <a:off x="4008501" y="2726308"/>
            <a:ext cx="685800" cy="1190625"/>
          </a:xfrm>
          <a:custGeom>
            <a:avLst/>
            <a:gdLst/>
            <a:ahLst/>
            <a:cxnLst/>
            <a:rect l="l" t="t" r="r" b="b"/>
            <a:pathLst>
              <a:path w="685800" h="1190625">
                <a:moveTo>
                  <a:pt x="11429" y="0"/>
                </a:moveTo>
                <a:lnTo>
                  <a:pt x="0" y="21589"/>
                </a:lnTo>
                <a:lnTo>
                  <a:pt x="64515" y="55879"/>
                </a:lnTo>
                <a:lnTo>
                  <a:pt x="76073" y="34416"/>
                </a:lnTo>
                <a:lnTo>
                  <a:pt x="11429" y="0"/>
                </a:lnTo>
                <a:close/>
              </a:path>
              <a:path w="685800" h="1190625">
                <a:moveTo>
                  <a:pt x="97662" y="46227"/>
                </a:moveTo>
                <a:lnTo>
                  <a:pt x="85725" y="67437"/>
                </a:lnTo>
                <a:lnTo>
                  <a:pt x="142748" y="99060"/>
                </a:lnTo>
                <a:lnTo>
                  <a:pt x="149351" y="102996"/>
                </a:lnTo>
                <a:lnTo>
                  <a:pt x="161798" y="81914"/>
                </a:lnTo>
                <a:lnTo>
                  <a:pt x="154559" y="77724"/>
                </a:lnTo>
                <a:lnTo>
                  <a:pt x="97662" y="46227"/>
                </a:lnTo>
                <a:close/>
              </a:path>
              <a:path w="685800" h="1190625">
                <a:moveTo>
                  <a:pt x="182752" y="94361"/>
                </a:moveTo>
                <a:lnTo>
                  <a:pt x="170434" y="115315"/>
                </a:lnTo>
                <a:lnTo>
                  <a:pt x="177419" y="119379"/>
                </a:lnTo>
                <a:lnTo>
                  <a:pt x="211327" y="140462"/>
                </a:lnTo>
                <a:lnTo>
                  <a:pt x="231901" y="153924"/>
                </a:lnTo>
                <a:lnTo>
                  <a:pt x="245237" y="133476"/>
                </a:lnTo>
                <a:lnTo>
                  <a:pt x="224154" y="119633"/>
                </a:lnTo>
                <a:lnTo>
                  <a:pt x="189737" y="98425"/>
                </a:lnTo>
                <a:lnTo>
                  <a:pt x="182752" y="94361"/>
                </a:lnTo>
                <a:close/>
              </a:path>
              <a:path w="685800" h="1190625">
                <a:moveTo>
                  <a:pt x="265811" y="147319"/>
                </a:moveTo>
                <a:lnTo>
                  <a:pt x="251840" y="167258"/>
                </a:lnTo>
                <a:lnTo>
                  <a:pt x="276860" y="184912"/>
                </a:lnTo>
                <a:lnTo>
                  <a:pt x="308228" y="208661"/>
                </a:lnTo>
                <a:lnTo>
                  <a:pt x="309879" y="210057"/>
                </a:lnTo>
                <a:lnTo>
                  <a:pt x="325374" y="191388"/>
                </a:lnTo>
                <a:lnTo>
                  <a:pt x="322961" y="189356"/>
                </a:lnTo>
                <a:lnTo>
                  <a:pt x="290829" y="164973"/>
                </a:lnTo>
                <a:lnTo>
                  <a:pt x="265811" y="147319"/>
                </a:lnTo>
                <a:close/>
              </a:path>
              <a:path w="685800" h="1190625">
                <a:moveTo>
                  <a:pt x="344170" y="206882"/>
                </a:moveTo>
                <a:lnTo>
                  <a:pt x="328549" y="225678"/>
                </a:lnTo>
                <a:lnTo>
                  <a:pt x="338200" y="233679"/>
                </a:lnTo>
                <a:lnTo>
                  <a:pt x="367157" y="260095"/>
                </a:lnTo>
                <a:lnTo>
                  <a:pt x="381508" y="274446"/>
                </a:lnTo>
                <a:lnTo>
                  <a:pt x="398779" y="257301"/>
                </a:lnTo>
                <a:lnTo>
                  <a:pt x="383539" y="241935"/>
                </a:lnTo>
                <a:lnTo>
                  <a:pt x="353822" y="215011"/>
                </a:lnTo>
                <a:lnTo>
                  <a:pt x="344170" y="206882"/>
                </a:lnTo>
                <a:close/>
              </a:path>
              <a:path w="685800" h="1190625">
                <a:moveTo>
                  <a:pt x="416178" y="275336"/>
                </a:moveTo>
                <a:lnTo>
                  <a:pt x="397890" y="291591"/>
                </a:lnTo>
                <a:lnTo>
                  <a:pt x="420877" y="317373"/>
                </a:lnTo>
                <a:lnTo>
                  <a:pt x="444246" y="347090"/>
                </a:lnTo>
                <a:lnTo>
                  <a:pt x="463423" y="332104"/>
                </a:lnTo>
                <a:lnTo>
                  <a:pt x="439038" y="301116"/>
                </a:lnTo>
                <a:lnTo>
                  <a:pt x="416178" y="275336"/>
                </a:lnTo>
                <a:close/>
              </a:path>
              <a:path w="685800" h="1190625">
                <a:moveTo>
                  <a:pt x="477900" y="352678"/>
                </a:moveTo>
                <a:lnTo>
                  <a:pt x="457835" y="366521"/>
                </a:lnTo>
                <a:lnTo>
                  <a:pt x="468122" y="381507"/>
                </a:lnTo>
                <a:lnTo>
                  <a:pt x="489076" y="416687"/>
                </a:lnTo>
                <a:lnTo>
                  <a:pt x="494919" y="427736"/>
                </a:lnTo>
                <a:lnTo>
                  <a:pt x="516509" y="416432"/>
                </a:lnTo>
                <a:lnTo>
                  <a:pt x="510032" y="404113"/>
                </a:lnTo>
                <a:lnTo>
                  <a:pt x="488188" y="367664"/>
                </a:lnTo>
                <a:lnTo>
                  <a:pt x="477900" y="352678"/>
                </a:lnTo>
                <a:close/>
              </a:path>
              <a:path w="685800" h="1190625">
                <a:moveTo>
                  <a:pt x="527303" y="439038"/>
                </a:moveTo>
                <a:lnTo>
                  <a:pt x="505206" y="449199"/>
                </a:lnTo>
                <a:lnTo>
                  <a:pt x="507873" y="455167"/>
                </a:lnTo>
                <a:lnTo>
                  <a:pt x="516763" y="476630"/>
                </a:lnTo>
                <a:lnTo>
                  <a:pt x="525272" y="499237"/>
                </a:lnTo>
                <a:lnTo>
                  <a:pt x="530860" y="516254"/>
                </a:lnTo>
                <a:lnTo>
                  <a:pt x="553974" y="508507"/>
                </a:lnTo>
                <a:lnTo>
                  <a:pt x="548004" y="490854"/>
                </a:lnTo>
                <a:lnTo>
                  <a:pt x="539369" y="467360"/>
                </a:lnTo>
                <a:lnTo>
                  <a:pt x="530098" y="445007"/>
                </a:lnTo>
                <a:lnTo>
                  <a:pt x="527303" y="439038"/>
                </a:lnTo>
                <a:close/>
              </a:path>
              <a:path w="685800" h="1190625">
                <a:moveTo>
                  <a:pt x="561339" y="532002"/>
                </a:moveTo>
                <a:lnTo>
                  <a:pt x="538099" y="539241"/>
                </a:lnTo>
                <a:lnTo>
                  <a:pt x="540638" y="547751"/>
                </a:lnTo>
                <a:lnTo>
                  <a:pt x="547877" y="573404"/>
                </a:lnTo>
                <a:lnTo>
                  <a:pt x="554609" y="599948"/>
                </a:lnTo>
                <a:lnTo>
                  <a:pt x="556768" y="609091"/>
                </a:lnTo>
                <a:lnTo>
                  <a:pt x="580516" y="603503"/>
                </a:lnTo>
                <a:lnTo>
                  <a:pt x="578231" y="593851"/>
                </a:lnTo>
                <a:lnTo>
                  <a:pt x="571373" y="566927"/>
                </a:lnTo>
                <a:lnTo>
                  <a:pt x="564007" y="540638"/>
                </a:lnTo>
                <a:lnTo>
                  <a:pt x="561339" y="532002"/>
                </a:lnTo>
                <a:close/>
              </a:path>
              <a:path w="685800" h="1190625">
                <a:moveTo>
                  <a:pt x="586104" y="627379"/>
                </a:moveTo>
                <a:lnTo>
                  <a:pt x="562228" y="632587"/>
                </a:lnTo>
                <a:lnTo>
                  <a:pt x="567182" y="654812"/>
                </a:lnTo>
                <a:lnTo>
                  <a:pt x="576961" y="703961"/>
                </a:lnTo>
                <a:lnTo>
                  <a:pt x="600837" y="699262"/>
                </a:lnTo>
                <a:lnTo>
                  <a:pt x="591058" y="649604"/>
                </a:lnTo>
                <a:lnTo>
                  <a:pt x="586104" y="627379"/>
                </a:lnTo>
                <a:close/>
              </a:path>
              <a:path w="685800" h="1190625">
                <a:moveTo>
                  <a:pt x="605154" y="723645"/>
                </a:moveTo>
                <a:lnTo>
                  <a:pt x="581151" y="727710"/>
                </a:lnTo>
                <a:lnTo>
                  <a:pt x="588390" y="769365"/>
                </a:lnTo>
                <a:lnTo>
                  <a:pt x="593089" y="799718"/>
                </a:lnTo>
                <a:lnTo>
                  <a:pt x="617220" y="795908"/>
                </a:lnTo>
                <a:lnTo>
                  <a:pt x="612394" y="765175"/>
                </a:lnTo>
                <a:lnTo>
                  <a:pt x="605154" y="723645"/>
                </a:lnTo>
                <a:close/>
              </a:path>
              <a:path w="685800" h="1190625">
                <a:moveTo>
                  <a:pt x="620902" y="820038"/>
                </a:moveTo>
                <a:lnTo>
                  <a:pt x="596773" y="823849"/>
                </a:lnTo>
                <a:lnTo>
                  <a:pt x="597408" y="827277"/>
                </a:lnTo>
                <a:lnTo>
                  <a:pt x="607060" y="895984"/>
                </a:lnTo>
                <a:lnTo>
                  <a:pt x="631189" y="892682"/>
                </a:lnTo>
                <a:lnTo>
                  <a:pt x="629538" y="880871"/>
                </a:lnTo>
                <a:lnTo>
                  <a:pt x="621411" y="823467"/>
                </a:lnTo>
                <a:lnTo>
                  <a:pt x="620902" y="820038"/>
                </a:lnTo>
                <a:close/>
              </a:path>
              <a:path w="685800" h="1190625">
                <a:moveTo>
                  <a:pt x="634364" y="916939"/>
                </a:moveTo>
                <a:lnTo>
                  <a:pt x="610235" y="920114"/>
                </a:lnTo>
                <a:lnTo>
                  <a:pt x="619506" y="992632"/>
                </a:lnTo>
                <a:lnTo>
                  <a:pt x="643636" y="989583"/>
                </a:lnTo>
                <a:lnTo>
                  <a:pt x="640334" y="963802"/>
                </a:lnTo>
                <a:lnTo>
                  <a:pt x="636904" y="936751"/>
                </a:lnTo>
                <a:lnTo>
                  <a:pt x="634364" y="916939"/>
                </a:lnTo>
                <a:close/>
              </a:path>
              <a:path w="685800" h="1190625">
                <a:moveTo>
                  <a:pt x="646684" y="1013840"/>
                </a:moveTo>
                <a:lnTo>
                  <a:pt x="622426" y="1016761"/>
                </a:lnTo>
                <a:lnTo>
                  <a:pt x="622681" y="1018413"/>
                </a:lnTo>
                <a:lnTo>
                  <a:pt x="625728" y="1042796"/>
                </a:lnTo>
                <a:lnTo>
                  <a:pt x="628776" y="1066291"/>
                </a:lnTo>
                <a:lnTo>
                  <a:pt x="631698" y="1089533"/>
                </a:lnTo>
                <a:lnTo>
                  <a:pt x="655827" y="1086103"/>
                </a:lnTo>
                <a:lnTo>
                  <a:pt x="655827" y="1085468"/>
                </a:lnTo>
                <a:lnTo>
                  <a:pt x="649859" y="1039748"/>
                </a:lnTo>
                <a:lnTo>
                  <a:pt x="646811" y="1015364"/>
                </a:lnTo>
                <a:lnTo>
                  <a:pt x="646684" y="1013840"/>
                </a:lnTo>
                <a:close/>
              </a:path>
              <a:path w="685800" h="1190625">
                <a:moveTo>
                  <a:pt x="635838" y="1117496"/>
                </a:moveTo>
                <a:lnTo>
                  <a:pt x="610235" y="1122045"/>
                </a:lnTo>
                <a:lnTo>
                  <a:pt x="661035" y="1190370"/>
                </a:lnTo>
                <a:lnTo>
                  <a:pt x="679029" y="1129791"/>
                </a:lnTo>
                <a:lnTo>
                  <a:pt x="637921" y="1129791"/>
                </a:lnTo>
                <a:lnTo>
                  <a:pt x="635838" y="1117496"/>
                </a:lnTo>
                <a:close/>
              </a:path>
              <a:path w="685800" h="1190625">
                <a:moveTo>
                  <a:pt x="659902" y="1113220"/>
                </a:moveTo>
                <a:lnTo>
                  <a:pt x="635838" y="1117496"/>
                </a:lnTo>
                <a:lnTo>
                  <a:pt x="637921" y="1129791"/>
                </a:lnTo>
                <a:lnTo>
                  <a:pt x="661924" y="1125854"/>
                </a:lnTo>
                <a:lnTo>
                  <a:pt x="659902" y="1113220"/>
                </a:lnTo>
                <a:close/>
              </a:path>
              <a:path w="685800" h="1190625">
                <a:moveTo>
                  <a:pt x="685291" y="1108709"/>
                </a:moveTo>
                <a:lnTo>
                  <a:pt x="659902" y="1113220"/>
                </a:lnTo>
                <a:lnTo>
                  <a:pt x="661924" y="1125854"/>
                </a:lnTo>
                <a:lnTo>
                  <a:pt x="637921" y="1129791"/>
                </a:lnTo>
                <a:lnTo>
                  <a:pt x="679029" y="1129791"/>
                </a:lnTo>
                <a:lnTo>
                  <a:pt x="685291" y="1108709"/>
                </a:lnTo>
                <a:close/>
              </a:path>
              <a:path w="685800" h="1190625">
                <a:moveTo>
                  <a:pt x="659384" y="1109979"/>
                </a:moveTo>
                <a:lnTo>
                  <a:pt x="635253" y="1114043"/>
                </a:lnTo>
                <a:lnTo>
                  <a:pt x="635838" y="1117496"/>
                </a:lnTo>
                <a:lnTo>
                  <a:pt x="659902" y="1113220"/>
                </a:lnTo>
                <a:lnTo>
                  <a:pt x="659384" y="1109979"/>
                </a:lnTo>
                <a:close/>
              </a:path>
            </a:pathLst>
          </a:custGeom>
          <a:solidFill>
            <a:srgbClr val="73737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txBox="1"/>
          <p:nvPr/>
        </p:nvSpPr>
        <p:spPr>
          <a:xfrm>
            <a:off x="646887" y="1694814"/>
            <a:ext cx="2487930" cy="1327150"/>
          </a:xfrm>
          <a:prstGeom prst="rect">
            <a:avLst/>
          </a:prstGeom>
        </p:spPr>
        <p:txBody>
          <a:bodyPr vert="horz" wrap="square" lIns="0" tIns="12065" rIns="0" bIns="0" rtlCol="0">
            <a:spAutoFit/>
          </a:bodyPr>
          <a:lstStyle/>
          <a:p>
            <a:pPr marL="12700" marR="8255" lvl="0" indent="39370" algn="r" defTabSz="914400" rtl="0" eaLnBrk="1" fontAlgn="auto" latinLnBrk="0" hangingPunct="1">
              <a:lnSpc>
                <a:spcPct val="101499"/>
              </a:lnSpc>
              <a:spcBef>
                <a:spcPts val="95"/>
              </a:spcBef>
              <a:spcAft>
                <a:spcPts val="0"/>
              </a:spcAft>
              <a:buClrTx/>
              <a:buSzTx/>
              <a:buFontTx/>
              <a:buNone/>
              <a:tabLst/>
              <a:defRPr/>
            </a:pPr>
            <a:r>
              <a:rPr kumimoji="0" sz="2100" b="0" i="0" u="none" strike="noStrike" kern="1200" cap="none" spc="55" normalizeH="0" baseline="0" noProof="0" dirty="0">
                <a:ln>
                  <a:noFill/>
                </a:ln>
                <a:solidFill>
                  <a:srgbClr val="003B55"/>
                </a:solidFill>
                <a:effectLst/>
                <a:uLnTx/>
                <a:uFillTx/>
                <a:latin typeface="Arial"/>
                <a:ea typeface="+mn-ea"/>
                <a:cs typeface="Arial"/>
              </a:rPr>
              <a:t>1.</a:t>
            </a:r>
            <a:r>
              <a:rPr kumimoji="0" sz="2100" b="0" i="0" u="none" strike="noStrike" kern="1200" cap="none" spc="25" normalizeH="0" baseline="0" noProof="0" dirty="0">
                <a:ln>
                  <a:noFill/>
                </a:ln>
                <a:solidFill>
                  <a:srgbClr val="003B55"/>
                </a:solidFill>
                <a:effectLst/>
                <a:uLnTx/>
                <a:uFillTx/>
                <a:latin typeface="Arial"/>
                <a:ea typeface="+mn-ea"/>
                <a:cs typeface="Arial"/>
              </a:rPr>
              <a:t> </a:t>
            </a:r>
            <a:r>
              <a:rPr kumimoji="0" sz="2100" b="0" i="0" u="none" strike="noStrike" kern="1200" cap="none" spc="0" normalizeH="0" baseline="0" noProof="0" dirty="0">
                <a:ln>
                  <a:noFill/>
                </a:ln>
                <a:solidFill>
                  <a:srgbClr val="003B55"/>
                </a:solidFill>
                <a:effectLst/>
                <a:uLnTx/>
                <a:uFillTx/>
                <a:latin typeface="Arial"/>
                <a:ea typeface="+mn-ea"/>
                <a:cs typeface="Arial"/>
              </a:rPr>
              <a:t>Engineers</a:t>
            </a:r>
            <a:r>
              <a:rPr kumimoji="0" sz="2100" b="0" i="0" u="none" strike="noStrike" kern="1200" cap="none" spc="-20" normalizeH="0" baseline="0" noProof="0" dirty="0">
                <a:ln>
                  <a:noFill/>
                </a:ln>
                <a:solidFill>
                  <a:srgbClr val="003B55"/>
                </a:solidFill>
                <a:effectLst/>
                <a:uLnTx/>
                <a:uFillTx/>
                <a:latin typeface="Arial"/>
                <a:ea typeface="+mn-ea"/>
                <a:cs typeface="Arial"/>
              </a:rPr>
              <a:t> </a:t>
            </a:r>
            <a:r>
              <a:rPr kumimoji="0" sz="2100" b="0" i="0" u="none" strike="noStrike" kern="1200" cap="none" spc="35" normalizeH="0" baseline="0" noProof="0" dirty="0">
                <a:ln>
                  <a:noFill/>
                </a:ln>
                <a:solidFill>
                  <a:srgbClr val="003B55"/>
                </a:solidFill>
                <a:effectLst/>
                <a:uLnTx/>
                <a:uFillTx/>
                <a:latin typeface="Arial"/>
                <a:ea typeface="+mn-ea"/>
                <a:cs typeface="Arial"/>
              </a:rPr>
              <a:t>deploy </a:t>
            </a:r>
            <a:r>
              <a:rPr kumimoji="0" sz="2100" b="0" i="0" u="none" strike="noStrike" kern="1200" cap="none" spc="10" normalizeH="0" baseline="0" noProof="0" dirty="0">
                <a:ln>
                  <a:noFill/>
                </a:ln>
                <a:solidFill>
                  <a:srgbClr val="003B55"/>
                </a:solidFill>
                <a:effectLst/>
                <a:uLnTx/>
                <a:uFillTx/>
                <a:latin typeface="Arial"/>
                <a:ea typeface="+mn-ea"/>
                <a:cs typeface="Arial"/>
              </a:rPr>
              <a:t> Ansible</a:t>
            </a:r>
            <a:r>
              <a:rPr kumimoji="0" sz="2100" b="0" i="0" u="none" strike="noStrike" kern="1200" cap="none" spc="-65" normalizeH="0" baseline="0" noProof="0" dirty="0">
                <a:ln>
                  <a:noFill/>
                </a:ln>
                <a:solidFill>
                  <a:srgbClr val="003B55"/>
                </a:solidFill>
                <a:effectLst/>
                <a:uLnTx/>
                <a:uFillTx/>
                <a:latin typeface="Arial"/>
                <a:ea typeface="+mn-ea"/>
                <a:cs typeface="Arial"/>
              </a:rPr>
              <a:t> </a:t>
            </a:r>
            <a:r>
              <a:rPr kumimoji="0" sz="2100" b="0" i="0" u="none" strike="noStrike" kern="1200" cap="none" spc="15" normalizeH="0" baseline="0" noProof="0" dirty="0">
                <a:ln>
                  <a:noFill/>
                </a:ln>
                <a:solidFill>
                  <a:srgbClr val="003B55"/>
                </a:solidFill>
                <a:effectLst/>
                <a:uLnTx/>
                <a:uFillTx/>
                <a:latin typeface="Arial"/>
                <a:ea typeface="+mn-ea"/>
                <a:cs typeface="Arial"/>
              </a:rPr>
              <a:t>playbooks </a:t>
            </a:r>
            <a:r>
              <a:rPr kumimoji="0" sz="2100" b="0" i="0" u="none" strike="noStrike" kern="1200" cap="none" spc="0" normalizeH="0" baseline="0" noProof="0" dirty="0">
                <a:ln>
                  <a:noFill/>
                </a:ln>
                <a:solidFill>
                  <a:srgbClr val="003B55"/>
                </a:solidFill>
                <a:effectLst/>
                <a:uLnTx/>
                <a:uFillTx/>
                <a:latin typeface="Arial"/>
                <a:ea typeface="+mn-ea"/>
                <a:cs typeface="Arial"/>
              </a:rPr>
              <a:t> </a:t>
            </a:r>
            <a:r>
              <a:rPr kumimoji="0" sz="2100" b="0" i="0" u="none" strike="noStrike" kern="1200" cap="none" spc="35" normalizeH="0" baseline="0" noProof="0" dirty="0">
                <a:ln>
                  <a:noFill/>
                </a:ln>
                <a:solidFill>
                  <a:srgbClr val="003B55"/>
                </a:solidFill>
                <a:effectLst/>
                <a:uLnTx/>
                <a:uFillTx/>
                <a:latin typeface="Arial"/>
                <a:ea typeface="+mn-ea"/>
                <a:cs typeface="Arial"/>
              </a:rPr>
              <a:t>written </a:t>
            </a:r>
            <a:r>
              <a:rPr kumimoji="0" sz="2100" b="0" i="0" u="none" strike="noStrike" kern="1200" cap="none" spc="-5" normalizeH="0" baseline="0" noProof="0" dirty="0">
                <a:ln>
                  <a:noFill/>
                </a:ln>
                <a:solidFill>
                  <a:srgbClr val="003B55"/>
                </a:solidFill>
                <a:effectLst/>
                <a:uLnTx/>
                <a:uFillTx/>
                <a:latin typeface="Arial"/>
                <a:ea typeface="+mn-ea"/>
                <a:cs typeface="Arial"/>
              </a:rPr>
              <a:t>in </a:t>
            </a:r>
            <a:r>
              <a:rPr kumimoji="0" sz="2100" b="0" i="0" u="none" strike="noStrike" kern="1200" cap="none" spc="-10" normalizeH="0" baseline="0" noProof="0" dirty="0">
                <a:ln>
                  <a:noFill/>
                </a:ln>
                <a:solidFill>
                  <a:srgbClr val="003B55"/>
                </a:solidFill>
                <a:effectLst/>
                <a:uLnTx/>
                <a:uFillTx/>
                <a:latin typeface="Arial"/>
                <a:ea typeface="+mn-ea"/>
                <a:cs typeface="Arial"/>
              </a:rPr>
              <a:t>YAML </a:t>
            </a:r>
            <a:r>
              <a:rPr kumimoji="0" sz="2100" b="0" i="0" u="none" strike="noStrike" kern="1200" cap="none" spc="50" normalizeH="0" baseline="0" noProof="0" dirty="0">
                <a:ln>
                  <a:noFill/>
                </a:ln>
                <a:solidFill>
                  <a:srgbClr val="003B55"/>
                </a:solidFill>
                <a:effectLst/>
                <a:uLnTx/>
                <a:uFillTx/>
                <a:latin typeface="Arial"/>
                <a:ea typeface="+mn-ea"/>
                <a:cs typeface="Arial"/>
              </a:rPr>
              <a:t>to</a:t>
            </a:r>
            <a:r>
              <a:rPr kumimoji="0" sz="2100" b="0" i="0" u="none" strike="noStrike" kern="1200" cap="none" spc="105" normalizeH="0" baseline="0" noProof="0" dirty="0">
                <a:ln>
                  <a:noFill/>
                </a:ln>
                <a:solidFill>
                  <a:srgbClr val="003B55"/>
                </a:solidFill>
                <a:effectLst/>
                <a:uLnTx/>
                <a:uFillTx/>
                <a:latin typeface="Arial"/>
                <a:ea typeface="+mn-ea"/>
                <a:cs typeface="Arial"/>
              </a:rPr>
              <a:t> </a:t>
            </a:r>
            <a:r>
              <a:rPr kumimoji="0" sz="2100" b="0" i="0" u="none" strike="noStrike" kern="1200" cap="none" spc="-40" normalizeH="0" baseline="0" noProof="0" dirty="0">
                <a:ln>
                  <a:noFill/>
                </a:ln>
                <a:solidFill>
                  <a:srgbClr val="003B55"/>
                </a:solidFill>
                <a:effectLst/>
                <a:uLnTx/>
                <a:uFillTx/>
                <a:latin typeface="Arial"/>
                <a:ea typeface="+mn-ea"/>
                <a:cs typeface="Arial"/>
              </a:rPr>
              <a:t>a</a:t>
            </a:r>
            <a:endParaRPr kumimoji="0" sz="210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45"/>
              </a:spcBef>
              <a:spcAft>
                <a:spcPts val="0"/>
              </a:spcAft>
              <a:buClrTx/>
              <a:buSzTx/>
              <a:buFontTx/>
              <a:buNone/>
              <a:tabLst/>
              <a:defRPr/>
            </a:pPr>
            <a:r>
              <a:rPr kumimoji="0" sz="2100" b="0" i="0" u="none" strike="noStrike" kern="1200" cap="none" spc="35" normalizeH="0" baseline="0" noProof="0" dirty="0">
                <a:ln>
                  <a:noFill/>
                </a:ln>
                <a:solidFill>
                  <a:srgbClr val="003B55"/>
                </a:solidFill>
                <a:effectLst/>
                <a:uLnTx/>
                <a:uFillTx/>
                <a:latin typeface="Arial"/>
                <a:ea typeface="+mn-ea"/>
                <a:cs typeface="Arial"/>
              </a:rPr>
              <a:t>control</a:t>
            </a:r>
            <a:r>
              <a:rPr kumimoji="0" sz="2100" b="0" i="0" u="none" strike="noStrike" kern="1200" cap="none" spc="-25" normalizeH="0" baseline="0" noProof="0" dirty="0">
                <a:ln>
                  <a:noFill/>
                </a:ln>
                <a:solidFill>
                  <a:srgbClr val="003B55"/>
                </a:solidFill>
                <a:effectLst/>
                <a:uLnTx/>
                <a:uFillTx/>
                <a:latin typeface="Arial"/>
                <a:ea typeface="+mn-ea"/>
                <a:cs typeface="Arial"/>
              </a:rPr>
              <a:t> </a:t>
            </a:r>
            <a:r>
              <a:rPr kumimoji="0" sz="2100" b="0" i="0" u="none" strike="noStrike" kern="1200" cap="none" spc="15" normalizeH="0" baseline="0" noProof="0" dirty="0">
                <a:ln>
                  <a:noFill/>
                </a:ln>
                <a:solidFill>
                  <a:srgbClr val="003B55"/>
                </a:solidFill>
                <a:effectLst/>
                <a:uLnTx/>
                <a:uFillTx/>
                <a:latin typeface="Arial"/>
                <a:ea typeface="+mn-ea"/>
                <a:cs typeface="Arial"/>
              </a:rPr>
              <a:t>station</a:t>
            </a:r>
            <a:endParaRPr kumimoji="0" sz="2100" b="0" i="0" u="none" strike="noStrike" kern="1200" cap="none" spc="0" normalizeH="0" baseline="0" noProof="0">
              <a:ln>
                <a:noFill/>
              </a:ln>
              <a:solidFill>
                <a:prstClr val="black"/>
              </a:solidFill>
              <a:effectLst/>
              <a:uLnTx/>
              <a:uFillTx/>
              <a:latin typeface="Arial"/>
              <a:ea typeface="+mn-ea"/>
              <a:cs typeface="Arial"/>
            </a:endParaRPr>
          </a:p>
        </p:txBody>
      </p:sp>
      <p:sp>
        <p:nvSpPr>
          <p:cNvPr id="42" name="object 42"/>
          <p:cNvSpPr/>
          <p:nvPr/>
        </p:nvSpPr>
        <p:spPr>
          <a:xfrm>
            <a:off x="6699504" y="1463039"/>
            <a:ext cx="774192" cy="893063"/>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7461504" y="1831848"/>
            <a:ext cx="524255" cy="505967"/>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5629655" y="4486655"/>
            <a:ext cx="774191" cy="893063"/>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p:nvPr/>
        </p:nvSpPr>
        <p:spPr>
          <a:xfrm>
            <a:off x="6388608" y="4855464"/>
            <a:ext cx="524256" cy="505968"/>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6"/>
          <p:cNvSpPr/>
          <p:nvPr/>
        </p:nvSpPr>
        <p:spPr>
          <a:xfrm>
            <a:off x="6389623" y="2606039"/>
            <a:ext cx="1638935" cy="2004695"/>
          </a:xfrm>
          <a:custGeom>
            <a:avLst/>
            <a:gdLst/>
            <a:ahLst/>
            <a:cxnLst/>
            <a:rect l="l" t="t" r="r" b="b"/>
            <a:pathLst>
              <a:path w="1638934" h="2004695">
                <a:moveTo>
                  <a:pt x="29972" y="1927733"/>
                </a:moveTo>
                <a:lnTo>
                  <a:pt x="0" y="1994535"/>
                </a:lnTo>
                <a:lnTo>
                  <a:pt x="22351" y="2004441"/>
                </a:lnTo>
                <a:lnTo>
                  <a:pt x="52324" y="1937766"/>
                </a:lnTo>
                <a:lnTo>
                  <a:pt x="29972" y="1927733"/>
                </a:lnTo>
                <a:close/>
              </a:path>
              <a:path w="1638934" h="2004695">
                <a:moveTo>
                  <a:pt x="69976" y="1838706"/>
                </a:moveTo>
                <a:lnTo>
                  <a:pt x="68961" y="1841119"/>
                </a:lnTo>
                <a:lnTo>
                  <a:pt x="40004" y="1905508"/>
                </a:lnTo>
                <a:lnTo>
                  <a:pt x="62229" y="1915541"/>
                </a:lnTo>
                <a:lnTo>
                  <a:pt x="92201" y="1848866"/>
                </a:lnTo>
                <a:lnTo>
                  <a:pt x="69976" y="1838706"/>
                </a:lnTo>
                <a:close/>
              </a:path>
              <a:path w="1638934" h="2004695">
                <a:moveTo>
                  <a:pt x="110743" y="1750060"/>
                </a:moveTo>
                <a:lnTo>
                  <a:pt x="80137" y="1816481"/>
                </a:lnTo>
                <a:lnTo>
                  <a:pt x="102362" y="1826641"/>
                </a:lnTo>
                <a:lnTo>
                  <a:pt x="132842" y="1760220"/>
                </a:lnTo>
                <a:lnTo>
                  <a:pt x="110743" y="1750060"/>
                </a:lnTo>
                <a:close/>
              </a:path>
              <a:path w="1638934" h="2004695">
                <a:moveTo>
                  <a:pt x="151637" y="1661414"/>
                </a:moveTo>
                <a:lnTo>
                  <a:pt x="138810" y="1688592"/>
                </a:lnTo>
                <a:lnTo>
                  <a:pt x="120903" y="1727835"/>
                </a:lnTo>
                <a:lnTo>
                  <a:pt x="143001" y="1737995"/>
                </a:lnTo>
                <a:lnTo>
                  <a:pt x="161035" y="1698752"/>
                </a:lnTo>
                <a:lnTo>
                  <a:pt x="173735" y="1671828"/>
                </a:lnTo>
                <a:lnTo>
                  <a:pt x="151637" y="1661414"/>
                </a:lnTo>
                <a:close/>
              </a:path>
              <a:path w="1638934" h="2004695">
                <a:moveTo>
                  <a:pt x="193801" y="1573276"/>
                </a:moveTo>
                <a:lnTo>
                  <a:pt x="174625" y="1612773"/>
                </a:lnTo>
                <a:lnTo>
                  <a:pt x="162051" y="1639316"/>
                </a:lnTo>
                <a:lnTo>
                  <a:pt x="184150" y="1649730"/>
                </a:lnTo>
                <a:lnTo>
                  <a:pt x="196723" y="1623187"/>
                </a:lnTo>
                <a:lnTo>
                  <a:pt x="215773" y="1583944"/>
                </a:lnTo>
                <a:lnTo>
                  <a:pt x="193801" y="1573276"/>
                </a:lnTo>
                <a:close/>
              </a:path>
              <a:path w="1638934" h="2004695">
                <a:moveTo>
                  <a:pt x="236981" y="1485646"/>
                </a:moveTo>
                <a:lnTo>
                  <a:pt x="210947" y="1537589"/>
                </a:lnTo>
                <a:lnTo>
                  <a:pt x="204343" y="1551305"/>
                </a:lnTo>
                <a:lnTo>
                  <a:pt x="226314" y="1561973"/>
                </a:lnTo>
                <a:lnTo>
                  <a:pt x="232918" y="1548257"/>
                </a:lnTo>
                <a:lnTo>
                  <a:pt x="258825" y="1496568"/>
                </a:lnTo>
                <a:lnTo>
                  <a:pt x="236981" y="1485646"/>
                </a:lnTo>
                <a:close/>
              </a:path>
              <a:path w="1638934" h="2004695">
                <a:moveTo>
                  <a:pt x="281431" y="1398651"/>
                </a:moveTo>
                <a:lnTo>
                  <a:pt x="248157" y="1463167"/>
                </a:lnTo>
                <a:lnTo>
                  <a:pt x="247903" y="1463802"/>
                </a:lnTo>
                <a:lnTo>
                  <a:pt x="269621" y="1474724"/>
                </a:lnTo>
                <a:lnTo>
                  <a:pt x="303149" y="1409827"/>
                </a:lnTo>
                <a:lnTo>
                  <a:pt x="281431" y="1398651"/>
                </a:lnTo>
                <a:close/>
              </a:path>
              <a:path w="1638934" h="2004695">
                <a:moveTo>
                  <a:pt x="327659" y="1312291"/>
                </a:moveTo>
                <a:lnTo>
                  <a:pt x="325374" y="1316355"/>
                </a:lnTo>
                <a:lnTo>
                  <a:pt x="292861" y="1376934"/>
                </a:lnTo>
                <a:lnTo>
                  <a:pt x="314451" y="1388491"/>
                </a:lnTo>
                <a:lnTo>
                  <a:pt x="346836" y="1327912"/>
                </a:lnTo>
                <a:lnTo>
                  <a:pt x="348869" y="1324229"/>
                </a:lnTo>
                <a:lnTo>
                  <a:pt x="327659" y="1312291"/>
                </a:lnTo>
                <a:close/>
              </a:path>
              <a:path w="1638934" h="2004695">
                <a:moveTo>
                  <a:pt x="375793" y="1227201"/>
                </a:moveTo>
                <a:lnTo>
                  <a:pt x="365632" y="1244473"/>
                </a:lnTo>
                <a:lnTo>
                  <a:pt x="339598" y="1291082"/>
                </a:lnTo>
                <a:lnTo>
                  <a:pt x="360806" y="1302893"/>
                </a:lnTo>
                <a:lnTo>
                  <a:pt x="386842" y="1256411"/>
                </a:lnTo>
                <a:lnTo>
                  <a:pt x="396875" y="1239520"/>
                </a:lnTo>
                <a:lnTo>
                  <a:pt x="375793" y="1227201"/>
                </a:lnTo>
                <a:close/>
              </a:path>
              <a:path w="1638934" h="2004695">
                <a:moveTo>
                  <a:pt x="426084" y="1143254"/>
                </a:moveTo>
                <a:lnTo>
                  <a:pt x="407289" y="1173734"/>
                </a:lnTo>
                <a:lnTo>
                  <a:pt x="388111" y="1206119"/>
                </a:lnTo>
                <a:lnTo>
                  <a:pt x="409194" y="1218565"/>
                </a:lnTo>
                <a:lnTo>
                  <a:pt x="428244" y="1186053"/>
                </a:lnTo>
                <a:lnTo>
                  <a:pt x="446785" y="1156081"/>
                </a:lnTo>
                <a:lnTo>
                  <a:pt x="426084" y="1143254"/>
                </a:lnTo>
                <a:close/>
              </a:path>
              <a:path w="1638934" h="2004695">
                <a:moveTo>
                  <a:pt x="478535" y="1060704"/>
                </a:moveTo>
                <a:lnTo>
                  <a:pt x="450342" y="1104138"/>
                </a:lnTo>
                <a:lnTo>
                  <a:pt x="438911" y="1122553"/>
                </a:lnTo>
                <a:lnTo>
                  <a:pt x="459612" y="1135380"/>
                </a:lnTo>
                <a:lnTo>
                  <a:pt x="471043" y="1116965"/>
                </a:lnTo>
                <a:lnTo>
                  <a:pt x="498982" y="1074039"/>
                </a:lnTo>
                <a:lnTo>
                  <a:pt x="478535" y="1060704"/>
                </a:lnTo>
                <a:close/>
              </a:path>
              <a:path w="1638934" h="2004695">
                <a:moveTo>
                  <a:pt x="533653" y="979805"/>
                </a:moveTo>
                <a:lnTo>
                  <a:pt x="494792" y="1035812"/>
                </a:lnTo>
                <a:lnTo>
                  <a:pt x="491871" y="1040384"/>
                </a:lnTo>
                <a:lnTo>
                  <a:pt x="512318" y="1053592"/>
                </a:lnTo>
                <a:lnTo>
                  <a:pt x="515239" y="1049020"/>
                </a:lnTo>
                <a:lnTo>
                  <a:pt x="553720" y="993775"/>
                </a:lnTo>
                <a:lnTo>
                  <a:pt x="533653" y="979805"/>
                </a:lnTo>
                <a:close/>
              </a:path>
              <a:path w="1638934" h="2004695">
                <a:moveTo>
                  <a:pt x="591693" y="900557"/>
                </a:moveTo>
                <a:lnTo>
                  <a:pt x="589279" y="903605"/>
                </a:lnTo>
                <a:lnTo>
                  <a:pt x="548004" y="959738"/>
                </a:lnTo>
                <a:lnTo>
                  <a:pt x="567562" y="974217"/>
                </a:lnTo>
                <a:lnTo>
                  <a:pt x="608965" y="917956"/>
                </a:lnTo>
                <a:lnTo>
                  <a:pt x="610870" y="915670"/>
                </a:lnTo>
                <a:lnTo>
                  <a:pt x="591693" y="900557"/>
                </a:lnTo>
                <a:close/>
              </a:path>
              <a:path w="1638934" h="2004695">
                <a:moveTo>
                  <a:pt x="652652" y="823976"/>
                </a:moveTo>
                <a:lnTo>
                  <a:pt x="639445" y="839851"/>
                </a:lnTo>
                <a:lnTo>
                  <a:pt x="606805" y="881380"/>
                </a:lnTo>
                <a:lnTo>
                  <a:pt x="625855" y="896493"/>
                </a:lnTo>
                <a:lnTo>
                  <a:pt x="658495" y="854963"/>
                </a:lnTo>
                <a:lnTo>
                  <a:pt x="671449" y="839724"/>
                </a:lnTo>
                <a:lnTo>
                  <a:pt x="652652" y="823976"/>
                </a:lnTo>
                <a:close/>
              </a:path>
              <a:path w="1638934" h="2004695">
                <a:moveTo>
                  <a:pt x="717803" y="750570"/>
                </a:moveTo>
                <a:lnTo>
                  <a:pt x="693801" y="776477"/>
                </a:lnTo>
                <a:lnTo>
                  <a:pt x="668654" y="805180"/>
                </a:lnTo>
                <a:lnTo>
                  <a:pt x="686943" y="821309"/>
                </a:lnTo>
                <a:lnTo>
                  <a:pt x="712089" y="792607"/>
                </a:lnTo>
                <a:lnTo>
                  <a:pt x="735710" y="767080"/>
                </a:lnTo>
                <a:lnTo>
                  <a:pt x="717803" y="750570"/>
                </a:lnTo>
                <a:close/>
              </a:path>
              <a:path w="1638934" h="2004695">
                <a:moveTo>
                  <a:pt x="786383" y="680212"/>
                </a:moveTo>
                <a:lnTo>
                  <a:pt x="785622" y="680847"/>
                </a:lnTo>
                <a:lnTo>
                  <a:pt x="753872" y="712724"/>
                </a:lnTo>
                <a:lnTo>
                  <a:pt x="734695" y="732789"/>
                </a:lnTo>
                <a:lnTo>
                  <a:pt x="752348" y="749681"/>
                </a:lnTo>
                <a:lnTo>
                  <a:pt x="771525" y="729742"/>
                </a:lnTo>
                <a:lnTo>
                  <a:pt x="803275" y="697738"/>
                </a:lnTo>
                <a:lnTo>
                  <a:pt x="786383" y="680212"/>
                </a:lnTo>
                <a:close/>
              </a:path>
              <a:path w="1638934" h="2004695">
                <a:moveTo>
                  <a:pt x="857250" y="612901"/>
                </a:moveTo>
                <a:lnTo>
                  <a:pt x="852297" y="617347"/>
                </a:lnTo>
                <a:lnTo>
                  <a:pt x="818642" y="649097"/>
                </a:lnTo>
                <a:lnTo>
                  <a:pt x="803909" y="663321"/>
                </a:lnTo>
                <a:lnTo>
                  <a:pt x="820801" y="680847"/>
                </a:lnTo>
                <a:lnTo>
                  <a:pt x="835532" y="666623"/>
                </a:lnTo>
                <a:lnTo>
                  <a:pt x="869060" y="635126"/>
                </a:lnTo>
                <a:lnTo>
                  <a:pt x="873759" y="630809"/>
                </a:lnTo>
                <a:lnTo>
                  <a:pt x="857250" y="612901"/>
                </a:lnTo>
                <a:close/>
              </a:path>
              <a:path w="1638934" h="2004695">
                <a:moveTo>
                  <a:pt x="930021" y="547370"/>
                </a:moveTo>
                <a:lnTo>
                  <a:pt x="886841" y="585724"/>
                </a:lnTo>
                <a:lnTo>
                  <a:pt x="875283" y="596392"/>
                </a:lnTo>
                <a:lnTo>
                  <a:pt x="891794" y="614299"/>
                </a:lnTo>
                <a:lnTo>
                  <a:pt x="903351" y="603758"/>
                </a:lnTo>
                <a:lnTo>
                  <a:pt x="946023" y="565785"/>
                </a:lnTo>
                <a:lnTo>
                  <a:pt x="930021" y="547370"/>
                </a:lnTo>
                <a:close/>
              </a:path>
              <a:path w="1638934" h="2004695">
                <a:moveTo>
                  <a:pt x="1004189" y="483870"/>
                </a:moveTo>
                <a:lnTo>
                  <a:pt x="957833" y="523113"/>
                </a:lnTo>
                <a:lnTo>
                  <a:pt x="948435" y="531368"/>
                </a:lnTo>
                <a:lnTo>
                  <a:pt x="964437" y="549783"/>
                </a:lnTo>
                <a:lnTo>
                  <a:pt x="973835" y="541527"/>
                </a:lnTo>
                <a:lnTo>
                  <a:pt x="1019936" y="502412"/>
                </a:lnTo>
                <a:lnTo>
                  <a:pt x="1004189" y="483870"/>
                </a:lnTo>
                <a:close/>
              </a:path>
              <a:path w="1638934" h="2004695">
                <a:moveTo>
                  <a:pt x="1079500" y="421513"/>
                </a:moveTo>
                <a:lnTo>
                  <a:pt x="1030351" y="461645"/>
                </a:lnTo>
                <a:lnTo>
                  <a:pt x="1022730" y="467995"/>
                </a:lnTo>
                <a:lnTo>
                  <a:pt x="1038605" y="486663"/>
                </a:lnTo>
                <a:lnTo>
                  <a:pt x="1046099" y="480187"/>
                </a:lnTo>
                <a:lnTo>
                  <a:pt x="1094867" y="440309"/>
                </a:lnTo>
                <a:lnTo>
                  <a:pt x="1079500" y="421513"/>
                </a:lnTo>
                <a:close/>
              </a:path>
              <a:path w="1638934" h="2004695">
                <a:moveTo>
                  <a:pt x="1155573" y="360299"/>
                </a:moveTo>
                <a:lnTo>
                  <a:pt x="1103756" y="401574"/>
                </a:lnTo>
                <a:lnTo>
                  <a:pt x="1098296" y="406019"/>
                </a:lnTo>
                <a:lnTo>
                  <a:pt x="1113790" y="424942"/>
                </a:lnTo>
                <a:lnTo>
                  <a:pt x="1119251" y="420497"/>
                </a:lnTo>
                <a:lnTo>
                  <a:pt x="1170812" y="379349"/>
                </a:lnTo>
                <a:lnTo>
                  <a:pt x="1155573" y="360299"/>
                </a:lnTo>
                <a:close/>
              </a:path>
              <a:path w="1638934" h="2004695">
                <a:moveTo>
                  <a:pt x="1232407" y="299974"/>
                </a:moveTo>
                <a:lnTo>
                  <a:pt x="1212850" y="315087"/>
                </a:lnTo>
                <a:lnTo>
                  <a:pt x="1176781" y="343408"/>
                </a:lnTo>
                <a:lnTo>
                  <a:pt x="1174623" y="345059"/>
                </a:lnTo>
                <a:lnTo>
                  <a:pt x="1189862" y="364109"/>
                </a:lnTo>
                <a:lnTo>
                  <a:pt x="1192022" y="362458"/>
                </a:lnTo>
                <a:lnTo>
                  <a:pt x="1227835" y="334263"/>
                </a:lnTo>
                <a:lnTo>
                  <a:pt x="1247394" y="319150"/>
                </a:lnTo>
                <a:lnTo>
                  <a:pt x="1232407" y="299974"/>
                </a:lnTo>
                <a:close/>
              </a:path>
              <a:path w="1638934" h="2004695">
                <a:moveTo>
                  <a:pt x="1309751" y="240284"/>
                </a:moveTo>
                <a:lnTo>
                  <a:pt x="1251711" y="284988"/>
                </a:lnTo>
                <a:lnTo>
                  <a:pt x="1266698" y="304292"/>
                </a:lnTo>
                <a:lnTo>
                  <a:pt x="1298448" y="279654"/>
                </a:lnTo>
                <a:lnTo>
                  <a:pt x="1324609" y="259714"/>
                </a:lnTo>
                <a:lnTo>
                  <a:pt x="1309751" y="240284"/>
                </a:lnTo>
                <a:close/>
              </a:path>
              <a:path w="1638934" h="2004695">
                <a:moveTo>
                  <a:pt x="1387348" y="181229"/>
                </a:moveTo>
                <a:lnTo>
                  <a:pt x="1329181" y="225551"/>
                </a:lnTo>
                <a:lnTo>
                  <a:pt x="1343914" y="244856"/>
                </a:lnTo>
                <a:lnTo>
                  <a:pt x="1402079" y="200660"/>
                </a:lnTo>
                <a:lnTo>
                  <a:pt x="1387348" y="181229"/>
                </a:lnTo>
                <a:close/>
              </a:path>
              <a:path w="1638934" h="2004695">
                <a:moveTo>
                  <a:pt x="1465072" y="122300"/>
                </a:moveTo>
                <a:lnTo>
                  <a:pt x="1415542" y="159765"/>
                </a:lnTo>
                <a:lnTo>
                  <a:pt x="1406778" y="166497"/>
                </a:lnTo>
                <a:lnTo>
                  <a:pt x="1421510" y="185927"/>
                </a:lnTo>
                <a:lnTo>
                  <a:pt x="1430274" y="179197"/>
                </a:lnTo>
                <a:lnTo>
                  <a:pt x="1460753" y="156210"/>
                </a:lnTo>
                <a:lnTo>
                  <a:pt x="1479803" y="141605"/>
                </a:lnTo>
                <a:lnTo>
                  <a:pt x="1465072" y="122300"/>
                </a:lnTo>
                <a:close/>
              </a:path>
              <a:path w="1638934" h="2004695">
                <a:moveTo>
                  <a:pt x="1542287" y="62992"/>
                </a:moveTo>
                <a:lnTo>
                  <a:pt x="1484502" y="107442"/>
                </a:lnTo>
                <a:lnTo>
                  <a:pt x="1499234" y="126873"/>
                </a:lnTo>
                <a:lnTo>
                  <a:pt x="1543557" y="92963"/>
                </a:lnTo>
                <a:lnTo>
                  <a:pt x="1557274" y="82169"/>
                </a:lnTo>
                <a:lnTo>
                  <a:pt x="1542287" y="62992"/>
                </a:lnTo>
                <a:close/>
              </a:path>
              <a:path w="1638934" h="2004695">
                <a:moveTo>
                  <a:pt x="1625125" y="31114"/>
                </a:moveTo>
                <a:lnTo>
                  <a:pt x="1582293" y="31114"/>
                </a:lnTo>
                <a:lnTo>
                  <a:pt x="1597532" y="50037"/>
                </a:lnTo>
                <a:lnTo>
                  <a:pt x="1587835" y="57854"/>
                </a:lnTo>
                <a:lnTo>
                  <a:pt x="1604518" y="77977"/>
                </a:lnTo>
                <a:lnTo>
                  <a:pt x="1625125" y="31114"/>
                </a:lnTo>
                <a:close/>
              </a:path>
              <a:path w="1638934" h="2004695">
                <a:moveTo>
                  <a:pt x="1572297" y="39111"/>
                </a:moveTo>
                <a:lnTo>
                  <a:pt x="1561337" y="47879"/>
                </a:lnTo>
                <a:lnTo>
                  <a:pt x="1576577" y="66929"/>
                </a:lnTo>
                <a:lnTo>
                  <a:pt x="1587835" y="57854"/>
                </a:lnTo>
                <a:lnTo>
                  <a:pt x="1572297" y="39111"/>
                </a:lnTo>
                <a:close/>
              </a:path>
              <a:path w="1638934" h="2004695">
                <a:moveTo>
                  <a:pt x="1582293" y="31114"/>
                </a:moveTo>
                <a:lnTo>
                  <a:pt x="1572297" y="39111"/>
                </a:lnTo>
                <a:lnTo>
                  <a:pt x="1587835" y="57854"/>
                </a:lnTo>
                <a:lnTo>
                  <a:pt x="1597532" y="50037"/>
                </a:lnTo>
                <a:lnTo>
                  <a:pt x="1582293" y="31114"/>
                </a:lnTo>
                <a:close/>
              </a:path>
              <a:path w="1638934" h="2004695">
                <a:moveTo>
                  <a:pt x="1638807" y="0"/>
                </a:moveTo>
                <a:lnTo>
                  <a:pt x="1555877" y="19304"/>
                </a:lnTo>
                <a:lnTo>
                  <a:pt x="1572297" y="39111"/>
                </a:lnTo>
                <a:lnTo>
                  <a:pt x="1582293" y="31114"/>
                </a:lnTo>
                <a:lnTo>
                  <a:pt x="1625125" y="31114"/>
                </a:lnTo>
                <a:lnTo>
                  <a:pt x="1638807" y="0"/>
                </a:lnTo>
                <a:close/>
              </a:path>
            </a:pathLst>
          </a:custGeom>
          <a:solidFill>
            <a:srgbClr val="73737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47"/>
          <p:cNvSpPr/>
          <p:nvPr/>
        </p:nvSpPr>
        <p:spPr>
          <a:xfrm>
            <a:off x="6392545" y="2840608"/>
            <a:ext cx="2647950" cy="1789430"/>
          </a:xfrm>
          <a:custGeom>
            <a:avLst/>
            <a:gdLst/>
            <a:ahLst/>
            <a:cxnLst/>
            <a:rect l="l" t="t" r="r" b="b"/>
            <a:pathLst>
              <a:path w="2647950" h="1789429">
                <a:moveTo>
                  <a:pt x="54228" y="1721992"/>
                </a:moveTo>
                <a:lnTo>
                  <a:pt x="0" y="1771141"/>
                </a:lnTo>
                <a:lnTo>
                  <a:pt x="16509" y="1789176"/>
                </a:lnTo>
                <a:lnTo>
                  <a:pt x="70612" y="1740027"/>
                </a:lnTo>
                <a:lnTo>
                  <a:pt x="54228" y="1721992"/>
                </a:lnTo>
                <a:close/>
              </a:path>
              <a:path w="2647950" h="1789429">
                <a:moveTo>
                  <a:pt x="126364" y="1656333"/>
                </a:moveTo>
                <a:lnTo>
                  <a:pt x="72262" y="1705609"/>
                </a:lnTo>
                <a:lnTo>
                  <a:pt x="88645" y="1723643"/>
                </a:lnTo>
                <a:lnTo>
                  <a:pt x="142875" y="1674495"/>
                </a:lnTo>
                <a:lnTo>
                  <a:pt x="126364" y="1656333"/>
                </a:lnTo>
                <a:close/>
              </a:path>
              <a:path w="2647950" h="1789429">
                <a:moveTo>
                  <a:pt x="198754" y="1590802"/>
                </a:moveTo>
                <a:lnTo>
                  <a:pt x="144525" y="1639951"/>
                </a:lnTo>
                <a:lnTo>
                  <a:pt x="160908" y="1657984"/>
                </a:lnTo>
                <a:lnTo>
                  <a:pt x="215010" y="1608963"/>
                </a:lnTo>
                <a:lnTo>
                  <a:pt x="198754" y="1590802"/>
                </a:lnTo>
                <a:close/>
              </a:path>
              <a:path w="2647950" h="1789429">
                <a:moveTo>
                  <a:pt x="271145" y="1525396"/>
                </a:moveTo>
                <a:lnTo>
                  <a:pt x="216788" y="1574545"/>
                </a:lnTo>
                <a:lnTo>
                  <a:pt x="233172" y="1592579"/>
                </a:lnTo>
                <a:lnTo>
                  <a:pt x="287400" y="1543558"/>
                </a:lnTo>
                <a:lnTo>
                  <a:pt x="271145" y="1525396"/>
                </a:lnTo>
                <a:close/>
              </a:path>
              <a:path w="2647950" h="1789429">
                <a:moveTo>
                  <a:pt x="343661" y="1460245"/>
                </a:moveTo>
                <a:lnTo>
                  <a:pt x="289178" y="1509140"/>
                </a:lnTo>
                <a:lnTo>
                  <a:pt x="305561" y="1527302"/>
                </a:lnTo>
                <a:lnTo>
                  <a:pt x="359918" y="1478407"/>
                </a:lnTo>
                <a:lnTo>
                  <a:pt x="343661" y="1460245"/>
                </a:lnTo>
                <a:close/>
              </a:path>
              <a:path w="2647950" h="1789429">
                <a:moveTo>
                  <a:pt x="416432" y="1395348"/>
                </a:moveTo>
                <a:lnTo>
                  <a:pt x="361823" y="1443989"/>
                </a:lnTo>
                <a:lnTo>
                  <a:pt x="378078" y="1462151"/>
                </a:lnTo>
                <a:lnTo>
                  <a:pt x="432688" y="1413509"/>
                </a:lnTo>
                <a:lnTo>
                  <a:pt x="416432" y="1395348"/>
                </a:lnTo>
                <a:close/>
              </a:path>
              <a:path w="2647950" h="1789429">
                <a:moveTo>
                  <a:pt x="489584" y="1330705"/>
                </a:moveTo>
                <a:lnTo>
                  <a:pt x="434721" y="1379092"/>
                </a:lnTo>
                <a:lnTo>
                  <a:pt x="450850" y="1397380"/>
                </a:lnTo>
                <a:lnTo>
                  <a:pt x="505713" y="1348993"/>
                </a:lnTo>
                <a:lnTo>
                  <a:pt x="489584" y="1330705"/>
                </a:lnTo>
                <a:close/>
              </a:path>
              <a:path w="2647950" h="1789429">
                <a:moveTo>
                  <a:pt x="562990" y="1266316"/>
                </a:moveTo>
                <a:lnTo>
                  <a:pt x="507873" y="1314577"/>
                </a:lnTo>
                <a:lnTo>
                  <a:pt x="524001" y="1332864"/>
                </a:lnTo>
                <a:lnTo>
                  <a:pt x="579120" y="1284732"/>
                </a:lnTo>
                <a:lnTo>
                  <a:pt x="562990" y="1266316"/>
                </a:lnTo>
                <a:close/>
              </a:path>
              <a:path w="2647950" h="1789429">
                <a:moveTo>
                  <a:pt x="636777" y="1202435"/>
                </a:moveTo>
                <a:lnTo>
                  <a:pt x="604011" y="1230629"/>
                </a:lnTo>
                <a:lnTo>
                  <a:pt x="581405" y="1250314"/>
                </a:lnTo>
                <a:lnTo>
                  <a:pt x="597407" y="1268729"/>
                </a:lnTo>
                <a:lnTo>
                  <a:pt x="620013" y="1249045"/>
                </a:lnTo>
                <a:lnTo>
                  <a:pt x="652779" y="1220977"/>
                </a:lnTo>
                <a:lnTo>
                  <a:pt x="636777" y="1202435"/>
                </a:lnTo>
                <a:close/>
              </a:path>
              <a:path w="2647950" h="1789429">
                <a:moveTo>
                  <a:pt x="711073" y="1139063"/>
                </a:moveTo>
                <a:lnTo>
                  <a:pt x="689736" y="1156970"/>
                </a:lnTo>
                <a:lnTo>
                  <a:pt x="655320" y="1186560"/>
                </a:lnTo>
                <a:lnTo>
                  <a:pt x="671195" y="1205102"/>
                </a:lnTo>
                <a:lnTo>
                  <a:pt x="705611" y="1175511"/>
                </a:lnTo>
                <a:lnTo>
                  <a:pt x="726821" y="1157604"/>
                </a:lnTo>
                <a:lnTo>
                  <a:pt x="711073" y="1139063"/>
                </a:lnTo>
                <a:close/>
              </a:path>
              <a:path w="2647950" h="1789429">
                <a:moveTo>
                  <a:pt x="785749" y="1076070"/>
                </a:moveTo>
                <a:lnTo>
                  <a:pt x="775207" y="1084833"/>
                </a:lnTo>
                <a:lnTo>
                  <a:pt x="729614" y="1123314"/>
                </a:lnTo>
                <a:lnTo>
                  <a:pt x="745362" y="1141857"/>
                </a:lnTo>
                <a:lnTo>
                  <a:pt x="790828" y="1103502"/>
                </a:lnTo>
                <a:lnTo>
                  <a:pt x="801243" y="1094866"/>
                </a:lnTo>
                <a:lnTo>
                  <a:pt x="785749" y="1076070"/>
                </a:lnTo>
                <a:close/>
              </a:path>
              <a:path w="2647950" h="1789429">
                <a:moveTo>
                  <a:pt x="860932" y="1013840"/>
                </a:moveTo>
                <a:lnTo>
                  <a:pt x="860425" y="1014348"/>
                </a:lnTo>
                <a:lnTo>
                  <a:pt x="804545" y="1060577"/>
                </a:lnTo>
                <a:lnTo>
                  <a:pt x="820038" y="1079372"/>
                </a:lnTo>
                <a:lnTo>
                  <a:pt x="875919" y="1033017"/>
                </a:lnTo>
                <a:lnTo>
                  <a:pt x="876300" y="1032763"/>
                </a:lnTo>
                <a:lnTo>
                  <a:pt x="860932" y="1013840"/>
                </a:lnTo>
                <a:close/>
              </a:path>
              <a:path w="2647950" h="1789429">
                <a:moveTo>
                  <a:pt x="936751" y="952372"/>
                </a:moveTo>
                <a:lnTo>
                  <a:pt x="879982" y="998473"/>
                </a:lnTo>
                <a:lnTo>
                  <a:pt x="895223" y="1017396"/>
                </a:lnTo>
                <a:lnTo>
                  <a:pt x="952119" y="971422"/>
                </a:lnTo>
                <a:lnTo>
                  <a:pt x="936751" y="952372"/>
                </a:lnTo>
                <a:close/>
              </a:path>
              <a:path w="2647950" h="1789429">
                <a:moveTo>
                  <a:pt x="1013332" y="891793"/>
                </a:moveTo>
                <a:lnTo>
                  <a:pt x="955928" y="937132"/>
                </a:lnTo>
                <a:lnTo>
                  <a:pt x="971041" y="956182"/>
                </a:lnTo>
                <a:lnTo>
                  <a:pt x="1028446" y="910843"/>
                </a:lnTo>
                <a:lnTo>
                  <a:pt x="1013332" y="891793"/>
                </a:lnTo>
                <a:close/>
              </a:path>
              <a:path w="2647950" h="1789429">
                <a:moveTo>
                  <a:pt x="1090676" y="831976"/>
                </a:moveTo>
                <a:lnTo>
                  <a:pt x="1072006" y="846073"/>
                </a:lnTo>
                <a:lnTo>
                  <a:pt x="1032636" y="876553"/>
                </a:lnTo>
                <a:lnTo>
                  <a:pt x="1047496" y="895857"/>
                </a:lnTo>
                <a:lnTo>
                  <a:pt x="1086865" y="865377"/>
                </a:lnTo>
                <a:lnTo>
                  <a:pt x="1105407" y="851407"/>
                </a:lnTo>
                <a:lnTo>
                  <a:pt x="1090676" y="831976"/>
                </a:lnTo>
                <a:close/>
              </a:path>
              <a:path w="2647950" h="1789429">
                <a:moveTo>
                  <a:pt x="1168780" y="773176"/>
                </a:moveTo>
                <a:lnTo>
                  <a:pt x="1110106" y="817117"/>
                </a:lnTo>
                <a:lnTo>
                  <a:pt x="1124838" y="836548"/>
                </a:lnTo>
                <a:lnTo>
                  <a:pt x="1128776" y="833501"/>
                </a:lnTo>
                <a:lnTo>
                  <a:pt x="1170558" y="802132"/>
                </a:lnTo>
                <a:lnTo>
                  <a:pt x="1183258" y="792860"/>
                </a:lnTo>
                <a:lnTo>
                  <a:pt x="1168780" y="773176"/>
                </a:lnTo>
                <a:close/>
              </a:path>
              <a:path w="2647950" h="1789429">
                <a:moveTo>
                  <a:pt x="1247902" y="715771"/>
                </a:moveTo>
                <a:lnTo>
                  <a:pt x="1239520" y="721613"/>
                </a:lnTo>
                <a:lnTo>
                  <a:pt x="1197863" y="751839"/>
                </a:lnTo>
                <a:lnTo>
                  <a:pt x="1188465" y="758825"/>
                </a:lnTo>
                <a:lnTo>
                  <a:pt x="1202816" y="778382"/>
                </a:lnTo>
                <a:lnTo>
                  <a:pt x="1253871" y="741426"/>
                </a:lnTo>
                <a:lnTo>
                  <a:pt x="1261999" y="735711"/>
                </a:lnTo>
                <a:lnTo>
                  <a:pt x="1247902" y="715771"/>
                </a:lnTo>
                <a:close/>
              </a:path>
              <a:path w="2647950" h="1789429">
                <a:moveTo>
                  <a:pt x="1328038" y="659764"/>
                </a:moveTo>
                <a:lnTo>
                  <a:pt x="1322704" y="663320"/>
                </a:lnTo>
                <a:lnTo>
                  <a:pt x="1281176" y="692150"/>
                </a:lnTo>
                <a:lnTo>
                  <a:pt x="1267713" y="701675"/>
                </a:lnTo>
                <a:lnTo>
                  <a:pt x="1281810" y="721613"/>
                </a:lnTo>
                <a:lnTo>
                  <a:pt x="1295273" y="712088"/>
                </a:lnTo>
                <a:lnTo>
                  <a:pt x="1336548" y="683387"/>
                </a:lnTo>
                <a:lnTo>
                  <a:pt x="1341754" y="679957"/>
                </a:lnTo>
                <a:lnTo>
                  <a:pt x="1328038" y="659764"/>
                </a:lnTo>
                <a:close/>
              </a:path>
              <a:path w="2647950" h="1789429">
                <a:moveTo>
                  <a:pt x="1409191" y="605281"/>
                </a:moveTo>
                <a:lnTo>
                  <a:pt x="1364106" y="635126"/>
                </a:lnTo>
                <a:lnTo>
                  <a:pt x="1348104" y="646049"/>
                </a:lnTo>
                <a:lnTo>
                  <a:pt x="1361821" y="666241"/>
                </a:lnTo>
                <a:lnTo>
                  <a:pt x="1377823" y="655319"/>
                </a:lnTo>
                <a:lnTo>
                  <a:pt x="1418844" y="628014"/>
                </a:lnTo>
                <a:lnTo>
                  <a:pt x="1422527" y="625728"/>
                </a:lnTo>
                <a:lnTo>
                  <a:pt x="1409191" y="605281"/>
                </a:lnTo>
                <a:close/>
              </a:path>
              <a:path w="2647950" h="1789429">
                <a:moveTo>
                  <a:pt x="1491487" y="552576"/>
                </a:moveTo>
                <a:lnTo>
                  <a:pt x="1446529" y="581025"/>
                </a:lnTo>
                <a:lnTo>
                  <a:pt x="1429638" y="591946"/>
                </a:lnTo>
                <a:lnTo>
                  <a:pt x="1442974" y="612393"/>
                </a:lnTo>
                <a:lnTo>
                  <a:pt x="1459864" y="601471"/>
                </a:lnTo>
                <a:lnTo>
                  <a:pt x="1500631" y="575563"/>
                </a:lnTo>
                <a:lnTo>
                  <a:pt x="1504441" y="573277"/>
                </a:lnTo>
                <a:lnTo>
                  <a:pt x="1491487" y="552576"/>
                </a:lnTo>
                <a:close/>
              </a:path>
              <a:path w="2647950" h="1789429">
                <a:moveTo>
                  <a:pt x="1574927" y="501523"/>
                </a:moveTo>
                <a:lnTo>
                  <a:pt x="1569338" y="504825"/>
                </a:lnTo>
                <a:lnTo>
                  <a:pt x="1512315" y="539623"/>
                </a:lnTo>
                <a:lnTo>
                  <a:pt x="1525143" y="560451"/>
                </a:lnTo>
                <a:lnTo>
                  <a:pt x="1541399" y="550290"/>
                </a:lnTo>
                <a:lnTo>
                  <a:pt x="1582038" y="525652"/>
                </a:lnTo>
                <a:lnTo>
                  <a:pt x="1587373" y="522477"/>
                </a:lnTo>
                <a:lnTo>
                  <a:pt x="1574927" y="501523"/>
                </a:lnTo>
                <a:close/>
              </a:path>
              <a:path w="2647950" h="1789429">
                <a:moveTo>
                  <a:pt x="1659381" y="452246"/>
                </a:moveTo>
                <a:lnTo>
                  <a:pt x="1610105" y="480694"/>
                </a:lnTo>
                <a:lnTo>
                  <a:pt x="1596008" y="489076"/>
                </a:lnTo>
                <a:lnTo>
                  <a:pt x="1608327" y="510031"/>
                </a:lnTo>
                <a:lnTo>
                  <a:pt x="1662937" y="478281"/>
                </a:lnTo>
                <a:lnTo>
                  <a:pt x="1671447" y="473455"/>
                </a:lnTo>
                <a:lnTo>
                  <a:pt x="1659381" y="452246"/>
                </a:lnTo>
                <a:close/>
              </a:path>
              <a:path w="2647950" h="1789429">
                <a:moveTo>
                  <a:pt x="1744852" y="404875"/>
                </a:moveTo>
                <a:lnTo>
                  <a:pt x="1691258" y="434213"/>
                </a:lnTo>
                <a:lnTo>
                  <a:pt x="1680590" y="440181"/>
                </a:lnTo>
                <a:lnTo>
                  <a:pt x="1692655" y="461390"/>
                </a:lnTo>
                <a:lnTo>
                  <a:pt x="1703197" y="455421"/>
                </a:lnTo>
                <a:lnTo>
                  <a:pt x="1756536" y="426212"/>
                </a:lnTo>
                <a:lnTo>
                  <a:pt x="1744852" y="404875"/>
                </a:lnTo>
                <a:close/>
              </a:path>
              <a:path w="2647950" h="1789429">
                <a:moveTo>
                  <a:pt x="1831085" y="358775"/>
                </a:moveTo>
                <a:lnTo>
                  <a:pt x="1766188" y="393064"/>
                </a:lnTo>
                <a:lnTo>
                  <a:pt x="1778000" y="414527"/>
                </a:lnTo>
                <a:lnTo>
                  <a:pt x="1783714" y="411352"/>
                </a:lnTo>
                <a:lnTo>
                  <a:pt x="1842388" y="380364"/>
                </a:lnTo>
                <a:lnTo>
                  <a:pt x="1831085" y="358775"/>
                </a:lnTo>
                <a:close/>
              </a:path>
              <a:path w="2647950" h="1789429">
                <a:moveTo>
                  <a:pt x="1918080" y="314325"/>
                </a:moveTo>
                <a:lnTo>
                  <a:pt x="1852802" y="347344"/>
                </a:lnTo>
                <a:lnTo>
                  <a:pt x="1863852" y="369062"/>
                </a:lnTo>
                <a:lnTo>
                  <a:pt x="1929129" y="336041"/>
                </a:lnTo>
                <a:lnTo>
                  <a:pt x="1918080" y="314325"/>
                </a:lnTo>
                <a:close/>
              </a:path>
              <a:path w="2647950" h="1789429">
                <a:moveTo>
                  <a:pt x="2005837" y="271399"/>
                </a:moveTo>
                <a:lnTo>
                  <a:pt x="1940052" y="303275"/>
                </a:lnTo>
                <a:lnTo>
                  <a:pt x="1950720" y="325246"/>
                </a:lnTo>
                <a:lnTo>
                  <a:pt x="2016505" y="293369"/>
                </a:lnTo>
                <a:lnTo>
                  <a:pt x="2005837" y="271399"/>
                </a:lnTo>
                <a:close/>
              </a:path>
              <a:path w="2647950" h="1789429">
                <a:moveTo>
                  <a:pt x="2094356" y="229615"/>
                </a:moveTo>
                <a:lnTo>
                  <a:pt x="2091562" y="230886"/>
                </a:lnTo>
                <a:lnTo>
                  <a:pt x="2028062" y="260857"/>
                </a:lnTo>
                <a:lnTo>
                  <a:pt x="2038477" y="282955"/>
                </a:lnTo>
                <a:lnTo>
                  <a:pt x="2101977" y="252983"/>
                </a:lnTo>
                <a:lnTo>
                  <a:pt x="2104516" y="251840"/>
                </a:lnTo>
                <a:lnTo>
                  <a:pt x="2094356" y="229615"/>
                </a:lnTo>
                <a:close/>
              </a:path>
              <a:path w="2647950" h="1789429">
                <a:moveTo>
                  <a:pt x="2183383" y="189356"/>
                </a:moveTo>
                <a:lnTo>
                  <a:pt x="2170937" y="194817"/>
                </a:lnTo>
                <a:lnTo>
                  <a:pt x="2116581" y="219582"/>
                </a:lnTo>
                <a:lnTo>
                  <a:pt x="2126614" y="241807"/>
                </a:lnTo>
                <a:lnTo>
                  <a:pt x="2180971" y="217042"/>
                </a:lnTo>
                <a:lnTo>
                  <a:pt x="2193162" y="211708"/>
                </a:lnTo>
                <a:lnTo>
                  <a:pt x="2183383" y="189356"/>
                </a:lnTo>
                <a:close/>
              </a:path>
              <a:path w="2647950" h="1789429">
                <a:moveTo>
                  <a:pt x="2272664" y="149987"/>
                </a:moveTo>
                <a:lnTo>
                  <a:pt x="2205608" y="179450"/>
                </a:lnTo>
                <a:lnTo>
                  <a:pt x="2215514" y="201802"/>
                </a:lnTo>
                <a:lnTo>
                  <a:pt x="2259710" y="182117"/>
                </a:lnTo>
                <a:lnTo>
                  <a:pt x="2282316" y="172338"/>
                </a:lnTo>
                <a:lnTo>
                  <a:pt x="2272664" y="149987"/>
                </a:lnTo>
                <a:close/>
              </a:path>
              <a:path w="2647950" h="1789429">
                <a:moveTo>
                  <a:pt x="2362327" y="111505"/>
                </a:moveTo>
                <a:lnTo>
                  <a:pt x="2295016" y="140335"/>
                </a:lnTo>
                <a:lnTo>
                  <a:pt x="2304796" y="162687"/>
                </a:lnTo>
                <a:lnTo>
                  <a:pt x="2371852" y="133857"/>
                </a:lnTo>
                <a:lnTo>
                  <a:pt x="2362327" y="111505"/>
                </a:lnTo>
                <a:close/>
              </a:path>
              <a:path w="2647950" h="1789429">
                <a:moveTo>
                  <a:pt x="2452370" y="73660"/>
                </a:moveTo>
                <a:lnTo>
                  <a:pt x="2384805" y="101980"/>
                </a:lnTo>
                <a:lnTo>
                  <a:pt x="2394330" y="124460"/>
                </a:lnTo>
                <a:lnTo>
                  <a:pt x="2461768" y="96138"/>
                </a:lnTo>
                <a:lnTo>
                  <a:pt x="2452370" y="73660"/>
                </a:lnTo>
                <a:close/>
              </a:path>
              <a:path w="2647950" h="1789429">
                <a:moveTo>
                  <a:pt x="2542539" y="36321"/>
                </a:moveTo>
                <a:lnTo>
                  <a:pt x="2474849" y="64262"/>
                </a:lnTo>
                <a:lnTo>
                  <a:pt x="2484247" y="86740"/>
                </a:lnTo>
                <a:lnTo>
                  <a:pt x="2551810" y="58927"/>
                </a:lnTo>
                <a:lnTo>
                  <a:pt x="2542539" y="36321"/>
                </a:lnTo>
                <a:close/>
              </a:path>
              <a:path w="2647950" h="1789429">
                <a:moveTo>
                  <a:pt x="2636643" y="19050"/>
                </a:moveTo>
                <a:lnTo>
                  <a:pt x="2584450" y="19050"/>
                </a:lnTo>
                <a:lnTo>
                  <a:pt x="2593721" y="41655"/>
                </a:lnTo>
                <a:lnTo>
                  <a:pt x="2581973" y="46525"/>
                </a:lnTo>
                <a:lnTo>
                  <a:pt x="2591815" y="70485"/>
                </a:lnTo>
                <a:lnTo>
                  <a:pt x="2636643" y="19050"/>
                </a:lnTo>
                <a:close/>
              </a:path>
              <a:path w="2647950" h="1789429">
                <a:moveTo>
                  <a:pt x="2572688" y="23924"/>
                </a:moveTo>
                <a:lnTo>
                  <a:pt x="2565146" y="27050"/>
                </a:lnTo>
                <a:lnTo>
                  <a:pt x="2574416" y="49656"/>
                </a:lnTo>
                <a:lnTo>
                  <a:pt x="2581973" y="46525"/>
                </a:lnTo>
                <a:lnTo>
                  <a:pt x="2572688" y="23924"/>
                </a:lnTo>
                <a:close/>
              </a:path>
              <a:path w="2647950" h="1789429">
                <a:moveTo>
                  <a:pt x="2584450" y="19050"/>
                </a:moveTo>
                <a:lnTo>
                  <a:pt x="2572688" y="23924"/>
                </a:lnTo>
                <a:lnTo>
                  <a:pt x="2581973" y="46525"/>
                </a:lnTo>
                <a:lnTo>
                  <a:pt x="2593721" y="41655"/>
                </a:lnTo>
                <a:lnTo>
                  <a:pt x="2584450" y="19050"/>
                </a:lnTo>
                <a:close/>
              </a:path>
              <a:path w="2647950" h="1789429">
                <a:moveTo>
                  <a:pt x="2562859" y="0"/>
                </a:moveTo>
                <a:lnTo>
                  <a:pt x="2572688" y="23924"/>
                </a:lnTo>
                <a:lnTo>
                  <a:pt x="2584450" y="19050"/>
                </a:lnTo>
                <a:lnTo>
                  <a:pt x="2636643" y="19050"/>
                </a:lnTo>
                <a:lnTo>
                  <a:pt x="2647823" y="6223"/>
                </a:lnTo>
                <a:lnTo>
                  <a:pt x="2562859" y="0"/>
                </a:lnTo>
                <a:close/>
              </a:path>
            </a:pathLst>
          </a:custGeom>
          <a:solidFill>
            <a:srgbClr val="73737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8"/>
          <p:cNvSpPr/>
          <p:nvPr/>
        </p:nvSpPr>
        <p:spPr>
          <a:xfrm>
            <a:off x="6386448" y="4462398"/>
            <a:ext cx="1907539" cy="158115"/>
          </a:xfrm>
          <a:custGeom>
            <a:avLst/>
            <a:gdLst/>
            <a:ahLst/>
            <a:cxnLst/>
            <a:rect l="l" t="t" r="r" b="b"/>
            <a:pathLst>
              <a:path w="1907540" h="158114">
                <a:moveTo>
                  <a:pt x="72009" y="121157"/>
                </a:moveTo>
                <a:lnTo>
                  <a:pt x="0" y="134238"/>
                </a:lnTo>
                <a:lnTo>
                  <a:pt x="4317" y="158114"/>
                </a:lnTo>
                <a:lnTo>
                  <a:pt x="76326" y="145161"/>
                </a:lnTo>
                <a:lnTo>
                  <a:pt x="72009" y="121157"/>
                </a:lnTo>
                <a:close/>
              </a:path>
              <a:path w="1907540" h="158114">
                <a:moveTo>
                  <a:pt x="168021" y="104012"/>
                </a:moveTo>
                <a:lnTo>
                  <a:pt x="96012" y="116839"/>
                </a:lnTo>
                <a:lnTo>
                  <a:pt x="100329" y="140843"/>
                </a:lnTo>
                <a:lnTo>
                  <a:pt x="172211" y="128015"/>
                </a:lnTo>
                <a:lnTo>
                  <a:pt x="168021" y="104012"/>
                </a:lnTo>
                <a:close/>
              </a:path>
              <a:path w="1907540" h="158114">
                <a:moveTo>
                  <a:pt x="264159" y="87121"/>
                </a:moveTo>
                <a:lnTo>
                  <a:pt x="192024" y="99694"/>
                </a:lnTo>
                <a:lnTo>
                  <a:pt x="196342" y="123698"/>
                </a:lnTo>
                <a:lnTo>
                  <a:pt x="268224" y="111251"/>
                </a:lnTo>
                <a:lnTo>
                  <a:pt x="264159" y="87121"/>
                </a:lnTo>
                <a:close/>
              </a:path>
              <a:path w="1907540" h="158114">
                <a:moveTo>
                  <a:pt x="360425" y="70993"/>
                </a:moveTo>
                <a:lnTo>
                  <a:pt x="288290" y="83057"/>
                </a:lnTo>
                <a:lnTo>
                  <a:pt x="292353" y="107187"/>
                </a:lnTo>
                <a:lnTo>
                  <a:pt x="364490" y="94995"/>
                </a:lnTo>
                <a:lnTo>
                  <a:pt x="360425" y="70993"/>
                </a:lnTo>
                <a:close/>
              </a:path>
              <a:path w="1907540" h="158114">
                <a:moveTo>
                  <a:pt x="456946" y="56006"/>
                </a:moveTo>
                <a:lnTo>
                  <a:pt x="384682" y="67182"/>
                </a:lnTo>
                <a:lnTo>
                  <a:pt x="388366" y="91186"/>
                </a:lnTo>
                <a:lnTo>
                  <a:pt x="460628" y="80009"/>
                </a:lnTo>
                <a:lnTo>
                  <a:pt x="456946" y="56006"/>
                </a:lnTo>
                <a:close/>
              </a:path>
              <a:path w="1907540" h="158114">
                <a:moveTo>
                  <a:pt x="553720" y="41782"/>
                </a:moveTo>
                <a:lnTo>
                  <a:pt x="550545" y="42163"/>
                </a:lnTo>
                <a:lnTo>
                  <a:pt x="481075" y="52196"/>
                </a:lnTo>
                <a:lnTo>
                  <a:pt x="484758" y="76326"/>
                </a:lnTo>
                <a:lnTo>
                  <a:pt x="493395" y="74930"/>
                </a:lnTo>
                <a:lnTo>
                  <a:pt x="556895" y="65912"/>
                </a:lnTo>
                <a:lnTo>
                  <a:pt x="553720" y="41782"/>
                </a:lnTo>
                <a:close/>
              </a:path>
              <a:path w="1907540" h="158114">
                <a:moveTo>
                  <a:pt x="650621" y="29337"/>
                </a:moveTo>
                <a:lnTo>
                  <a:pt x="611377" y="34036"/>
                </a:lnTo>
                <a:lnTo>
                  <a:pt x="577850" y="38607"/>
                </a:lnTo>
                <a:lnTo>
                  <a:pt x="581025" y="62737"/>
                </a:lnTo>
                <a:lnTo>
                  <a:pt x="614552" y="58293"/>
                </a:lnTo>
                <a:lnTo>
                  <a:pt x="653542" y="53593"/>
                </a:lnTo>
                <a:lnTo>
                  <a:pt x="650621" y="29337"/>
                </a:lnTo>
                <a:close/>
              </a:path>
              <a:path w="1907540" h="158114">
                <a:moveTo>
                  <a:pt x="747776" y="18668"/>
                </a:moveTo>
                <a:lnTo>
                  <a:pt x="674877" y="26415"/>
                </a:lnTo>
                <a:lnTo>
                  <a:pt x="677545" y="50673"/>
                </a:lnTo>
                <a:lnTo>
                  <a:pt x="735329" y="44323"/>
                </a:lnTo>
                <a:lnTo>
                  <a:pt x="750189" y="42925"/>
                </a:lnTo>
                <a:lnTo>
                  <a:pt x="747776" y="18668"/>
                </a:lnTo>
                <a:close/>
              </a:path>
              <a:path w="1907540" h="158114">
                <a:moveTo>
                  <a:pt x="845184" y="10032"/>
                </a:moveTo>
                <a:lnTo>
                  <a:pt x="792987" y="14350"/>
                </a:lnTo>
                <a:lnTo>
                  <a:pt x="772032" y="16382"/>
                </a:lnTo>
                <a:lnTo>
                  <a:pt x="774446" y="40639"/>
                </a:lnTo>
                <a:lnTo>
                  <a:pt x="795274" y="38607"/>
                </a:lnTo>
                <a:lnTo>
                  <a:pt x="847090" y="34417"/>
                </a:lnTo>
                <a:lnTo>
                  <a:pt x="845184" y="10032"/>
                </a:lnTo>
                <a:close/>
              </a:path>
              <a:path w="1907540" h="158114">
                <a:moveTo>
                  <a:pt x="942848" y="3937"/>
                </a:moveTo>
                <a:lnTo>
                  <a:pt x="913256" y="5461"/>
                </a:lnTo>
                <a:lnTo>
                  <a:pt x="869696" y="8381"/>
                </a:lnTo>
                <a:lnTo>
                  <a:pt x="871220" y="32638"/>
                </a:lnTo>
                <a:lnTo>
                  <a:pt x="914907" y="29718"/>
                </a:lnTo>
                <a:lnTo>
                  <a:pt x="944118" y="28320"/>
                </a:lnTo>
                <a:lnTo>
                  <a:pt x="942848" y="3937"/>
                </a:lnTo>
                <a:close/>
              </a:path>
              <a:path w="1907540" h="158114">
                <a:moveTo>
                  <a:pt x="1040765" y="634"/>
                </a:moveTo>
                <a:lnTo>
                  <a:pt x="1032764" y="762"/>
                </a:lnTo>
                <a:lnTo>
                  <a:pt x="973074" y="2539"/>
                </a:lnTo>
                <a:lnTo>
                  <a:pt x="967231" y="2793"/>
                </a:lnTo>
                <a:lnTo>
                  <a:pt x="968375" y="27177"/>
                </a:lnTo>
                <a:lnTo>
                  <a:pt x="974344" y="26924"/>
                </a:lnTo>
                <a:lnTo>
                  <a:pt x="1033526" y="25145"/>
                </a:lnTo>
                <a:lnTo>
                  <a:pt x="1041146" y="25018"/>
                </a:lnTo>
                <a:lnTo>
                  <a:pt x="1040765" y="634"/>
                </a:lnTo>
                <a:close/>
              </a:path>
              <a:path w="1907540" h="158114">
                <a:moveTo>
                  <a:pt x="1092200" y="0"/>
                </a:moveTo>
                <a:lnTo>
                  <a:pt x="1065149" y="253"/>
                </a:lnTo>
                <a:lnTo>
                  <a:pt x="1065529" y="24637"/>
                </a:lnTo>
                <a:lnTo>
                  <a:pt x="1138428" y="24383"/>
                </a:lnTo>
                <a:lnTo>
                  <a:pt x="1138554" y="126"/>
                </a:lnTo>
                <a:lnTo>
                  <a:pt x="1092200" y="0"/>
                </a:lnTo>
                <a:close/>
              </a:path>
              <a:path w="1907540" h="158114">
                <a:moveTo>
                  <a:pt x="1138428" y="24383"/>
                </a:moveTo>
                <a:lnTo>
                  <a:pt x="1092580" y="24383"/>
                </a:lnTo>
                <a:lnTo>
                  <a:pt x="1138427" y="24511"/>
                </a:lnTo>
                <a:lnTo>
                  <a:pt x="1138428" y="24383"/>
                </a:lnTo>
                <a:close/>
              </a:path>
              <a:path w="1907540" h="158114">
                <a:moveTo>
                  <a:pt x="1163066" y="381"/>
                </a:moveTo>
                <a:lnTo>
                  <a:pt x="1162684" y="24764"/>
                </a:lnTo>
                <a:lnTo>
                  <a:pt x="1210055" y="25526"/>
                </a:lnTo>
                <a:lnTo>
                  <a:pt x="1235582" y="26415"/>
                </a:lnTo>
                <a:lnTo>
                  <a:pt x="1236345" y="2031"/>
                </a:lnTo>
                <a:lnTo>
                  <a:pt x="1210436" y="1269"/>
                </a:lnTo>
                <a:lnTo>
                  <a:pt x="1163066" y="381"/>
                </a:lnTo>
                <a:close/>
              </a:path>
              <a:path w="1907540" h="158114">
                <a:moveTo>
                  <a:pt x="1260728" y="2793"/>
                </a:moveTo>
                <a:lnTo>
                  <a:pt x="1259967" y="27177"/>
                </a:lnTo>
                <a:lnTo>
                  <a:pt x="1268476" y="27431"/>
                </a:lnTo>
                <a:lnTo>
                  <a:pt x="1326769" y="30099"/>
                </a:lnTo>
                <a:lnTo>
                  <a:pt x="1332737" y="30480"/>
                </a:lnTo>
                <a:lnTo>
                  <a:pt x="1334134" y="6095"/>
                </a:lnTo>
                <a:lnTo>
                  <a:pt x="1260728" y="2793"/>
                </a:lnTo>
                <a:close/>
              </a:path>
              <a:path w="1907540" h="158114">
                <a:moveTo>
                  <a:pt x="1358519" y="7493"/>
                </a:moveTo>
                <a:lnTo>
                  <a:pt x="1357122" y="31876"/>
                </a:lnTo>
                <a:lnTo>
                  <a:pt x="1430020" y="36575"/>
                </a:lnTo>
                <a:lnTo>
                  <a:pt x="1431671" y="12192"/>
                </a:lnTo>
                <a:lnTo>
                  <a:pt x="1358519" y="7493"/>
                </a:lnTo>
                <a:close/>
              </a:path>
              <a:path w="1907540" h="158114">
                <a:moveTo>
                  <a:pt x="1456054" y="14096"/>
                </a:moveTo>
                <a:lnTo>
                  <a:pt x="1454150" y="38353"/>
                </a:lnTo>
                <a:lnTo>
                  <a:pt x="1527048" y="44323"/>
                </a:lnTo>
                <a:lnTo>
                  <a:pt x="1528952" y="20065"/>
                </a:lnTo>
                <a:lnTo>
                  <a:pt x="1456054" y="14096"/>
                </a:lnTo>
                <a:close/>
              </a:path>
              <a:path w="1907540" h="158114">
                <a:moveTo>
                  <a:pt x="1553336" y="21970"/>
                </a:moveTo>
                <a:lnTo>
                  <a:pt x="1551304" y="46355"/>
                </a:lnTo>
                <a:lnTo>
                  <a:pt x="1559305" y="46989"/>
                </a:lnTo>
                <a:lnTo>
                  <a:pt x="1623949" y="53212"/>
                </a:lnTo>
                <a:lnTo>
                  <a:pt x="1626361" y="28956"/>
                </a:lnTo>
                <a:lnTo>
                  <a:pt x="1553336" y="21970"/>
                </a:lnTo>
                <a:close/>
              </a:path>
              <a:path w="1907540" h="158114">
                <a:moveTo>
                  <a:pt x="1650619" y="31242"/>
                </a:moveTo>
                <a:lnTo>
                  <a:pt x="1648205" y="55499"/>
                </a:lnTo>
                <a:lnTo>
                  <a:pt x="1720850" y="62992"/>
                </a:lnTo>
                <a:lnTo>
                  <a:pt x="1723517" y="38734"/>
                </a:lnTo>
                <a:lnTo>
                  <a:pt x="1677289" y="33781"/>
                </a:lnTo>
                <a:lnTo>
                  <a:pt x="1650619" y="31242"/>
                </a:lnTo>
                <a:close/>
              </a:path>
              <a:path w="1907540" h="158114">
                <a:moveTo>
                  <a:pt x="1747774" y="41275"/>
                </a:moveTo>
                <a:lnTo>
                  <a:pt x="1745106" y="65531"/>
                </a:lnTo>
                <a:lnTo>
                  <a:pt x="1817751" y="73406"/>
                </a:lnTo>
                <a:lnTo>
                  <a:pt x="1820545" y="49149"/>
                </a:lnTo>
                <a:lnTo>
                  <a:pt x="1747774" y="41275"/>
                </a:lnTo>
                <a:close/>
              </a:path>
              <a:path w="1907540" h="158114">
                <a:moveTo>
                  <a:pt x="1835657" y="24764"/>
                </a:moveTo>
                <a:lnTo>
                  <a:pt x="1827149" y="100583"/>
                </a:lnTo>
                <a:lnTo>
                  <a:pt x="1893364" y="76200"/>
                </a:lnTo>
                <a:lnTo>
                  <a:pt x="1842007" y="76200"/>
                </a:lnTo>
                <a:lnTo>
                  <a:pt x="1844802" y="51943"/>
                </a:lnTo>
                <a:lnTo>
                  <a:pt x="1877579" y="51943"/>
                </a:lnTo>
                <a:lnTo>
                  <a:pt x="1835657" y="24764"/>
                </a:lnTo>
                <a:close/>
              </a:path>
              <a:path w="1907540" h="158114">
                <a:moveTo>
                  <a:pt x="1845436" y="51943"/>
                </a:moveTo>
                <a:lnTo>
                  <a:pt x="1844802" y="51943"/>
                </a:lnTo>
                <a:lnTo>
                  <a:pt x="1842007" y="76200"/>
                </a:lnTo>
                <a:lnTo>
                  <a:pt x="1842643" y="76200"/>
                </a:lnTo>
                <a:lnTo>
                  <a:pt x="1845436" y="51943"/>
                </a:lnTo>
                <a:close/>
              </a:path>
              <a:path w="1907540" h="158114">
                <a:moveTo>
                  <a:pt x="1877579" y="51943"/>
                </a:moveTo>
                <a:lnTo>
                  <a:pt x="1845436" y="51943"/>
                </a:lnTo>
                <a:lnTo>
                  <a:pt x="1842643" y="76200"/>
                </a:lnTo>
                <a:lnTo>
                  <a:pt x="1893364" y="76200"/>
                </a:lnTo>
                <a:lnTo>
                  <a:pt x="1907158" y="71119"/>
                </a:lnTo>
                <a:lnTo>
                  <a:pt x="1877579" y="51943"/>
                </a:lnTo>
                <a:close/>
              </a:path>
            </a:pathLst>
          </a:custGeom>
          <a:solidFill>
            <a:srgbClr val="73737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49"/>
          <p:cNvSpPr/>
          <p:nvPr/>
        </p:nvSpPr>
        <p:spPr>
          <a:xfrm>
            <a:off x="6395720" y="3155950"/>
            <a:ext cx="3662679" cy="1463675"/>
          </a:xfrm>
          <a:custGeom>
            <a:avLst/>
            <a:gdLst/>
            <a:ahLst/>
            <a:cxnLst/>
            <a:rect l="l" t="t" r="r" b="b"/>
            <a:pathLst>
              <a:path w="3662679" h="1463675">
                <a:moveTo>
                  <a:pt x="66420" y="1410970"/>
                </a:moveTo>
                <a:lnTo>
                  <a:pt x="0" y="1441577"/>
                </a:lnTo>
                <a:lnTo>
                  <a:pt x="10159" y="1463675"/>
                </a:lnTo>
                <a:lnTo>
                  <a:pt x="76707" y="1433195"/>
                </a:lnTo>
                <a:lnTo>
                  <a:pt x="66420" y="1410970"/>
                </a:lnTo>
                <a:close/>
              </a:path>
              <a:path w="3662679" h="1463675">
                <a:moveTo>
                  <a:pt x="155066" y="1370330"/>
                </a:moveTo>
                <a:lnTo>
                  <a:pt x="88645" y="1400810"/>
                </a:lnTo>
                <a:lnTo>
                  <a:pt x="98805" y="1423035"/>
                </a:lnTo>
                <a:lnTo>
                  <a:pt x="165353" y="1392555"/>
                </a:lnTo>
                <a:lnTo>
                  <a:pt x="155066" y="1370330"/>
                </a:lnTo>
                <a:close/>
              </a:path>
              <a:path w="3662679" h="1463675">
                <a:moveTo>
                  <a:pt x="243712" y="1329689"/>
                </a:moveTo>
                <a:lnTo>
                  <a:pt x="177291" y="1360170"/>
                </a:lnTo>
                <a:lnTo>
                  <a:pt x="187451" y="1382395"/>
                </a:lnTo>
                <a:lnTo>
                  <a:pt x="254000" y="1351788"/>
                </a:lnTo>
                <a:lnTo>
                  <a:pt x="243712" y="1329689"/>
                </a:lnTo>
                <a:close/>
              </a:path>
              <a:path w="3662679" h="1463675">
                <a:moveTo>
                  <a:pt x="332485" y="1289050"/>
                </a:moveTo>
                <a:lnTo>
                  <a:pt x="265937" y="1319530"/>
                </a:lnTo>
                <a:lnTo>
                  <a:pt x="276098" y="1341627"/>
                </a:lnTo>
                <a:lnTo>
                  <a:pt x="342646" y="1311148"/>
                </a:lnTo>
                <a:lnTo>
                  <a:pt x="332485" y="1289050"/>
                </a:lnTo>
                <a:close/>
              </a:path>
              <a:path w="3662679" h="1463675">
                <a:moveTo>
                  <a:pt x="421131" y="1248410"/>
                </a:moveTo>
                <a:lnTo>
                  <a:pt x="354583" y="1278889"/>
                </a:lnTo>
                <a:lnTo>
                  <a:pt x="364744" y="1301114"/>
                </a:lnTo>
                <a:lnTo>
                  <a:pt x="431291" y="1270635"/>
                </a:lnTo>
                <a:lnTo>
                  <a:pt x="421131" y="1248410"/>
                </a:lnTo>
                <a:close/>
              </a:path>
              <a:path w="3662679" h="1463675">
                <a:moveTo>
                  <a:pt x="509904" y="1207897"/>
                </a:moveTo>
                <a:lnTo>
                  <a:pt x="443356" y="1238377"/>
                </a:lnTo>
                <a:lnTo>
                  <a:pt x="453516" y="1260475"/>
                </a:lnTo>
                <a:lnTo>
                  <a:pt x="519937" y="1230122"/>
                </a:lnTo>
                <a:lnTo>
                  <a:pt x="509904" y="1207897"/>
                </a:lnTo>
                <a:close/>
              </a:path>
              <a:path w="3662679" h="1463675">
                <a:moveTo>
                  <a:pt x="598551" y="1167383"/>
                </a:moveTo>
                <a:lnTo>
                  <a:pt x="593598" y="1169543"/>
                </a:lnTo>
                <a:lnTo>
                  <a:pt x="532002" y="1197737"/>
                </a:lnTo>
                <a:lnTo>
                  <a:pt x="542162" y="1219962"/>
                </a:lnTo>
                <a:lnTo>
                  <a:pt x="608710" y="1189482"/>
                </a:lnTo>
                <a:lnTo>
                  <a:pt x="598551" y="1167383"/>
                </a:lnTo>
                <a:close/>
              </a:path>
              <a:path w="3662679" h="1463675">
                <a:moveTo>
                  <a:pt x="687324" y="1126998"/>
                </a:moveTo>
                <a:lnTo>
                  <a:pt x="620776" y="1157224"/>
                </a:lnTo>
                <a:lnTo>
                  <a:pt x="630935" y="1179449"/>
                </a:lnTo>
                <a:lnTo>
                  <a:pt x="697483" y="1149095"/>
                </a:lnTo>
                <a:lnTo>
                  <a:pt x="687324" y="1126998"/>
                </a:lnTo>
                <a:close/>
              </a:path>
              <a:path w="3662679" h="1463675">
                <a:moveTo>
                  <a:pt x="776224" y="1086612"/>
                </a:moveTo>
                <a:lnTo>
                  <a:pt x="709549" y="1116838"/>
                </a:lnTo>
                <a:lnTo>
                  <a:pt x="719708" y="1139063"/>
                </a:lnTo>
                <a:lnTo>
                  <a:pt x="786256" y="1108837"/>
                </a:lnTo>
                <a:lnTo>
                  <a:pt x="776224" y="1086612"/>
                </a:lnTo>
                <a:close/>
              </a:path>
              <a:path w="3662679" h="1463675">
                <a:moveTo>
                  <a:pt x="864997" y="1046352"/>
                </a:moveTo>
                <a:lnTo>
                  <a:pt x="798449" y="1076579"/>
                </a:lnTo>
                <a:lnTo>
                  <a:pt x="808481" y="1098804"/>
                </a:lnTo>
                <a:lnTo>
                  <a:pt x="875029" y="1068577"/>
                </a:lnTo>
                <a:lnTo>
                  <a:pt x="864997" y="1046352"/>
                </a:lnTo>
                <a:close/>
              </a:path>
              <a:path w="3662679" h="1463675">
                <a:moveTo>
                  <a:pt x="953897" y="1006220"/>
                </a:moveTo>
                <a:lnTo>
                  <a:pt x="887222" y="1036319"/>
                </a:lnTo>
                <a:lnTo>
                  <a:pt x="897254" y="1058545"/>
                </a:lnTo>
                <a:lnTo>
                  <a:pt x="963929" y="1028445"/>
                </a:lnTo>
                <a:lnTo>
                  <a:pt x="953897" y="1006220"/>
                </a:lnTo>
                <a:close/>
              </a:path>
              <a:path w="3662679" h="1463675">
                <a:moveTo>
                  <a:pt x="1042924" y="966216"/>
                </a:moveTo>
                <a:lnTo>
                  <a:pt x="976249" y="996188"/>
                </a:lnTo>
                <a:lnTo>
                  <a:pt x="986154" y="1018413"/>
                </a:lnTo>
                <a:lnTo>
                  <a:pt x="1052829" y="988441"/>
                </a:lnTo>
                <a:lnTo>
                  <a:pt x="1042924" y="966216"/>
                </a:lnTo>
                <a:close/>
              </a:path>
              <a:path w="3662679" h="1463675">
                <a:moveTo>
                  <a:pt x="1131951" y="926338"/>
                </a:moveTo>
                <a:lnTo>
                  <a:pt x="1065149" y="956182"/>
                </a:lnTo>
                <a:lnTo>
                  <a:pt x="1075181" y="978535"/>
                </a:lnTo>
                <a:lnTo>
                  <a:pt x="1141983" y="948689"/>
                </a:lnTo>
                <a:lnTo>
                  <a:pt x="1131951" y="926338"/>
                </a:lnTo>
                <a:close/>
              </a:path>
              <a:path w="3662679" h="1463675">
                <a:moveTo>
                  <a:pt x="1221104" y="886713"/>
                </a:moveTo>
                <a:lnTo>
                  <a:pt x="1154176" y="916432"/>
                </a:lnTo>
                <a:lnTo>
                  <a:pt x="1164208" y="938657"/>
                </a:lnTo>
                <a:lnTo>
                  <a:pt x="1231010" y="908938"/>
                </a:lnTo>
                <a:lnTo>
                  <a:pt x="1221104" y="886713"/>
                </a:lnTo>
                <a:close/>
              </a:path>
              <a:path w="3662679" h="1463675">
                <a:moveTo>
                  <a:pt x="1310258" y="847089"/>
                </a:moveTo>
                <a:lnTo>
                  <a:pt x="1309243" y="847598"/>
                </a:lnTo>
                <a:lnTo>
                  <a:pt x="1243456" y="876807"/>
                </a:lnTo>
                <a:lnTo>
                  <a:pt x="1253235" y="899032"/>
                </a:lnTo>
                <a:lnTo>
                  <a:pt x="1319149" y="869823"/>
                </a:lnTo>
                <a:lnTo>
                  <a:pt x="1320164" y="869442"/>
                </a:lnTo>
                <a:lnTo>
                  <a:pt x="1310258" y="847089"/>
                </a:lnTo>
                <a:close/>
              </a:path>
              <a:path w="3662679" h="1463675">
                <a:moveTo>
                  <a:pt x="1399539" y="807847"/>
                </a:moveTo>
                <a:lnTo>
                  <a:pt x="1332610" y="837311"/>
                </a:lnTo>
                <a:lnTo>
                  <a:pt x="1342389" y="859663"/>
                </a:lnTo>
                <a:lnTo>
                  <a:pt x="1409446" y="830199"/>
                </a:lnTo>
                <a:lnTo>
                  <a:pt x="1399539" y="807847"/>
                </a:lnTo>
                <a:close/>
              </a:path>
              <a:path w="3662679" h="1463675">
                <a:moveTo>
                  <a:pt x="1488948" y="768731"/>
                </a:moveTo>
                <a:lnTo>
                  <a:pt x="1421891" y="798068"/>
                </a:lnTo>
                <a:lnTo>
                  <a:pt x="1431671" y="820293"/>
                </a:lnTo>
                <a:lnTo>
                  <a:pt x="1498727" y="791082"/>
                </a:lnTo>
                <a:lnTo>
                  <a:pt x="1488948" y="768731"/>
                </a:lnTo>
                <a:close/>
              </a:path>
              <a:path w="3662679" h="1463675">
                <a:moveTo>
                  <a:pt x="1578482" y="729869"/>
                </a:moveTo>
                <a:lnTo>
                  <a:pt x="1511300" y="758951"/>
                </a:lnTo>
                <a:lnTo>
                  <a:pt x="1521078" y="781431"/>
                </a:lnTo>
                <a:lnTo>
                  <a:pt x="1588134" y="752220"/>
                </a:lnTo>
                <a:lnTo>
                  <a:pt x="1578482" y="729869"/>
                </a:lnTo>
                <a:close/>
              </a:path>
              <a:path w="3662679" h="1463675">
                <a:moveTo>
                  <a:pt x="1668145" y="691388"/>
                </a:moveTo>
                <a:lnTo>
                  <a:pt x="1600834" y="720217"/>
                </a:lnTo>
                <a:lnTo>
                  <a:pt x="1610486" y="742569"/>
                </a:lnTo>
                <a:lnTo>
                  <a:pt x="1677670" y="713739"/>
                </a:lnTo>
                <a:lnTo>
                  <a:pt x="1668145" y="691388"/>
                </a:lnTo>
                <a:close/>
              </a:path>
              <a:path w="3662679" h="1463675">
                <a:moveTo>
                  <a:pt x="1757933" y="653161"/>
                </a:moveTo>
                <a:lnTo>
                  <a:pt x="1690497" y="681736"/>
                </a:lnTo>
                <a:lnTo>
                  <a:pt x="1700149" y="704088"/>
                </a:lnTo>
                <a:lnTo>
                  <a:pt x="1767458" y="675513"/>
                </a:lnTo>
                <a:lnTo>
                  <a:pt x="1757933" y="653161"/>
                </a:lnTo>
                <a:close/>
              </a:path>
              <a:path w="3662679" h="1463675">
                <a:moveTo>
                  <a:pt x="1847850" y="615188"/>
                </a:moveTo>
                <a:lnTo>
                  <a:pt x="1780412" y="643636"/>
                </a:lnTo>
                <a:lnTo>
                  <a:pt x="1789810" y="666114"/>
                </a:lnTo>
                <a:lnTo>
                  <a:pt x="1857248" y="637667"/>
                </a:lnTo>
                <a:lnTo>
                  <a:pt x="1847850" y="615188"/>
                </a:lnTo>
                <a:close/>
              </a:path>
              <a:path w="3662679" h="1463675">
                <a:moveTo>
                  <a:pt x="1937893" y="577723"/>
                </a:moveTo>
                <a:lnTo>
                  <a:pt x="1870328" y="605789"/>
                </a:lnTo>
                <a:lnTo>
                  <a:pt x="1879727" y="628269"/>
                </a:lnTo>
                <a:lnTo>
                  <a:pt x="1947290" y="600201"/>
                </a:lnTo>
                <a:lnTo>
                  <a:pt x="1937893" y="577723"/>
                </a:lnTo>
                <a:close/>
              </a:path>
              <a:path w="3662679" h="1463675">
                <a:moveTo>
                  <a:pt x="2028189" y="540766"/>
                </a:moveTo>
                <a:lnTo>
                  <a:pt x="1963674" y="566927"/>
                </a:lnTo>
                <a:lnTo>
                  <a:pt x="1960372" y="568325"/>
                </a:lnTo>
                <a:lnTo>
                  <a:pt x="1969770" y="590804"/>
                </a:lnTo>
                <a:lnTo>
                  <a:pt x="1973072" y="589533"/>
                </a:lnTo>
                <a:lnTo>
                  <a:pt x="2037460" y="563244"/>
                </a:lnTo>
                <a:lnTo>
                  <a:pt x="2028189" y="540766"/>
                </a:lnTo>
                <a:close/>
              </a:path>
              <a:path w="3662679" h="1463675">
                <a:moveTo>
                  <a:pt x="2118740" y="504189"/>
                </a:moveTo>
                <a:lnTo>
                  <a:pt x="2050796" y="531494"/>
                </a:lnTo>
                <a:lnTo>
                  <a:pt x="2060066" y="554101"/>
                </a:lnTo>
                <a:lnTo>
                  <a:pt x="2127757" y="526795"/>
                </a:lnTo>
                <a:lnTo>
                  <a:pt x="2118740" y="504189"/>
                </a:lnTo>
                <a:close/>
              </a:path>
              <a:path w="3662679" h="1463675">
                <a:moveTo>
                  <a:pt x="2209546" y="468122"/>
                </a:moveTo>
                <a:lnTo>
                  <a:pt x="2141474" y="495173"/>
                </a:lnTo>
                <a:lnTo>
                  <a:pt x="2150490" y="517779"/>
                </a:lnTo>
                <a:lnTo>
                  <a:pt x="2209800" y="494156"/>
                </a:lnTo>
                <a:lnTo>
                  <a:pt x="2218435" y="490855"/>
                </a:lnTo>
                <a:lnTo>
                  <a:pt x="2209546" y="468122"/>
                </a:lnTo>
                <a:close/>
              </a:path>
              <a:path w="3662679" h="1463675">
                <a:moveTo>
                  <a:pt x="2300478" y="432942"/>
                </a:moveTo>
                <a:lnTo>
                  <a:pt x="2232279" y="459358"/>
                </a:lnTo>
                <a:lnTo>
                  <a:pt x="2241041" y="481964"/>
                </a:lnTo>
                <a:lnTo>
                  <a:pt x="2309240" y="455675"/>
                </a:lnTo>
                <a:lnTo>
                  <a:pt x="2300478" y="432942"/>
                </a:lnTo>
                <a:close/>
              </a:path>
              <a:path w="3662679" h="1463675">
                <a:moveTo>
                  <a:pt x="2391918" y="398399"/>
                </a:moveTo>
                <a:lnTo>
                  <a:pt x="2323337" y="424179"/>
                </a:lnTo>
                <a:lnTo>
                  <a:pt x="2331974" y="447039"/>
                </a:lnTo>
                <a:lnTo>
                  <a:pt x="2400427" y="421259"/>
                </a:lnTo>
                <a:lnTo>
                  <a:pt x="2391918" y="398399"/>
                </a:lnTo>
                <a:close/>
              </a:path>
              <a:path w="3662679" h="1463675">
                <a:moveTo>
                  <a:pt x="2483484" y="364616"/>
                </a:moveTo>
                <a:lnTo>
                  <a:pt x="2414651" y="389763"/>
                </a:lnTo>
                <a:lnTo>
                  <a:pt x="2423286" y="412623"/>
                </a:lnTo>
                <a:lnTo>
                  <a:pt x="2491739" y="387476"/>
                </a:lnTo>
                <a:lnTo>
                  <a:pt x="2483484" y="364616"/>
                </a:lnTo>
                <a:close/>
              </a:path>
              <a:path w="3662679" h="1463675">
                <a:moveTo>
                  <a:pt x="2575305" y="331597"/>
                </a:moveTo>
                <a:lnTo>
                  <a:pt x="2506472" y="356235"/>
                </a:lnTo>
                <a:lnTo>
                  <a:pt x="2514727" y="379222"/>
                </a:lnTo>
                <a:lnTo>
                  <a:pt x="2583560" y="354584"/>
                </a:lnTo>
                <a:lnTo>
                  <a:pt x="2575305" y="331597"/>
                </a:lnTo>
                <a:close/>
              </a:path>
              <a:path w="3662679" h="1463675">
                <a:moveTo>
                  <a:pt x="2667507" y="299465"/>
                </a:moveTo>
                <a:lnTo>
                  <a:pt x="2598420" y="323469"/>
                </a:lnTo>
                <a:lnTo>
                  <a:pt x="2606548" y="346455"/>
                </a:lnTo>
                <a:lnTo>
                  <a:pt x="2675508" y="322452"/>
                </a:lnTo>
                <a:lnTo>
                  <a:pt x="2667507" y="299465"/>
                </a:lnTo>
                <a:close/>
              </a:path>
              <a:path w="3662679" h="1463675">
                <a:moveTo>
                  <a:pt x="2760090" y="268097"/>
                </a:moveTo>
                <a:lnTo>
                  <a:pt x="2690622" y="291464"/>
                </a:lnTo>
                <a:lnTo>
                  <a:pt x="2698496" y="314578"/>
                </a:lnTo>
                <a:lnTo>
                  <a:pt x="2767710" y="291211"/>
                </a:lnTo>
                <a:lnTo>
                  <a:pt x="2760090" y="268097"/>
                </a:lnTo>
                <a:close/>
              </a:path>
              <a:path w="3662679" h="1463675">
                <a:moveTo>
                  <a:pt x="2852801" y="237616"/>
                </a:moveTo>
                <a:lnTo>
                  <a:pt x="2783204" y="260350"/>
                </a:lnTo>
                <a:lnTo>
                  <a:pt x="2790825" y="283590"/>
                </a:lnTo>
                <a:lnTo>
                  <a:pt x="2860294" y="260730"/>
                </a:lnTo>
                <a:lnTo>
                  <a:pt x="2852801" y="237616"/>
                </a:lnTo>
                <a:close/>
              </a:path>
              <a:path w="3662679" h="1463675">
                <a:moveTo>
                  <a:pt x="2945764" y="207899"/>
                </a:moveTo>
                <a:lnTo>
                  <a:pt x="2876041" y="230124"/>
                </a:lnTo>
                <a:lnTo>
                  <a:pt x="2883534" y="253364"/>
                </a:lnTo>
                <a:lnTo>
                  <a:pt x="2953130" y="231139"/>
                </a:lnTo>
                <a:lnTo>
                  <a:pt x="2945764" y="207899"/>
                </a:lnTo>
                <a:close/>
              </a:path>
              <a:path w="3662679" h="1463675">
                <a:moveTo>
                  <a:pt x="3039109" y="179197"/>
                </a:moveTo>
                <a:lnTo>
                  <a:pt x="2969132" y="200660"/>
                </a:lnTo>
                <a:lnTo>
                  <a:pt x="2976372" y="223900"/>
                </a:lnTo>
                <a:lnTo>
                  <a:pt x="3046222" y="202564"/>
                </a:lnTo>
                <a:lnTo>
                  <a:pt x="3039109" y="179197"/>
                </a:lnTo>
                <a:close/>
              </a:path>
              <a:path w="3662679" h="1463675">
                <a:moveTo>
                  <a:pt x="3132708" y="151257"/>
                </a:moveTo>
                <a:lnTo>
                  <a:pt x="3062478" y="172085"/>
                </a:lnTo>
                <a:lnTo>
                  <a:pt x="3069589" y="195452"/>
                </a:lnTo>
                <a:lnTo>
                  <a:pt x="3139566" y="174625"/>
                </a:lnTo>
                <a:lnTo>
                  <a:pt x="3132708" y="151257"/>
                </a:lnTo>
                <a:close/>
              </a:path>
              <a:path w="3662679" h="1463675">
                <a:moveTo>
                  <a:pt x="3226434" y="123951"/>
                </a:moveTo>
                <a:lnTo>
                  <a:pt x="3156077" y="144272"/>
                </a:lnTo>
                <a:lnTo>
                  <a:pt x="3162934" y="167639"/>
                </a:lnTo>
                <a:lnTo>
                  <a:pt x="3233165" y="147447"/>
                </a:lnTo>
                <a:lnTo>
                  <a:pt x="3226434" y="123951"/>
                </a:lnTo>
                <a:close/>
              </a:path>
              <a:path w="3662679" h="1463675">
                <a:moveTo>
                  <a:pt x="3320287" y="97409"/>
                </a:moveTo>
                <a:lnTo>
                  <a:pt x="3249929" y="117221"/>
                </a:lnTo>
                <a:lnTo>
                  <a:pt x="3256660" y="140715"/>
                </a:lnTo>
                <a:lnTo>
                  <a:pt x="3263010" y="138811"/>
                </a:lnTo>
                <a:lnTo>
                  <a:pt x="3327019" y="120903"/>
                </a:lnTo>
                <a:lnTo>
                  <a:pt x="3320287" y="97409"/>
                </a:lnTo>
                <a:close/>
              </a:path>
              <a:path w="3662679" h="1463675">
                <a:moveTo>
                  <a:pt x="3414395" y="71374"/>
                </a:moveTo>
                <a:lnTo>
                  <a:pt x="3343909" y="90804"/>
                </a:lnTo>
                <a:lnTo>
                  <a:pt x="3350386" y="114300"/>
                </a:lnTo>
                <a:lnTo>
                  <a:pt x="3420872" y="94869"/>
                </a:lnTo>
                <a:lnTo>
                  <a:pt x="3414395" y="71374"/>
                </a:lnTo>
                <a:close/>
              </a:path>
              <a:path w="3662679" h="1463675">
                <a:moveTo>
                  <a:pt x="3508629" y="45720"/>
                </a:moveTo>
                <a:lnTo>
                  <a:pt x="3438016" y="64897"/>
                </a:lnTo>
                <a:lnTo>
                  <a:pt x="3444366" y="88391"/>
                </a:lnTo>
                <a:lnTo>
                  <a:pt x="3506470" y="71500"/>
                </a:lnTo>
                <a:lnTo>
                  <a:pt x="3514979" y="69341"/>
                </a:lnTo>
                <a:lnTo>
                  <a:pt x="3508629" y="45720"/>
                </a:lnTo>
                <a:close/>
              </a:path>
              <a:path w="3662679" h="1463675">
                <a:moveTo>
                  <a:pt x="3657379" y="21716"/>
                </a:moveTo>
                <a:lnTo>
                  <a:pt x="3598163" y="21716"/>
                </a:lnTo>
                <a:lnTo>
                  <a:pt x="3604513" y="45212"/>
                </a:lnTo>
                <a:lnTo>
                  <a:pt x="3592229" y="48519"/>
                </a:lnTo>
                <a:lnTo>
                  <a:pt x="3598926" y="73533"/>
                </a:lnTo>
                <a:lnTo>
                  <a:pt x="3657379" y="21716"/>
                </a:lnTo>
                <a:close/>
              </a:path>
              <a:path w="3662679" h="1463675">
                <a:moveTo>
                  <a:pt x="3585930" y="24987"/>
                </a:moveTo>
                <a:lnTo>
                  <a:pt x="3532124" y="39370"/>
                </a:lnTo>
                <a:lnTo>
                  <a:pt x="3538474" y="62991"/>
                </a:lnTo>
                <a:lnTo>
                  <a:pt x="3592229" y="48519"/>
                </a:lnTo>
                <a:lnTo>
                  <a:pt x="3585930" y="24987"/>
                </a:lnTo>
                <a:close/>
              </a:path>
              <a:path w="3662679" h="1463675">
                <a:moveTo>
                  <a:pt x="3598163" y="21716"/>
                </a:moveTo>
                <a:lnTo>
                  <a:pt x="3585930" y="24987"/>
                </a:lnTo>
                <a:lnTo>
                  <a:pt x="3592229" y="48519"/>
                </a:lnTo>
                <a:lnTo>
                  <a:pt x="3604513" y="45212"/>
                </a:lnTo>
                <a:lnTo>
                  <a:pt x="3598163" y="21716"/>
                </a:lnTo>
                <a:close/>
              </a:path>
              <a:path w="3662679" h="1463675">
                <a:moveTo>
                  <a:pt x="3579240" y="0"/>
                </a:moveTo>
                <a:lnTo>
                  <a:pt x="3585930" y="24987"/>
                </a:lnTo>
                <a:lnTo>
                  <a:pt x="3598163" y="21716"/>
                </a:lnTo>
                <a:lnTo>
                  <a:pt x="3657379" y="21716"/>
                </a:lnTo>
                <a:lnTo>
                  <a:pt x="3662679" y="17017"/>
                </a:lnTo>
                <a:lnTo>
                  <a:pt x="3579240" y="0"/>
                </a:lnTo>
                <a:close/>
              </a:path>
            </a:pathLst>
          </a:custGeom>
          <a:solidFill>
            <a:srgbClr val="73737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object 50"/>
          <p:cNvSpPr txBox="1"/>
          <p:nvPr/>
        </p:nvSpPr>
        <p:spPr>
          <a:xfrm>
            <a:off x="6874509" y="5363971"/>
            <a:ext cx="4381500" cy="1001394"/>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1499"/>
              </a:lnSpc>
              <a:spcBef>
                <a:spcPts val="100"/>
              </a:spcBef>
              <a:spcAft>
                <a:spcPts val="0"/>
              </a:spcAft>
              <a:buClrTx/>
              <a:buSzTx/>
              <a:buFontTx/>
              <a:buNone/>
              <a:tabLst/>
              <a:defRPr/>
            </a:pPr>
            <a:r>
              <a:rPr kumimoji="0" sz="2100" b="0" i="0" u="none" strike="noStrike" kern="1200" cap="none" spc="55" normalizeH="0" baseline="0" noProof="0" dirty="0">
                <a:ln>
                  <a:noFill/>
                </a:ln>
                <a:solidFill>
                  <a:srgbClr val="003B55"/>
                </a:solidFill>
                <a:effectLst/>
                <a:uLnTx/>
                <a:uFillTx/>
                <a:latin typeface="Arial"/>
                <a:ea typeface="+mn-ea"/>
                <a:cs typeface="Arial"/>
              </a:rPr>
              <a:t>2. </a:t>
            </a:r>
            <a:r>
              <a:rPr kumimoji="0" sz="2100" b="0" i="0" u="none" strike="noStrike" kern="1200" cap="none" spc="10" normalizeH="0" baseline="0" noProof="0" dirty="0">
                <a:ln>
                  <a:noFill/>
                </a:ln>
                <a:solidFill>
                  <a:srgbClr val="003B55"/>
                </a:solidFill>
                <a:effectLst/>
                <a:uLnTx/>
                <a:uFillTx/>
                <a:latin typeface="Arial"/>
                <a:ea typeface="+mn-ea"/>
                <a:cs typeface="Arial"/>
              </a:rPr>
              <a:t>Ansible </a:t>
            </a:r>
            <a:r>
              <a:rPr kumimoji="0" sz="2100" b="0" i="0" u="none" strike="noStrike" kern="1200" cap="none" spc="40" normalizeH="0" baseline="0" noProof="0" dirty="0">
                <a:ln>
                  <a:noFill/>
                </a:ln>
                <a:solidFill>
                  <a:srgbClr val="003B55"/>
                </a:solidFill>
                <a:effectLst/>
                <a:uLnTx/>
                <a:uFillTx/>
                <a:latin typeface="Arial"/>
                <a:ea typeface="+mn-ea"/>
                <a:cs typeface="Arial"/>
              </a:rPr>
              <a:t>copies </a:t>
            </a:r>
            <a:r>
              <a:rPr kumimoji="0" sz="2100" b="0" i="0" u="none" strike="noStrike" kern="1200" cap="none" spc="30" normalizeH="0" baseline="0" noProof="0" dirty="0">
                <a:ln>
                  <a:noFill/>
                </a:ln>
                <a:solidFill>
                  <a:srgbClr val="003B55"/>
                </a:solidFill>
                <a:effectLst/>
                <a:uLnTx/>
                <a:uFillTx/>
                <a:latin typeface="Arial"/>
                <a:ea typeface="+mn-ea"/>
                <a:cs typeface="Arial"/>
              </a:rPr>
              <a:t>modules </a:t>
            </a:r>
            <a:r>
              <a:rPr kumimoji="0" sz="2100" b="0" i="0" u="none" strike="noStrike" kern="1200" cap="none" spc="10" normalizeH="0" baseline="0" noProof="0" dirty="0">
                <a:ln>
                  <a:noFill/>
                </a:ln>
                <a:solidFill>
                  <a:srgbClr val="003B55"/>
                </a:solidFill>
                <a:effectLst/>
                <a:uLnTx/>
                <a:uFillTx/>
                <a:latin typeface="Arial"/>
                <a:ea typeface="+mn-ea"/>
                <a:cs typeface="Arial"/>
              </a:rPr>
              <a:t>typically  </a:t>
            </a:r>
            <a:r>
              <a:rPr kumimoji="0" sz="2100" b="0" i="0" u="none" strike="noStrike" kern="1200" cap="none" spc="35" normalizeH="0" baseline="0" noProof="0" dirty="0">
                <a:ln>
                  <a:noFill/>
                </a:ln>
                <a:solidFill>
                  <a:srgbClr val="003B55"/>
                </a:solidFill>
                <a:effectLst/>
                <a:uLnTx/>
                <a:uFillTx/>
                <a:latin typeface="Arial"/>
                <a:ea typeface="+mn-ea"/>
                <a:cs typeface="Arial"/>
              </a:rPr>
              <a:t>written </a:t>
            </a:r>
            <a:r>
              <a:rPr kumimoji="0" sz="2100" b="0" i="0" u="none" strike="noStrike" kern="1200" cap="none" spc="-5" normalizeH="0" baseline="0" noProof="0" dirty="0">
                <a:ln>
                  <a:noFill/>
                </a:ln>
                <a:solidFill>
                  <a:srgbClr val="003B55"/>
                </a:solidFill>
                <a:effectLst/>
                <a:uLnTx/>
                <a:uFillTx/>
                <a:latin typeface="Arial"/>
                <a:ea typeface="+mn-ea"/>
                <a:cs typeface="Arial"/>
              </a:rPr>
              <a:t>in </a:t>
            </a:r>
            <a:r>
              <a:rPr kumimoji="0" sz="2100" b="0" i="0" u="none" strike="noStrike" kern="1200" cap="none" spc="5" normalizeH="0" baseline="0" noProof="0" dirty="0">
                <a:ln>
                  <a:noFill/>
                </a:ln>
                <a:solidFill>
                  <a:srgbClr val="003B55"/>
                </a:solidFill>
                <a:effectLst/>
                <a:uLnTx/>
                <a:uFillTx/>
                <a:latin typeface="Arial"/>
                <a:ea typeface="+mn-ea"/>
                <a:cs typeface="Arial"/>
              </a:rPr>
              <a:t>Python </a:t>
            </a:r>
            <a:r>
              <a:rPr kumimoji="0" sz="2100" b="0" i="0" u="none" strike="noStrike" kern="1200" cap="none" spc="50" normalizeH="0" baseline="0" noProof="0" dirty="0">
                <a:ln>
                  <a:noFill/>
                </a:ln>
                <a:solidFill>
                  <a:srgbClr val="003B55"/>
                </a:solidFill>
                <a:effectLst/>
                <a:uLnTx/>
                <a:uFillTx/>
                <a:latin typeface="Arial"/>
                <a:ea typeface="+mn-ea"/>
                <a:cs typeface="Arial"/>
              </a:rPr>
              <a:t>to remote </a:t>
            </a:r>
            <a:r>
              <a:rPr kumimoji="0" sz="2100" b="0" i="0" u="none" strike="noStrike" kern="1200" cap="none" spc="25" normalizeH="0" baseline="0" noProof="0" dirty="0">
                <a:ln>
                  <a:noFill/>
                </a:ln>
                <a:solidFill>
                  <a:srgbClr val="003B55"/>
                </a:solidFill>
                <a:effectLst/>
                <a:uLnTx/>
                <a:uFillTx/>
                <a:latin typeface="Arial"/>
                <a:ea typeface="+mn-ea"/>
                <a:cs typeface="Arial"/>
              </a:rPr>
              <a:t>hosts </a:t>
            </a:r>
            <a:r>
              <a:rPr kumimoji="0" sz="2100" b="0" i="0" u="none" strike="noStrike" kern="1200" cap="none" spc="50" normalizeH="0" baseline="0" noProof="0" dirty="0">
                <a:ln>
                  <a:noFill/>
                </a:ln>
                <a:solidFill>
                  <a:srgbClr val="003B55"/>
                </a:solidFill>
                <a:effectLst/>
                <a:uLnTx/>
                <a:uFillTx/>
                <a:latin typeface="Arial"/>
                <a:ea typeface="+mn-ea"/>
                <a:cs typeface="Arial"/>
              </a:rPr>
              <a:t>to  execute</a:t>
            </a:r>
            <a:r>
              <a:rPr kumimoji="0" sz="2100" b="0" i="0" u="none" strike="noStrike" kern="1200" cap="none" spc="-60" normalizeH="0" baseline="0" noProof="0" dirty="0">
                <a:ln>
                  <a:noFill/>
                </a:ln>
                <a:solidFill>
                  <a:srgbClr val="003B55"/>
                </a:solidFill>
                <a:effectLst/>
                <a:uLnTx/>
                <a:uFillTx/>
                <a:latin typeface="Arial"/>
                <a:ea typeface="+mn-ea"/>
                <a:cs typeface="Arial"/>
              </a:rPr>
              <a:t> </a:t>
            </a:r>
            <a:r>
              <a:rPr kumimoji="0" sz="2100" b="0" i="0" u="none" strike="noStrike" kern="1200" cap="none" spc="0" normalizeH="0" baseline="0" noProof="0" dirty="0">
                <a:ln>
                  <a:noFill/>
                </a:ln>
                <a:solidFill>
                  <a:srgbClr val="003B55"/>
                </a:solidFill>
                <a:effectLst/>
                <a:uLnTx/>
                <a:uFillTx/>
                <a:latin typeface="Arial"/>
                <a:ea typeface="+mn-ea"/>
                <a:cs typeface="Arial"/>
              </a:rPr>
              <a:t>tasks</a:t>
            </a:r>
            <a:endParaRPr kumimoji="0" sz="2100" b="0" i="0" u="none" strike="noStrike" kern="1200" cap="none" spc="0" normalizeH="0" baseline="0" noProof="0">
              <a:ln>
                <a:noFill/>
              </a:ln>
              <a:solidFill>
                <a:prstClr val="black"/>
              </a:solidFill>
              <a:effectLst/>
              <a:uLnTx/>
              <a:uFillTx/>
              <a:latin typeface="Arial"/>
              <a:ea typeface="+mn-ea"/>
              <a:cs typeface="Arial"/>
            </a:endParaRPr>
          </a:p>
        </p:txBody>
      </p:sp>
      <p:sp>
        <p:nvSpPr>
          <p:cNvPr id="51" name="object 51"/>
          <p:cNvSpPr/>
          <p:nvPr/>
        </p:nvSpPr>
        <p:spPr>
          <a:xfrm>
            <a:off x="3041904" y="3892296"/>
            <a:ext cx="2401823" cy="1929383"/>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52"/>
          <p:cNvSpPr/>
          <p:nvPr/>
        </p:nvSpPr>
        <p:spPr>
          <a:xfrm>
            <a:off x="3249167" y="4492752"/>
            <a:ext cx="338328" cy="347472"/>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object 53"/>
          <p:cNvSpPr txBox="1"/>
          <p:nvPr/>
        </p:nvSpPr>
        <p:spPr>
          <a:xfrm>
            <a:off x="706627" y="6355181"/>
            <a:ext cx="3641090" cy="16256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5053171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74903" y="1623441"/>
            <a:ext cx="5118735" cy="4474210"/>
          </a:xfrm>
          <a:prstGeom prst="rect">
            <a:avLst/>
          </a:prstGeom>
        </p:spPr>
        <p:txBody>
          <a:bodyPr vert="horz" wrap="square" lIns="0" tIns="14605" rIns="0" bIns="0" rtlCol="0">
            <a:spAutoFit/>
          </a:bodyPr>
          <a:lstStyle/>
          <a:p>
            <a:pPr marL="167640" marR="0" lvl="0" indent="-154940" algn="l" defTabSz="914400" rtl="0" eaLnBrk="1" fontAlgn="auto" latinLnBrk="0" hangingPunct="1">
              <a:lnSpc>
                <a:spcPts val="3100"/>
              </a:lnSpc>
              <a:spcBef>
                <a:spcPts val="115"/>
              </a:spcBef>
              <a:spcAft>
                <a:spcPts val="0"/>
              </a:spcAft>
              <a:buClrTx/>
              <a:buSzPct val="60377"/>
              <a:buFontTx/>
              <a:buChar char="•"/>
              <a:tabLst>
                <a:tab pos="168275" algn="l"/>
              </a:tabLst>
              <a:defRPr/>
            </a:pPr>
            <a:r>
              <a:rPr kumimoji="0" sz="2650" b="0" i="0" u="none" strike="noStrike" kern="1200" cap="none" spc="-10" normalizeH="0" baseline="0" noProof="0" dirty="0">
                <a:ln>
                  <a:noFill/>
                </a:ln>
                <a:solidFill>
                  <a:srgbClr val="282828"/>
                </a:solidFill>
                <a:effectLst/>
                <a:uLnTx/>
                <a:uFillTx/>
                <a:latin typeface="Arial"/>
                <a:ea typeface="+mn-ea"/>
                <a:cs typeface="Arial"/>
              </a:rPr>
              <a:t>Linux </a:t>
            </a:r>
            <a:r>
              <a:rPr kumimoji="0" sz="2650" b="0" i="0" u="none" strike="noStrike" kern="1200" cap="none" spc="25" normalizeH="0" baseline="0" noProof="0" dirty="0">
                <a:ln>
                  <a:noFill/>
                </a:ln>
                <a:solidFill>
                  <a:srgbClr val="282828"/>
                </a:solidFill>
                <a:effectLst/>
                <a:uLnTx/>
                <a:uFillTx/>
                <a:latin typeface="Arial"/>
                <a:ea typeface="+mn-ea"/>
                <a:cs typeface="Arial"/>
              </a:rPr>
              <a:t>host </a:t>
            </a:r>
            <a:r>
              <a:rPr kumimoji="0" sz="2650" b="0" i="0" u="none" strike="noStrike" kern="1200" cap="none" spc="30" normalizeH="0" baseline="0" noProof="0" dirty="0">
                <a:ln>
                  <a:noFill/>
                </a:ln>
                <a:solidFill>
                  <a:srgbClr val="282828"/>
                </a:solidFill>
                <a:effectLst/>
                <a:uLnTx/>
                <a:uFillTx/>
                <a:latin typeface="Arial"/>
                <a:ea typeface="+mn-ea"/>
                <a:cs typeface="Arial"/>
              </a:rPr>
              <a:t>with </a:t>
            </a:r>
            <a:r>
              <a:rPr kumimoji="0" sz="2650" b="0" i="0" u="none" strike="noStrike" kern="1200" cap="none" spc="-65" normalizeH="0" baseline="0" noProof="0" dirty="0">
                <a:ln>
                  <a:noFill/>
                </a:ln>
                <a:solidFill>
                  <a:srgbClr val="282828"/>
                </a:solidFill>
                <a:effectLst/>
                <a:uLnTx/>
                <a:uFillTx/>
                <a:latin typeface="Arial"/>
                <a:ea typeface="+mn-ea"/>
                <a:cs typeface="Arial"/>
              </a:rPr>
              <a:t>a </a:t>
            </a:r>
            <a:r>
              <a:rPr kumimoji="0" sz="2650" b="0" i="0" u="none" strike="noStrike" kern="1200" cap="none" spc="0" normalizeH="0" baseline="0" noProof="0" dirty="0">
                <a:ln>
                  <a:noFill/>
                </a:ln>
                <a:solidFill>
                  <a:srgbClr val="282828"/>
                </a:solidFill>
                <a:effectLst/>
                <a:uLnTx/>
                <a:uFillTx/>
                <a:latin typeface="Arial"/>
                <a:ea typeface="+mn-ea"/>
                <a:cs typeface="Arial"/>
              </a:rPr>
              <a:t>Python</a:t>
            </a:r>
            <a:r>
              <a:rPr kumimoji="0" sz="2650" b="0" i="0" u="none" strike="noStrike" kern="1200" cap="none" spc="300" normalizeH="0" baseline="0" noProof="0" dirty="0">
                <a:ln>
                  <a:noFill/>
                </a:ln>
                <a:solidFill>
                  <a:srgbClr val="282828"/>
                </a:solidFill>
                <a:effectLst/>
                <a:uLnTx/>
                <a:uFillTx/>
                <a:latin typeface="Arial"/>
                <a:ea typeface="+mn-ea"/>
                <a:cs typeface="Arial"/>
              </a:rPr>
              <a:t> </a:t>
            </a:r>
            <a:r>
              <a:rPr kumimoji="0" sz="2650" b="0" i="0" u="none" strike="noStrike" kern="1200" cap="none" spc="0" normalizeH="0" baseline="0" noProof="0" dirty="0">
                <a:ln>
                  <a:noFill/>
                </a:ln>
                <a:solidFill>
                  <a:srgbClr val="282828"/>
                </a:solidFill>
                <a:effectLst/>
                <a:uLnTx/>
                <a:uFillTx/>
                <a:latin typeface="Arial"/>
                <a:ea typeface="+mn-ea"/>
                <a:cs typeface="Arial"/>
              </a:rPr>
              <a:t>and</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3100"/>
              </a:lnSpc>
              <a:spcBef>
                <a:spcPts val="0"/>
              </a:spcBef>
              <a:spcAft>
                <a:spcPts val="0"/>
              </a:spcAft>
              <a:buClrTx/>
              <a:buSzTx/>
              <a:buFontTx/>
              <a:buNone/>
              <a:tabLst/>
              <a:defRPr/>
            </a:pPr>
            <a:r>
              <a:rPr kumimoji="0" sz="2650" b="0" i="0" u="none" strike="noStrike" kern="1200" cap="none" spc="25" normalizeH="0" baseline="0" noProof="0" dirty="0">
                <a:ln>
                  <a:noFill/>
                </a:ln>
                <a:solidFill>
                  <a:srgbClr val="282828"/>
                </a:solidFill>
                <a:effectLst/>
                <a:uLnTx/>
                <a:uFillTx/>
                <a:latin typeface="Arial"/>
                <a:ea typeface="+mn-ea"/>
                <a:cs typeface="Arial"/>
              </a:rPr>
              <a:t>the </a:t>
            </a:r>
            <a:r>
              <a:rPr kumimoji="0" sz="2650" b="0" i="0" u="none" strike="noStrike" kern="1200" cap="none" spc="-5" normalizeH="0" baseline="0" noProof="0" dirty="0">
                <a:ln>
                  <a:noFill/>
                </a:ln>
                <a:solidFill>
                  <a:srgbClr val="282828"/>
                </a:solidFill>
                <a:effectLst/>
                <a:uLnTx/>
                <a:uFillTx/>
                <a:latin typeface="Arial"/>
                <a:ea typeface="+mn-ea"/>
                <a:cs typeface="Arial"/>
              </a:rPr>
              <a:t>Ansible</a:t>
            </a:r>
            <a:r>
              <a:rPr kumimoji="0" sz="2650" b="0" i="0" u="none" strike="noStrike" kern="1200" cap="none" spc="105" normalizeH="0" baseline="0" noProof="0" dirty="0">
                <a:ln>
                  <a:noFill/>
                </a:ln>
                <a:solidFill>
                  <a:srgbClr val="282828"/>
                </a:solidFill>
                <a:effectLst/>
                <a:uLnTx/>
                <a:uFillTx/>
                <a:latin typeface="Arial"/>
                <a:ea typeface="+mn-ea"/>
                <a:cs typeface="Arial"/>
              </a:rPr>
              <a:t> </a:t>
            </a:r>
            <a:r>
              <a:rPr kumimoji="0" sz="2650" b="0" i="0" u="none" strike="noStrike" kern="1200" cap="none" spc="-5" normalizeH="0" baseline="0" noProof="0" dirty="0">
                <a:ln>
                  <a:noFill/>
                </a:ln>
                <a:solidFill>
                  <a:srgbClr val="282828"/>
                </a:solidFill>
                <a:effectLst/>
                <a:uLnTx/>
                <a:uFillTx/>
                <a:latin typeface="Arial"/>
                <a:ea typeface="+mn-ea"/>
                <a:cs typeface="Arial"/>
              </a:rPr>
              <a:t>installed</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ts val="3115"/>
              </a:lnSpc>
              <a:spcBef>
                <a:spcPts val="1355"/>
              </a:spcBef>
              <a:spcAft>
                <a:spcPts val="0"/>
              </a:spcAft>
              <a:buClrTx/>
              <a:buSzPct val="60377"/>
              <a:buFontTx/>
              <a:buChar char="•"/>
              <a:tabLst>
                <a:tab pos="168275" algn="l"/>
              </a:tabLst>
              <a:defRPr/>
            </a:pPr>
            <a:r>
              <a:rPr kumimoji="0" sz="2650" b="0" i="0" u="none" strike="noStrike" kern="1200" cap="none" spc="25" normalizeH="0" baseline="0" noProof="0" dirty="0">
                <a:ln>
                  <a:noFill/>
                </a:ln>
                <a:solidFill>
                  <a:srgbClr val="282828"/>
                </a:solidFill>
                <a:effectLst/>
                <a:uLnTx/>
                <a:uFillTx/>
                <a:latin typeface="Arial"/>
                <a:ea typeface="+mn-ea"/>
                <a:cs typeface="Arial"/>
              </a:rPr>
              <a:t>Support </a:t>
            </a:r>
            <a:r>
              <a:rPr kumimoji="0" sz="2650" b="0" i="0" u="none" strike="noStrike" kern="1200" cap="none" spc="15" normalizeH="0" baseline="0" noProof="0" dirty="0">
                <a:ln>
                  <a:noFill/>
                </a:ln>
                <a:solidFill>
                  <a:srgbClr val="282828"/>
                </a:solidFill>
                <a:effectLst/>
                <a:uLnTx/>
                <a:uFillTx/>
                <a:latin typeface="Arial"/>
                <a:ea typeface="+mn-ea"/>
                <a:cs typeface="Arial"/>
              </a:rPr>
              <a:t>transport </a:t>
            </a:r>
            <a:r>
              <a:rPr kumimoji="0" sz="2650" b="0" i="0" u="none" strike="noStrike" kern="1200" cap="none" spc="55" normalizeH="0" baseline="0" noProof="0" dirty="0">
                <a:ln>
                  <a:noFill/>
                </a:ln>
                <a:solidFill>
                  <a:srgbClr val="282828"/>
                </a:solidFill>
                <a:effectLst/>
                <a:uLnTx/>
                <a:uFillTx/>
                <a:latin typeface="Arial"/>
                <a:ea typeface="+mn-ea"/>
                <a:cs typeface="Arial"/>
              </a:rPr>
              <a:t>to</a:t>
            </a:r>
            <a:r>
              <a:rPr kumimoji="0" sz="2650" b="0" i="0" u="none" strike="noStrike" kern="1200" cap="none" spc="150" normalizeH="0" baseline="0" noProof="0" dirty="0">
                <a:ln>
                  <a:noFill/>
                </a:ln>
                <a:solidFill>
                  <a:srgbClr val="282828"/>
                </a:solidFill>
                <a:effectLst/>
                <a:uLnTx/>
                <a:uFillTx/>
                <a:latin typeface="Arial"/>
                <a:ea typeface="+mn-ea"/>
                <a:cs typeface="Arial"/>
              </a:rPr>
              <a:t> </a:t>
            </a:r>
            <a:r>
              <a:rPr kumimoji="0" sz="2650" b="0" i="0" u="none" strike="noStrike" kern="1200" cap="none" spc="50" normalizeH="0" baseline="0" noProof="0" dirty="0">
                <a:ln>
                  <a:noFill/>
                </a:ln>
                <a:solidFill>
                  <a:srgbClr val="282828"/>
                </a:solidFill>
                <a:effectLst/>
                <a:uLnTx/>
                <a:uFillTx/>
                <a:latin typeface="Arial"/>
                <a:ea typeface="+mn-ea"/>
                <a:cs typeface="Arial"/>
              </a:rPr>
              <a:t>remote</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3115"/>
              </a:lnSpc>
              <a:spcBef>
                <a:spcPts val="0"/>
              </a:spcBef>
              <a:spcAft>
                <a:spcPts val="0"/>
              </a:spcAft>
              <a:buClrTx/>
              <a:buSzTx/>
              <a:buFontTx/>
              <a:buNone/>
              <a:tabLst/>
              <a:defRPr/>
            </a:pPr>
            <a:r>
              <a:rPr kumimoji="0" sz="2650" b="0" i="0" u="none" strike="noStrike" kern="1200" cap="none" spc="15" normalizeH="0" baseline="0" noProof="0" dirty="0">
                <a:ln>
                  <a:noFill/>
                </a:ln>
                <a:solidFill>
                  <a:srgbClr val="282828"/>
                </a:solidFill>
                <a:effectLst/>
                <a:uLnTx/>
                <a:uFillTx/>
                <a:latin typeface="Arial"/>
                <a:ea typeface="+mn-ea"/>
                <a:cs typeface="Arial"/>
              </a:rPr>
              <a:t>hosts</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55"/>
              </a:spcBef>
              <a:spcAft>
                <a:spcPts val="0"/>
              </a:spcAft>
              <a:buClrTx/>
              <a:buSzPct val="60416"/>
              <a:buFontTx/>
              <a:buChar char="•"/>
              <a:tabLst>
                <a:tab pos="320675" algn="l"/>
              </a:tabLst>
              <a:defRPr/>
            </a:pPr>
            <a:r>
              <a:rPr kumimoji="0" sz="2400" b="0" i="0" u="none" strike="noStrike" kern="1200" cap="none" spc="-15" normalizeH="0" baseline="0" noProof="0" dirty="0">
                <a:ln>
                  <a:noFill/>
                </a:ln>
                <a:solidFill>
                  <a:srgbClr val="282828"/>
                </a:solidFill>
                <a:effectLst/>
                <a:uLnTx/>
                <a:uFillTx/>
                <a:latin typeface="Arial"/>
                <a:ea typeface="+mn-ea"/>
                <a:cs typeface="Arial"/>
              </a:rPr>
              <a:t>Typically </a:t>
            </a:r>
            <a:r>
              <a:rPr kumimoji="0" sz="2400" b="0" i="0" u="none" strike="noStrike" kern="1200" cap="none" spc="-65" normalizeH="0" baseline="0" noProof="0" dirty="0">
                <a:ln>
                  <a:noFill/>
                </a:ln>
                <a:solidFill>
                  <a:srgbClr val="282828"/>
                </a:solidFill>
                <a:effectLst/>
                <a:uLnTx/>
                <a:uFillTx/>
                <a:latin typeface="Arial"/>
                <a:ea typeface="+mn-ea"/>
                <a:cs typeface="Arial"/>
              </a:rPr>
              <a:t>SSH </a:t>
            </a:r>
            <a:r>
              <a:rPr kumimoji="0" sz="2400" b="0" i="0" u="none" strike="noStrike" kern="1200" cap="none" spc="25" normalizeH="0" baseline="0" noProof="0" dirty="0">
                <a:ln>
                  <a:noFill/>
                </a:ln>
                <a:solidFill>
                  <a:srgbClr val="282828"/>
                </a:solidFill>
                <a:effectLst/>
                <a:uLnTx/>
                <a:uFillTx/>
                <a:latin typeface="Arial"/>
                <a:ea typeface="+mn-ea"/>
                <a:cs typeface="Arial"/>
              </a:rPr>
              <a:t>but could </a:t>
            </a:r>
            <a:r>
              <a:rPr kumimoji="0" sz="2400" b="0" i="0" u="none" strike="noStrike" kern="1200" cap="none" spc="0" normalizeH="0" baseline="0" noProof="0" dirty="0">
                <a:ln>
                  <a:noFill/>
                </a:ln>
                <a:solidFill>
                  <a:srgbClr val="282828"/>
                </a:solidFill>
                <a:effectLst/>
                <a:uLnTx/>
                <a:uFillTx/>
                <a:latin typeface="Arial"/>
                <a:ea typeface="+mn-ea"/>
                <a:cs typeface="Arial"/>
              </a:rPr>
              <a:t>use </a:t>
            </a:r>
            <a:r>
              <a:rPr kumimoji="0" sz="2400" b="0" i="0" u="none" strike="noStrike" kern="1200" cap="none" spc="-40" normalizeH="0" baseline="0" noProof="0" dirty="0">
                <a:ln>
                  <a:noFill/>
                </a:ln>
                <a:solidFill>
                  <a:srgbClr val="282828"/>
                </a:solidFill>
                <a:effectLst/>
                <a:uLnTx/>
                <a:uFillTx/>
                <a:latin typeface="Arial"/>
                <a:ea typeface="+mn-ea"/>
                <a:cs typeface="Arial"/>
              </a:rPr>
              <a:t>an</a:t>
            </a:r>
            <a:r>
              <a:rPr kumimoji="0" sz="2400" b="0" i="0" u="none" strike="noStrike" kern="1200" cap="none" spc="250" normalizeH="0" baseline="0" noProof="0" dirty="0">
                <a:ln>
                  <a:noFill/>
                </a:ln>
                <a:solidFill>
                  <a:srgbClr val="282828"/>
                </a:solidFill>
                <a:effectLst/>
                <a:uLnTx/>
                <a:uFillTx/>
                <a:latin typeface="Arial"/>
                <a:ea typeface="+mn-ea"/>
                <a:cs typeface="Arial"/>
              </a:rPr>
              <a:t> </a:t>
            </a:r>
            <a:r>
              <a:rPr kumimoji="0" sz="2400" b="0" i="0" u="none" strike="noStrike" kern="1200" cap="none" spc="-85" normalizeH="0" baseline="0" noProof="0" dirty="0">
                <a:ln>
                  <a:noFill/>
                </a:ln>
                <a:solidFill>
                  <a:srgbClr val="282828"/>
                </a:solidFill>
                <a:effectLst/>
                <a:uLnTx/>
                <a:uFillTx/>
                <a:latin typeface="Arial"/>
                <a:ea typeface="+mn-ea"/>
                <a:cs typeface="Arial"/>
              </a:rPr>
              <a:t>API</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55"/>
              </a:spcBef>
              <a:spcAft>
                <a:spcPts val="0"/>
              </a:spcAft>
              <a:buClrTx/>
              <a:buSzPct val="60377"/>
              <a:buFontTx/>
              <a:buChar char="•"/>
              <a:tabLst>
                <a:tab pos="168275" algn="l"/>
              </a:tabLst>
              <a:defRPr/>
            </a:pPr>
            <a:r>
              <a:rPr kumimoji="0" sz="2650" b="0" i="0" u="none" strike="noStrike" kern="1200" cap="none" spc="-5" normalizeH="0" baseline="0" noProof="0" dirty="0">
                <a:ln>
                  <a:noFill/>
                </a:ln>
                <a:solidFill>
                  <a:srgbClr val="282828"/>
                </a:solidFill>
                <a:effectLst/>
                <a:uLnTx/>
                <a:uFillTx/>
                <a:latin typeface="Arial"/>
                <a:ea typeface="+mn-ea"/>
                <a:cs typeface="Arial"/>
              </a:rPr>
              <a:t>Ansible</a:t>
            </a:r>
            <a:r>
              <a:rPr kumimoji="0" sz="2650" b="0" i="0" u="none" strike="noStrike" kern="1200" cap="none" spc="55" normalizeH="0" baseline="0" noProof="0" dirty="0">
                <a:ln>
                  <a:noFill/>
                </a:ln>
                <a:solidFill>
                  <a:srgbClr val="282828"/>
                </a:solidFill>
                <a:effectLst/>
                <a:uLnTx/>
                <a:uFillTx/>
                <a:latin typeface="Arial"/>
                <a:ea typeface="+mn-ea"/>
                <a:cs typeface="Arial"/>
              </a:rPr>
              <a:t> </a:t>
            </a:r>
            <a:r>
              <a:rPr kumimoji="0" sz="2650" b="0" i="0" u="none" strike="noStrike" kern="1200" cap="none" spc="25" normalizeH="0" baseline="0" noProof="0" dirty="0">
                <a:ln>
                  <a:noFill/>
                </a:ln>
                <a:solidFill>
                  <a:srgbClr val="282828"/>
                </a:solidFill>
                <a:effectLst/>
                <a:uLnTx/>
                <a:uFillTx/>
                <a:latin typeface="Arial"/>
                <a:ea typeface="+mn-ea"/>
                <a:cs typeface="Arial"/>
              </a:rPr>
              <a:t>Components</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55"/>
              </a:spcBef>
              <a:spcAft>
                <a:spcPts val="0"/>
              </a:spcAft>
              <a:buClrTx/>
              <a:buSzPct val="60416"/>
              <a:buFontTx/>
              <a:buChar char="•"/>
              <a:tabLst>
                <a:tab pos="320675" algn="l"/>
              </a:tabLst>
              <a:defRPr/>
            </a:pPr>
            <a:r>
              <a:rPr kumimoji="0" sz="2400" b="0" i="0" u="none" strike="noStrike" kern="1200" cap="none" spc="-5" normalizeH="0" baseline="0" noProof="0" dirty="0">
                <a:ln>
                  <a:noFill/>
                </a:ln>
                <a:solidFill>
                  <a:srgbClr val="282828"/>
                </a:solidFill>
                <a:effectLst/>
                <a:uLnTx/>
                <a:uFillTx/>
                <a:latin typeface="Arial"/>
                <a:ea typeface="+mn-ea"/>
                <a:cs typeface="Arial"/>
              </a:rPr>
              <a:t>Ansible </a:t>
            </a:r>
            <a:r>
              <a:rPr kumimoji="0" sz="2400" b="0" i="0" u="none" strike="noStrike" kern="1200" cap="none" spc="5" normalizeH="0" baseline="0" noProof="0" dirty="0">
                <a:ln>
                  <a:noFill/>
                </a:ln>
                <a:solidFill>
                  <a:srgbClr val="282828"/>
                </a:solidFill>
                <a:effectLst/>
                <a:uLnTx/>
                <a:uFillTx/>
                <a:latin typeface="Arial"/>
                <a:ea typeface="+mn-ea"/>
                <a:cs typeface="Arial"/>
              </a:rPr>
              <a:t>configuration</a:t>
            </a:r>
            <a:r>
              <a:rPr kumimoji="0" sz="2400" b="0" i="0" u="none" strike="noStrike" kern="1200" cap="none" spc="100" normalizeH="0" baseline="0" noProof="0" dirty="0">
                <a:ln>
                  <a:noFill/>
                </a:ln>
                <a:solidFill>
                  <a:srgbClr val="282828"/>
                </a:solidFill>
                <a:effectLst/>
                <a:uLnTx/>
                <a:uFillTx/>
                <a:latin typeface="Arial"/>
                <a:ea typeface="+mn-ea"/>
                <a:cs typeface="Arial"/>
              </a:rPr>
              <a:t> </a:t>
            </a:r>
            <a:r>
              <a:rPr kumimoji="0" sz="2400" b="0" i="0" u="none" strike="noStrike" kern="1200" cap="none" spc="0" normalizeH="0" baseline="0" noProof="0" dirty="0">
                <a:ln>
                  <a:noFill/>
                </a:ln>
                <a:solidFill>
                  <a:srgbClr val="282828"/>
                </a:solidFill>
                <a:effectLst/>
                <a:uLnTx/>
                <a:uFillTx/>
                <a:latin typeface="Arial"/>
                <a:ea typeface="+mn-ea"/>
                <a:cs typeface="Arial"/>
              </a:rPr>
              <a:t>file</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55"/>
              </a:spcBef>
              <a:spcAft>
                <a:spcPts val="0"/>
              </a:spcAft>
              <a:buClrTx/>
              <a:buSzPct val="60416"/>
              <a:buFontTx/>
              <a:buChar char="•"/>
              <a:tabLst>
                <a:tab pos="320675" algn="l"/>
              </a:tabLst>
              <a:defRPr/>
            </a:pPr>
            <a:r>
              <a:rPr kumimoji="0" sz="2400" b="0" i="0" u="none" strike="noStrike" kern="1200" cap="none" spc="-5" normalizeH="0" baseline="0" noProof="0" dirty="0">
                <a:ln>
                  <a:noFill/>
                </a:ln>
                <a:solidFill>
                  <a:srgbClr val="282828"/>
                </a:solidFill>
                <a:effectLst/>
                <a:uLnTx/>
                <a:uFillTx/>
                <a:latin typeface="Arial"/>
                <a:ea typeface="+mn-ea"/>
                <a:cs typeface="Arial"/>
              </a:rPr>
              <a:t>Inventory</a:t>
            </a:r>
            <a:r>
              <a:rPr kumimoji="0" sz="2400" b="0" i="0" u="none" strike="noStrike" kern="1200" cap="none" spc="-25" normalizeH="0" baseline="0" noProof="0" dirty="0">
                <a:ln>
                  <a:noFill/>
                </a:ln>
                <a:solidFill>
                  <a:srgbClr val="282828"/>
                </a:solidFill>
                <a:effectLst/>
                <a:uLnTx/>
                <a:uFillTx/>
                <a:latin typeface="Arial"/>
                <a:ea typeface="+mn-ea"/>
                <a:cs typeface="Arial"/>
              </a:rPr>
              <a:t> </a:t>
            </a:r>
            <a:r>
              <a:rPr kumimoji="0" sz="2400" b="0" i="0" u="none" strike="noStrike" kern="1200" cap="none" spc="0" normalizeH="0" baseline="0" noProof="0" dirty="0">
                <a:ln>
                  <a:noFill/>
                </a:ln>
                <a:solidFill>
                  <a:srgbClr val="282828"/>
                </a:solidFill>
                <a:effectLst/>
                <a:uLnTx/>
                <a:uFillTx/>
                <a:latin typeface="Arial"/>
                <a:ea typeface="+mn-ea"/>
                <a:cs typeface="Arial"/>
              </a:rPr>
              <a:t>files</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55"/>
              </a:spcBef>
              <a:spcAft>
                <a:spcPts val="0"/>
              </a:spcAft>
              <a:buClrTx/>
              <a:buSzPct val="60416"/>
              <a:buFontTx/>
              <a:buChar char="•"/>
              <a:tabLst>
                <a:tab pos="320675" algn="l"/>
              </a:tabLst>
              <a:defRPr/>
            </a:pPr>
            <a:r>
              <a:rPr kumimoji="0" sz="2400" b="0" i="0" u="none" strike="noStrike" kern="1200" cap="none" spc="-5" normalizeH="0" baseline="0" noProof="0" dirty="0">
                <a:ln>
                  <a:noFill/>
                </a:ln>
                <a:solidFill>
                  <a:srgbClr val="282828"/>
                </a:solidFill>
                <a:effectLst/>
                <a:uLnTx/>
                <a:uFillTx/>
                <a:latin typeface="Arial"/>
                <a:ea typeface="+mn-ea"/>
                <a:cs typeface="Arial"/>
              </a:rPr>
              <a:t>Ansible</a:t>
            </a:r>
            <a:r>
              <a:rPr kumimoji="0" sz="2400" b="0" i="0" u="none" strike="noStrike" kern="1200" cap="none" spc="-20" normalizeH="0" baseline="0" noProof="0" dirty="0">
                <a:ln>
                  <a:noFill/>
                </a:ln>
                <a:solidFill>
                  <a:srgbClr val="282828"/>
                </a:solidFill>
                <a:effectLst/>
                <a:uLnTx/>
                <a:uFillTx/>
                <a:latin typeface="Arial"/>
                <a:ea typeface="+mn-ea"/>
                <a:cs typeface="Arial"/>
              </a:rPr>
              <a:t> </a:t>
            </a:r>
            <a:r>
              <a:rPr kumimoji="0" sz="2400" b="0" i="0" u="none" strike="noStrike" kern="1200" cap="none" spc="10" normalizeH="0" baseline="0" noProof="0" dirty="0">
                <a:ln>
                  <a:noFill/>
                </a:ln>
                <a:solidFill>
                  <a:srgbClr val="282828"/>
                </a:solidFill>
                <a:effectLst/>
                <a:uLnTx/>
                <a:uFillTx/>
                <a:latin typeface="Arial"/>
                <a:ea typeface="+mn-ea"/>
                <a:cs typeface="Arial"/>
              </a:rPr>
              <a:t>modules</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55"/>
              </a:spcBef>
              <a:spcAft>
                <a:spcPts val="0"/>
              </a:spcAft>
              <a:buClrTx/>
              <a:buSzPct val="60416"/>
              <a:buFontTx/>
              <a:buChar char="•"/>
              <a:tabLst>
                <a:tab pos="320675" algn="l"/>
              </a:tabLst>
              <a:defRPr/>
            </a:pPr>
            <a:r>
              <a:rPr kumimoji="0" sz="2400" b="0" i="0" u="none" strike="noStrike" kern="1200" cap="none" spc="-15" normalizeH="0" baseline="0" noProof="0" dirty="0">
                <a:ln>
                  <a:noFill/>
                </a:ln>
                <a:solidFill>
                  <a:srgbClr val="282828"/>
                </a:solidFill>
                <a:effectLst/>
                <a:uLnTx/>
                <a:uFillTx/>
                <a:latin typeface="Arial"/>
                <a:ea typeface="+mn-ea"/>
                <a:cs typeface="Arial"/>
              </a:rPr>
              <a:t>Playbooks</a:t>
            </a:r>
            <a:endParaRPr kumimoji="0" sz="24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a:spLocks noGrp="1"/>
          </p:cNvSpPr>
          <p:nvPr>
            <p:ph type="title"/>
          </p:nvPr>
        </p:nvSpPr>
        <p:spPr>
          <a:xfrm>
            <a:off x="662736" y="587501"/>
            <a:ext cx="7101205" cy="596265"/>
          </a:xfrm>
          <a:prstGeom prst="rect">
            <a:avLst/>
          </a:prstGeom>
        </p:spPr>
        <p:txBody>
          <a:bodyPr vert="horz" wrap="square" lIns="0" tIns="12065" rIns="0" bIns="0" rtlCol="0">
            <a:spAutoFit/>
          </a:bodyPr>
          <a:lstStyle/>
          <a:p>
            <a:pPr marL="12700">
              <a:lnSpc>
                <a:spcPct val="100000"/>
              </a:lnSpc>
              <a:spcBef>
                <a:spcPts val="95"/>
              </a:spcBef>
            </a:pPr>
            <a:r>
              <a:rPr spc="-30" dirty="0">
                <a:solidFill>
                  <a:srgbClr val="005073"/>
                </a:solidFill>
              </a:rPr>
              <a:t>Inside </a:t>
            </a:r>
            <a:r>
              <a:rPr spc="35" dirty="0">
                <a:solidFill>
                  <a:srgbClr val="005073"/>
                </a:solidFill>
              </a:rPr>
              <a:t>the </a:t>
            </a:r>
            <a:r>
              <a:rPr spc="-10" dirty="0">
                <a:solidFill>
                  <a:srgbClr val="005073"/>
                </a:solidFill>
              </a:rPr>
              <a:t>Ansible </a:t>
            </a:r>
            <a:r>
              <a:rPr spc="10" dirty="0">
                <a:solidFill>
                  <a:srgbClr val="005073"/>
                </a:solidFill>
              </a:rPr>
              <a:t>Control</a:t>
            </a:r>
            <a:r>
              <a:rPr spc="215" dirty="0">
                <a:solidFill>
                  <a:srgbClr val="005073"/>
                </a:solidFill>
              </a:rPr>
              <a:t> </a:t>
            </a:r>
            <a:r>
              <a:rPr spc="-5" dirty="0">
                <a:solidFill>
                  <a:srgbClr val="005073"/>
                </a:solidFill>
              </a:rPr>
              <a:t>Station</a:t>
            </a:r>
          </a:p>
        </p:txBody>
      </p:sp>
      <p:sp>
        <p:nvSpPr>
          <p:cNvPr id="4" name="object 4"/>
          <p:cNvSpPr/>
          <p:nvPr/>
        </p:nvSpPr>
        <p:spPr>
          <a:xfrm>
            <a:off x="6644640" y="1609344"/>
            <a:ext cx="4605528" cy="3700272"/>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7037831" y="2761488"/>
            <a:ext cx="652272" cy="667512"/>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txBox="1"/>
          <p:nvPr/>
        </p:nvSpPr>
        <p:spPr>
          <a:xfrm>
            <a:off x="706627" y="6355181"/>
            <a:ext cx="3641090" cy="16256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896077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p:nvPr/>
        </p:nvSpPr>
        <p:spPr>
          <a:xfrm>
            <a:off x="774903" y="1560236"/>
            <a:ext cx="5107940" cy="1805939"/>
          </a:xfrm>
          <a:prstGeom prst="rect">
            <a:avLst/>
          </a:prstGeom>
        </p:spPr>
        <p:txBody>
          <a:bodyPr vert="horz" wrap="square" lIns="0" tIns="77470" rIns="0" bIns="0" rtlCol="0">
            <a:spAutoFit/>
          </a:bodyPr>
          <a:lstStyle/>
          <a:p>
            <a:pPr marL="167640" marR="0" lvl="0" indent="-154940" algn="l" defTabSz="914400" rtl="0" eaLnBrk="1" fontAlgn="auto" latinLnBrk="0" hangingPunct="1">
              <a:lnSpc>
                <a:spcPct val="100000"/>
              </a:lnSpc>
              <a:spcBef>
                <a:spcPts val="610"/>
              </a:spcBef>
              <a:spcAft>
                <a:spcPts val="0"/>
              </a:spcAft>
              <a:buClrTx/>
              <a:buSzPct val="60377"/>
              <a:buFontTx/>
              <a:buChar char="•"/>
              <a:tabLst>
                <a:tab pos="168275" algn="l"/>
              </a:tabLst>
              <a:defRPr/>
            </a:pPr>
            <a:r>
              <a:rPr kumimoji="0" sz="2650" b="0" i="0" u="none" strike="noStrike" kern="1200" cap="none" spc="0" normalizeH="0" baseline="0" noProof="0" dirty="0">
                <a:ln>
                  <a:noFill/>
                </a:ln>
                <a:solidFill>
                  <a:srgbClr val="282828"/>
                </a:solidFill>
                <a:effectLst/>
                <a:uLnTx/>
                <a:uFillTx/>
                <a:latin typeface="Arial"/>
                <a:ea typeface="+mn-ea"/>
                <a:cs typeface="Arial"/>
              </a:rPr>
              <a:t>Python </a:t>
            </a:r>
            <a:r>
              <a:rPr kumimoji="0" sz="2650" b="0" i="0" u="none" strike="noStrike" kern="1200" cap="none" spc="85" normalizeH="0" baseline="0" noProof="0" dirty="0">
                <a:ln>
                  <a:noFill/>
                </a:ln>
                <a:solidFill>
                  <a:srgbClr val="282828"/>
                </a:solidFill>
                <a:effectLst/>
                <a:uLnTx/>
                <a:uFillTx/>
                <a:latin typeface="Arial"/>
                <a:ea typeface="+mn-ea"/>
                <a:cs typeface="Arial"/>
              </a:rPr>
              <a:t>2.6 </a:t>
            </a:r>
            <a:r>
              <a:rPr kumimoji="0" sz="2650" b="0" i="0" u="none" strike="noStrike" kern="1200" cap="none" spc="30" normalizeH="0" baseline="0" noProof="0" dirty="0">
                <a:ln>
                  <a:noFill/>
                </a:ln>
                <a:solidFill>
                  <a:srgbClr val="282828"/>
                </a:solidFill>
                <a:effectLst/>
                <a:uLnTx/>
                <a:uFillTx/>
                <a:latin typeface="Arial"/>
                <a:ea typeface="+mn-ea"/>
                <a:cs typeface="Arial"/>
              </a:rPr>
              <a:t>or</a:t>
            </a:r>
            <a:r>
              <a:rPr kumimoji="0" sz="2650" b="0" i="0" u="none" strike="noStrike" kern="1200" cap="none" spc="25" normalizeH="0" baseline="0" noProof="0" dirty="0">
                <a:ln>
                  <a:noFill/>
                </a:ln>
                <a:solidFill>
                  <a:srgbClr val="282828"/>
                </a:solidFill>
                <a:effectLst/>
                <a:uLnTx/>
                <a:uFillTx/>
                <a:latin typeface="Arial"/>
                <a:ea typeface="+mn-ea"/>
                <a:cs typeface="Arial"/>
              </a:rPr>
              <a:t> </a:t>
            </a:r>
            <a:r>
              <a:rPr kumimoji="0" sz="2650" b="0" i="0" u="none" strike="noStrike" kern="1200" cap="none" spc="85" normalizeH="0" baseline="0" noProof="0" dirty="0">
                <a:ln>
                  <a:noFill/>
                </a:ln>
                <a:solidFill>
                  <a:srgbClr val="282828"/>
                </a:solidFill>
                <a:effectLst/>
                <a:uLnTx/>
                <a:uFillTx/>
                <a:latin typeface="Arial"/>
                <a:ea typeface="+mn-ea"/>
                <a:cs typeface="Arial"/>
              </a:rPr>
              <a:t>2.7</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ts val="2810"/>
              </a:lnSpc>
              <a:spcBef>
                <a:spcPts val="450"/>
              </a:spcBef>
              <a:spcAft>
                <a:spcPts val="0"/>
              </a:spcAft>
              <a:buClrTx/>
              <a:buSzPct val="60416"/>
              <a:buFont typeface="Arial"/>
              <a:buChar char="•"/>
              <a:tabLst>
                <a:tab pos="320675" algn="l"/>
              </a:tabLst>
              <a:defRPr/>
            </a:pPr>
            <a:r>
              <a:rPr kumimoji="0" sz="2400" b="0" i="0" u="none" strike="noStrike" kern="1200" cap="none" spc="15" normalizeH="0" baseline="0" noProof="0" dirty="0">
                <a:ln>
                  <a:noFill/>
                </a:ln>
                <a:solidFill>
                  <a:srgbClr val="282828"/>
                </a:solidFill>
                <a:effectLst/>
                <a:uLnTx/>
                <a:uFillTx/>
                <a:latin typeface="Tahoma"/>
                <a:ea typeface="+mn-ea"/>
                <a:cs typeface="Tahoma"/>
              </a:rPr>
              <a:t>Python </a:t>
            </a:r>
            <a:r>
              <a:rPr kumimoji="0" sz="2400" b="0" i="0" u="none" strike="noStrike" kern="1200" cap="none" spc="125" normalizeH="0" baseline="0" noProof="0" dirty="0">
                <a:ln>
                  <a:noFill/>
                </a:ln>
                <a:solidFill>
                  <a:srgbClr val="282828"/>
                </a:solidFill>
                <a:effectLst/>
                <a:uLnTx/>
                <a:uFillTx/>
                <a:latin typeface="Tahoma"/>
                <a:ea typeface="+mn-ea"/>
                <a:cs typeface="Tahoma"/>
              </a:rPr>
              <a:t>3 </a:t>
            </a:r>
            <a:r>
              <a:rPr kumimoji="0" sz="2400" b="0" i="0" u="none" strike="noStrike" kern="1200" cap="none" spc="25" normalizeH="0" baseline="0" noProof="0" dirty="0">
                <a:ln>
                  <a:noFill/>
                </a:ln>
                <a:solidFill>
                  <a:srgbClr val="282828"/>
                </a:solidFill>
                <a:effectLst/>
                <a:uLnTx/>
                <a:uFillTx/>
                <a:latin typeface="Tahoma"/>
                <a:ea typeface="+mn-ea"/>
                <a:cs typeface="Tahoma"/>
              </a:rPr>
              <a:t>support </a:t>
            </a:r>
            <a:r>
              <a:rPr kumimoji="0" sz="2400" b="0" i="0" u="none" strike="noStrike" kern="1200" cap="none" spc="0" normalizeH="0" baseline="0" noProof="0" dirty="0">
                <a:ln>
                  <a:noFill/>
                </a:ln>
                <a:solidFill>
                  <a:srgbClr val="282828"/>
                </a:solidFill>
                <a:effectLst/>
                <a:uLnTx/>
                <a:uFillTx/>
                <a:latin typeface="Tahoma"/>
                <a:ea typeface="+mn-ea"/>
                <a:cs typeface="Tahoma"/>
              </a:rPr>
              <a:t>currently </a:t>
            </a:r>
            <a:r>
              <a:rPr kumimoji="0" sz="2400" b="0" i="0" u="none" strike="noStrike" kern="1200" cap="none" spc="-30" normalizeH="0" baseline="0" noProof="0" dirty="0">
                <a:ln>
                  <a:noFill/>
                </a:ln>
                <a:solidFill>
                  <a:srgbClr val="282828"/>
                </a:solidFill>
                <a:effectLst/>
                <a:uLnTx/>
                <a:uFillTx/>
                <a:latin typeface="Tahoma"/>
                <a:ea typeface="+mn-ea"/>
                <a:cs typeface="Tahoma"/>
              </a:rPr>
              <a:t>in</a:t>
            </a:r>
            <a:r>
              <a:rPr kumimoji="0" sz="2400" b="0" i="0" u="none" strike="noStrike" kern="1200" cap="none" spc="-375" normalizeH="0" baseline="0" noProof="0" dirty="0">
                <a:ln>
                  <a:noFill/>
                </a:ln>
                <a:solidFill>
                  <a:srgbClr val="282828"/>
                </a:solidFill>
                <a:effectLst/>
                <a:uLnTx/>
                <a:uFillTx/>
                <a:latin typeface="Tahoma"/>
                <a:ea typeface="+mn-ea"/>
                <a:cs typeface="Tahoma"/>
              </a:rPr>
              <a:t> </a:t>
            </a:r>
            <a:r>
              <a:rPr kumimoji="0" sz="2400" b="0" i="0" u="none" strike="noStrike" kern="1200" cap="none" spc="40" normalizeH="0" baseline="0" noProof="0" dirty="0">
                <a:ln>
                  <a:noFill/>
                </a:ln>
                <a:solidFill>
                  <a:srgbClr val="282828"/>
                </a:solidFill>
                <a:effectLst/>
                <a:uLnTx/>
                <a:uFillTx/>
                <a:latin typeface="Tahoma"/>
                <a:ea typeface="+mn-ea"/>
                <a:cs typeface="Tahoma"/>
              </a:rPr>
              <a:t>“tech</a:t>
            </a:r>
            <a:endParaRPr kumimoji="0" sz="2400" b="0" i="0" u="none" strike="noStrike" kern="1200" cap="none" spc="0" normalizeH="0" baseline="0" noProof="0">
              <a:ln>
                <a:noFill/>
              </a:ln>
              <a:solidFill>
                <a:prstClr val="black"/>
              </a:solidFill>
              <a:effectLst/>
              <a:uLnTx/>
              <a:uFillTx/>
              <a:latin typeface="Tahoma"/>
              <a:ea typeface="+mn-ea"/>
              <a:cs typeface="Tahoma"/>
            </a:endParaRPr>
          </a:p>
          <a:p>
            <a:pPr marL="320040" marR="0" lvl="0" indent="0" algn="l" defTabSz="914400" rtl="0" eaLnBrk="1" fontAlgn="auto" latinLnBrk="0" hangingPunct="1">
              <a:lnSpc>
                <a:spcPts val="2810"/>
              </a:lnSpc>
              <a:spcBef>
                <a:spcPts val="0"/>
              </a:spcBef>
              <a:spcAft>
                <a:spcPts val="0"/>
              </a:spcAft>
              <a:buClrTx/>
              <a:buSzTx/>
              <a:buFontTx/>
              <a:buNone/>
              <a:tabLst/>
              <a:defRPr/>
            </a:pPr>
            <a:r>
              <a:rPr kumimoji="0" sz="2400" b="0" i="0" u="none" strike="noStrike" kern="1200" cap="none" spc="25" normalizeH="0" baseline="0" noProof="0" dirty="0">
                <a:ln>
                  <a:noFill/>
                </a:ln>
                <a:solidFill>
                  <a:srgbClr val="282828"/>
                </a:solidFill>
                <a:effectLst/>
                <a:uLnTx/>
                <a:uFillTx/>
                <a:latin typeface="Tahoma"/>
                <a:ea typeface="+mn-ea"/>
                <a:cs typeface="Tahoma"/>
              </a:rPr>
              <a:t>preview”</a:t>
            </a:r>
            <a:endParaRPr kumimoji="0" sz="2400" b="0" i="0" u="none" strike="noStrike" kern="1200" cap="none" spc="0" normalizeH="0" baseline="0" noProof="0">
              <a:ln>
                <a:noFill/>
              </a:ln>
              <a:solidFill>
                <a:prstClr val="black"/>
              </a:solidFill>
              <a:effectLst/>
              <a:uLnTx/>
              <a:uFillTx/>
              <a:latin typeface="Tahoma"/>
              <a:ea typeface="+mn-ea"/>
              <a:cs typeface="Tahoma"/>
            </a:endParaRPr>
          </a:p>
          <a:p>
            <a:pPr marL="167640" marR="0" lvl="0" indent="-154940" algn="l" defTabSz="914400" rtl="0" eaLnBrk="1" fontAlgn="auto" latinLnBrk="0" hangingPunct="1">
              <a:lnSpc>
                <a:spcPct val="100000"/>
              </a:lnSpc>
              <a:spcBef>
                <a:spcPts val="1075"/>
              </a:spcBef>
              <a:spcAft>
                <a:spcPts val="0"/>
              </a:spcAft>
              <a:buClrTx/>
              <a:buSzPct val="60377"/>
              <a:buFont typeface="Arial"/>
              <a:buChar char="•"/>
              <a:tabLst>
                <a:tab pos="168275" algn="l"/>
              </a:tabLst>
              <a:defRPr/>
            </a:pPr>
            <a:r>
              <a:rPr kumimoji="0" sz="2650" b="0" i="0" u="none" strike="noStrike" kern="1200" cap="none" spc="0" normalizeH="0" baseline="0" noProof="0" dirty="0">
                <a:ln>
                  <a:noFill/>
                </a:ln>
                <a:solidFill>
                  <a:srgbClr val="282828"/>
                </a:solidFill>
                <a:effectLst/>
                <a:uLnTx/>
                <a:uFillTx/>
                <a:latin typeface="Courier New"/>
                <a:ea typeface="+mn-ea"/>
                <a:cs typeface="Courier New"/>
              </a:rPr>
              <a:t>pip install</a:t>
            </a:r>
            <a:r>
              <a:rPr kumimoji="0" sz="2650" b="0" i="0" u="none" strike="noStrike" kern="1200" cap="none" spc="40" normalizeH="0" baseline="0" noProof="0" dirty="0">
                <a:ln>
                  <a:noFill/>
                </a:ln>
                <a:solidFill>
                  <a:srgbClr val="282828"/>
                </a:solidFill>
                <a:effectLst/>
                <a:uLnTx/>
                <a:uFillTx/>
                <a:latin typeface="Courier New"/>
                <a:ea typeface="+mn-ea"/>
                <a:cs typeface="Courier New"/>
              </a:rPr>
              <a:t> </a:t>
            </a:r>
            <a:r>
              <a:rPr kumimoji="0" sz="2650" b="0" i="0" u="none" strike="noStrike" kern="1200" cap="none" spc="0" normalizeH="0" baseline="0" noProof="0" dirty="0">
                <a:ln>
                  <a:noFill/>
                </a:ln>
                <a:solidFill>
                  <a:srgbClr val="282828"/>
                </a:solidFill>
                <a:effectLst/>
                <a:uLnTx/>
                <a:uFillTx/>
                <a:latin typeface="Courier New"/>
                <a:ea typeface="+mn-ea"/>
                <a:cs typeface="Courier New"/>
              </a:rPr>
              <a:t>ansible</a:t>
            </a:r>
            <a:endParaRPr kumimoji="0" sz="265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4" name="object 4"/>
          <p:cNvSpPr txBox="1"/>
          <p:nvPr/>
        </p:nvSpPr>
        <p:spPr>
          <a:xfrm>
            <a:off x="6339840" y="1429511"/>
            <a:ext cx="5370830" cy="4693920"/>
          </a:xfrm>
          <a:prstGeom prst="rect">
            <a:avLst/>
          </a:prstGeom>
          <a:solidFill>
            <a:srgbClr val="282828"/>
          </a:solidFill>
        </p:spPr>
        <p:txBody>
          <a:bodyPr vert="horz" wrap="square" lIns="0" tIns="36195" rIns="0" bIns="0" rtlCol="0">
            <a:spAutoFit/>
          </a:bodyPr>
          <a:lstStyle/>
          <a:p>
            <a:pPr marL="78740" marR="2726055" lvl="0" indent="0" algn="l" defTabSz="914400" rtl="0" eaLnBrk="1" fontAlgn="auto" latinLnBrk="0" hangingPunct="1">
              <a:lnSpc>
                <a:spcPts val="1580"/>
              </a:lnSpc>
              <a:spcBef>
                <a:spcPts val="285"/>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DevNet$ python --version  Python</a:t>
            </a:r>
            <a:r>
              <a:rPr kumimoji="0" sz="1400" b="0" i="0" u="none" strike="noStrike" kern="1200" cap="none" spc="-10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2.7.12</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3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Times New Roman"/>
              <a:ea typeface="+mn-ea"/>
              <a:cs typeface="Times New Roman"/>
            </a:endParaRPr>
          </a:p>
          <a:p>
            <a:pPr marL="78740" marR="2411095" lvl="0" indent="0" algn="l" defTabSz="914400" rtl="0" eaLnBrk="1" fontAlgn="auto" latinLnBrk="0" hangingPunct="1">
              <a:lnSpc>
                <a:spcPts val="161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DevNet$ pip </a:t>
            </a:r>
            <a:r>
              <a:rPr kumimoji="0" sz="1400" b="0" i="0" u="none" strike="noStrike" kern="1200" cap="none" spc="-10" normalizeH="0" baseline="0" noProof="0" dirty="0">
                <a:ln>
                  <a:noFill/>
                </a:ln>
                <a:solidFill>
                  <a:srgbClr val="FFFFFF"/>
                </a:solidFill>
                <a:effectLst/>
                <a:uLnTx/>
                <a:uFillTx/>
                <a:latin typeface="Courier New"/>
                <a:ea typeface="+mn-ea"/>
                <a:cs typeface="Courier New"/>
              </a:rPr>
              <a:t>install ansible  </a:t>
            </a:r>
            <a:r>
              <a:rPr kumimoji="0" sz="1400" b="0" i="0" u="none" strike="noStrike" kern="1200" cap="none" spc="-5" normalizeH="0" baseline="0" noProof="0" dirty="0">
                <a:ln>
                  <a:noFill/>
                </a:ln>
                <a:solidFill>
                  <a:srgbClr val="FFFFFF"/>
                </a:solidFill>
                <a:effectLst/>
                <a:uLnTx/>
                <a:uFillTx/>
                <a:latin typeface="Courier New"/>
                <a:ea typeface="+mn-ea"/>
                <a:cs typeface="Courier New"/>
              </a:rPr>
              <a:t>Collecting</a:t>
            </a:r>
            <a:r>
              <a:rPr kumimoji="0" sz="1400" b="0" i="0" u="none" strike="noStrike" kern="1200" cap="none" spc="-80"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nsible</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292100" marR="0" lvl="0" indent="0" algn="l" defTabSz="914400" rtl="0" eaLnBrk="1" fontAlgn="auto" latinLnBrk="0" hangingPunct="1">
              <a:lnSpc>
                <a:spcPts val="150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Downloading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nsible-2.3.1.0.tar.gz</a:t>
            </a:r>
            <a:r>
              <a:rPr kumimoji="0" sz="1400" b="0" i="0" u="none" strike="noStrike" kern="1200" cap="none" spc="-15"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4.3MB)</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505459"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100%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t>
            </a:r>
            <a:r>
              <a:rPr kumimoji="0" sz="1400" b="0" i="0" u="none" strike="noStrike" kern="1200" cap="none" spc="4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4.3MB</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just" defTabSz="914400" rtl="0" eaLnBrk="1" fontAlgn="auto" latinLnBrk="0" hangingPunct="1">
              <a:lnSpc>
                <a:spcPts val="160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283kB/s</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just"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just"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just"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just"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Successfully </a:t>
            </a:r>
            <a:r>
              <a:rPr kumimoji="0" sz="1400" b="0" i="0" u="none" strike="noStrike" kern="1200" cap="none" spc="-10" normalizeH="0" baseline="0" noProof="0" dirty="0">
                <a:ln>
                  <a:noFill/>
                </a:ln>
                <a:solidFill>
                  <a:srgbClr val="FFFFFF"/>
                </a:solidFill>
                <a:effectLst/>
                <a:uLnTx/>
                <a:uFillTx/>
                <a:latin typeface="Courier New"/>
                <a:ea typeface="+mn-ea"/>
                <a:cs typeface="Courier New"/>
              </a:rPr>
              <a:t>built</a:t>
            </a:r>
            <a:r>
              <a:rPr kumimoji="0" sz="1400" b="0" i="0" u="none" strike="noStrike" kern="1200" cap="none" spc="-70"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nsible</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78740" marR="1238250" lvl="0" indent="0" algn="just" defTabSz="914400" rtl="0" eaLnBrk="1" fontAlgn="auto" latinLnBrk="0" hangingPunct="1">
              <a:lnSpc>
                <a:spcPct val="95100"/>
              </a:lnSpc>
              <a:spcBef>
                <a:spcPts val="5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Installing </a:t>
            </a:r>
            <a:r>
              <a:rPr kumimoji="0" sz="1400" b="0" i="0" u="none" strike="noStrike" kern="1200" cap="none" spc="-10" normalizeH="0" baseline="0" noProof="0" dirty="0">
                <a:ln>
                  <a:noFill/>
                </a:ln>
                <a:solidFill>
                  <a:srgbClr val="FFFFFF"/>
                </a:solidFill>
                <a:effectLst/>
                <a:uLnTx/>
                <a:uFillTx/>
                <a:latin typeface="Courier New"/>
                <a:ea typeface="+mn-ea"/>
                <a:cs typeface="Courier New"/>
              </a:rPr>
              <a:t>collected packages: </a:t>
            </a:r>
            <a:r>
              <a:rPr kumimoji="0" sz="1400" b="0" i="0" u="none" strike="noStrike" kern="1200" cap="none" spc="-5" normalizeH="0" baseline="0" noProof="0" dirty="0">
                <a:ln>
                  <a:noFill/>
                </a:ln>
                <a:solidFill>
                  <a:srgbClr val="FFFFFF"/>
                </a:solidFill>
                <a:effectLst/>
                <a:uLnTx/>
                <a:uFillTx/>
                <a:latin typeface="Courier New"/>
                <a:ea typeface="+mn-ea"/>
                <a:cs typeface="Courier New"/>
              </a:rPr>
              <a:t>ansible  Successfully </a:t>
            </a:r>
            <a:r>
              <a:rPr kumimoji="0" sz="1400" b="0" i="0" u="none" strike="noStrike" kern="1200" cap="none" spc="-10" normalizeH="0" baseline="0" noProof="0" dirty="0">
                <a:ln>
                  <a:noFill/>
                </a:ln>
                <a:solidFill>
                  <a:srgbClr val="FFFFFF"/>
                </a:solidFill>
                <a:effectLst/>
                <a:uLnTx/>
                <a:uFillTx/>
                <a:latin typeface="Courier New"/>
                <a:ea typeface="+mn-ea"/>
                <a:cs typeface="Courier New"/>
              </a:rPr>
              <a:t>installed ansible-2.3.1.0  </a:t>
            </a:r>
            <a:r>
              <a:rPr kumimoji="0" sz="1400" b="0" i="0" u="none" strike="noStrike" kern="1200" cap="none" spc="-5" normalizeH="0" baseline="0" noProof="0" dirty="0">
                <a:ln>
                  <a:noFill/>
                </a:ln>
                <a:solidFill>
                  <a:srgbClr val="FFFFFF"/>
                </a:solidFill>
                <a:effectLst/>
                <a:uLnTx/>
                <a:uFillTx/>
                <a:latin typeface="Courier New"/>
                <a:ea typeface="+mn-ea"/>
                <a:cs typeface="Courier New"/>
              </a:rPr>
              <a:t>DevNe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5" name="object 5"/>
          <p:cNvSpPr txBox="1">
            <a:spLocks noGrp="1"/>
          </p:cNvSpPr>
          <p:nvPr>
            <p:ph type="title"/>
          </p:nvPr>
        </p:nvSpPr>
        <p:spPr>
          <a:xfrm>
            <a:off x="662736" y="587501"/>
            <a:ext cx="3550285" cy="596265"/>
          </a:xfrm>
          <a:prstGeom prst="rect">
            <a:avLst/>
          </a:prstGeom>
        </p:spPr>
        <p:txBody>
          <a:bodyPr vert="horz" wrap="square" lIns="0" tIns="12065" rIns="0" bIns="0" rtlCol="0">
            <a:spAutoFit/>
          </a:bodyPr>
          <a:lstStyle/>
          <a:p>
            <a:pPr marL="12700">
              <a:lnSpc>
                <a:spcPct val="100000"/>
              </a:lnSpc>
              <a:spcBef>
                <a:spcPts val="95"/>
              </a:spcBef>
            </a:pPr>
            <a:r>
              <a:rPr spc="-45" dirty="0">
                <a:solidFill>
                  <a:srgbClr val="005073"/>
                </a:solidFill>
              </a:rPr>
              <a:t>Installing</a:t>
            </a:r>
            <a:r>
              <a:rPr spc="10" dirty="0">
                <a:solidFill>
                  <a:srgbClr val="005073"/>
                </a:solidFill>
              </a:rPr>
              <a:t> </a:t>
            </a:r>
            <a:r>
              <a:rPr spc="-10" dirty="0">
                <a:solidFill>
                  <a:srgbClr val="005073"/>
                </a:solidFill>
              </a:rPr>
              <a:t>Ansible</a:t>
            </a:r>
          </a:p>
        </p:txBody>
      </p:sp>
      <p:sp>
        <p:nvSpPr>
          <p:cNvPr id="6" name="object 6"/>
          <p:cNvSpPr txBox="1"/>
          <p:nvPr/>
        </p:nvSpPr>
        <p:spPr>
          <a:xfrm>
            <a:off x="7983473" y="6157366"/>
            <a:ext cx="3647440" cy="3003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1" u="none" strike="noStrike" kern="1200" cap="none" spc="0" normalizeH="0" baseline="0" noProof="0" dirty="0">
                <a:ln>
                  <a:noFill/>
                </a:ln>
                <a:solidFill>
                  <a:srgbClr val="282828"/>
                </a:solidFill>
                <a:effectLst/>
                <a:uLnTx/>
                <a:uFillTx/>
                <a:latin typeface="Arial"/>
                <a:ea typeface="+mn-ea"/>
                <a:cs typeface="Arial"/>
              </a:rPr>
              <a:t>Output </a:t>
            </a:r>
            <a:r>
              <a:rPr kumimoji="0" sz="1800" b="0" i="1" u="none" strike="noStrike" kern="1200" cap="none" spc="15" normalizeH="0" baseline="0" noProof="0" dirty="0">
                <a:ln>
                  <a:noFill/>
                </a:ln>
                <a:solidFill>
                  <a:srgbClr val="282828"/>
                </a:solidFill>
                <a:effectLst/>
                <a:uLnTx/>
                <a:uFillTx/>
                <a:latin typeface="Arial"/>
                <a:ea typeface="+mn-ea"/>
                <a:cs typeface="Arial"/>
              </a:rPr>
              <a:t>edited for </a:t>
            </a:r>
            <a:r>
              <a:rPr kumimoji="0" sz="1800" b="0" i="1" u="none" strike="noStrike" kern="1200" cap="none" spc="5" normalizeH="0" baseline="0" noProof="0" dirty="0">
                <a:ln>
                  <a:noFill/>
                </a:ln>
                <a:solidFill>
                  <a:srgbClr val="282828"/>
                </a:solidFill>
                <a:effectLst/>
                <a:uLnTx/>
                <a:uFillTx/>
                <a:latin typeface="Arial"/>
                <a:ea typeface="+mn-ea"/>
                <a:cs typeface="Arial"/>
              </a:rPr>
              <a:t>brevity </a:t>
            </a:r>
            <a:r>
              <a:rPr kumimoji="0" sz="1800" b="0" i="1" u="none" strike="noStrike" kern="1200" cap="none" spc="-10" normalizeH="0" baseline="0" noProof="0" dirty="0">
                <a:ln>
                  <a:noFill/>
                </a:ln>
                <a:solidFill>
                  <a:srgbClr val="282828"/>
                </a:solidFill>
                <a:effectLst/>
                <a:uLnTx/>
                <a:uFillTx/>
                <a:latin typeface="Arial"/>
                <a:ea typeface="+mn-ea"/>
                <a:cs typeface="Arial"/>
              </a:rPr>
              <a:t>and</a:t>
            </a:r>
            <a:r>
              <a:rPr kumimoji="0" sz="1800" b="0" i="1" u="none" strike="noStrike" kern="1200" cap="none" spc="150" normalizeH="0" baseline="0" noProof="0" dirty="0">
                <a:ln>
                  <a:noFill/>
                </a:ln>
                <a:solidFill>
                  <a:srgbClr val="282828"/>
                </a:solidFill>
                <a:effectLst/>
                <a:uLnTx/>
                <a:uFillTx/>
                <a:latin typeface="Arial"/>
                <a:ea typeface="+mn-ea"/>
                <a:cs typeface="Arial"/>
              </a:rPr>
              <a:t> </a:t>
            </a:r>
            <a:r>
              <a:rPr kumimoji="0" sz="1800" b="0" i="1" u="none" strike="noStrike" kern="1200" cap="none" spc="0" normalizeH="0" baseline="0" noProof="0" dirty="0">
                <a:ln>
                  <a:noFill/>
                </a:ln>
                <a:solidFill>
                  <a:srgbClr val="282828"/>
                </a:solidFill>
                <a:effectLst/>
                <a:uLnTx/>
                <a:uFillTx/>
                <a:latin typeface="Arial"/>
                <a:ea typeface="+mn-ea"/>
                <a:cs typeface="Arial"/>
              </a:rPr>
              <a:t>clarity</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164268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9C61231-DA6E-874C-B8B2-50BB3C069026}"/>
              </a:ext>
            </a:extLst>
          </p:cNvPr>
          <p:cNvSpPr>
            <a:spLocks noGrp="1"/>
          </p:cNvSpPr>
          <p:nvPr>
            <p:ph type="title"/>
          </p:nvPr>
        </p:nvSpPr>
        <p:spPr/>
        <p:txBody>
          <a:bodyPr/>
          <a:lstStyle/>
          <a:p>
            <a:r>
              <a:rPr lang="en-CN" dirty="0"/>
              <a:t>Agenda</a:t>
            </a:r>
          </a:p>
        </p:txBody>
      </p:sp>
      <p:sp>
        <p:nvSpPr>
          <p:cNvPr id="6" name="Text Placeholder 5">
            <a:extLst>
              <a:ext uri="{FF2B5EF4-FFF2-40B4-BE49-F238E27FC236}">
                <a16:creationId xmlns:a16="http://schemas.microsoft.com/office/drawing/2014/main" id="{2ECACC77-877A-934F-88DA-C325D964C959}"/>
              </a:ext>
            </a:extLst>
          </p:cNvPr>
          <p:cNvSpPr>
            <a:spLocks noGrp="1"/>
          </p:cNvSpPr>
          <p:nvPr>
            <p:ph type="body" sz="quarter" idx="10"/>
          </p:nvPr>
        </p:nvSpPr>
        <p:spPr>
          <a:xfrm>
            <a:off x="6448275" y="722842"/>
            <a:ext cx="5558668" cy="5412316"/>
          </a:xfrm>
        </p:spPr>
        <p:txBody>
          <a:bodyPr/>
          <a:lstStyle/>
          <a:p>
            <a:r>
              <a:rPr lang="en-US" altLang="zh-CN" dirty="0"/>
              <a:t>Review</a:t>
            </a:r>
          </a:p>
          <a:p>
            <a:r>
              <a:rPr lang="en-US" altLang="zh-CN" dirty="0"/>
              <a:t>DevOps</a:t>
            </a:r>
            <a:r>
              <a:rPr lang="zh-CN" altLang="en-US" dirty="0"/>
              <a:t> </a:t>
            </a:r>
            <a:r>
              <a:rPr lang="en-US" altLang="zh-CN" dirty="0"/>
              <a:t>&amp;</a:t>
            </a:r>
            <a:r>
              <a:rPr lang="zh-CN" altLang="en-US" dirty="0"/>
              <a:t> </a:t>
            </a:r>
            <a:r>
              <a:rPr lang="en-US" altLang="zh-CN" dirty="0" err="1"/>
              <a:t>NetDevOps</a:t>
            </a:r>
            <a:endParaRPr lang="en-US" altLang="zh-CN" dirty="0"/>
          </a:p>
          <a:p>
            <a:r>
              <a:rPr lang="en-US" altLang="zh-CN" dirty="0"/>
              <a:t>Ansible</a:t>
            </a:r>
            <a:r>
              <a:rPr lang="zh-CN" altLang="en-US" dirty="0"/>
              <a:t> </a:t>
            </a:r>
            <a:endParaRPr lang="en-US" altLang="zh-CN" dirty="0"/>
          </a:p>
          <a:p>
            <a:endParaRPr lang="en-CN" dirty="0"/>
          </a:p>
        </p:txBody>
      </p:sp>
    </p:spTree>
    <p:extLst>
      <p:ext uri="{BB962C8B-B14F-4D97-AF65-F5344CB8AC3E}">
        <p14:creationId xmlns:p14="http://schemas.microsoft.com/office/powerpoint/2010/main" val="6669919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74903" y="1449323"/>
            <a:ext cx="4790440" cy="3974465"/>
          </a:xfrm>
          <a:prstGeom prst="rect">
            <a:avLst/>
          </a:prstGeom>
        </p:spPr>
        <p:txBody>
          <a:bodyPr vert="horz" wrap="square" lIns="0" tIns="186690" rIns="0" bIns="0" rtlCol="0">
            <a:spAutoFit/>
          </a:bodyPr>
          <a:lstStyle/>
          <a:p>
            <a:pPr marL="167640" marR="0" lvl="0" indent="-154940" algn="l" defTabSz="914400" rtl="0" eaLnBrk="1" fontAlgn="auto" latinLnBrk="0" hangingPunct="1">
              <a:lnSpc>
                <a:spcPct val="100000"/>
              </a:lnSpc>
              <a:spcBef>
                <a:spcPts val="1470"/>
              </a:spcBef>
              <a:spcAft>
                <a:spcPts val="0"/>
              </a:spcAft>
              <a:buClrTx/>
              <a:buSzPct val="58333"/>
              <a:buFontTx/>
              <a:buChar char="•"/>
              <a:tabLst>
                <a:tab pos="168275" algn="l"/>
              </a:tabLst>
              <a:defRPr/>
            </a:pPr>
            <a:r>
              <a:rPr kumimoji="0" sz="2400" b="0" i="0" u="none" strike="noStrike" kern="1200" cap="none" spc="5" normalizeH="0" baseline="0" noProof="0" dirty="0">
                <a:ln>
                  <a:noFill/>
                </a:ln>
                <a:solidFill>
                  <a:srgbClr val="282828"/>
                </a:solidFill>
                <a:effectLst/>
                <a:uLnTx/>
                <a:uFillTx/>
                <a:latin typeface="Arial"/>
                <a:ea typeface="+mn-ea"/>
                <a:cs typeface="Arial"/>
              </a:rPr>
              <a:t>Control operation </a:t>
            </a:r>
            <a:r>
              <a:rPr kumimoji="0" sz="2400" b="0" i="0" u="none" strike="noStrike" kern="1200" cap="none" spc="35" normalizeH="0" baseline="0" noProof="0" dirty="0">
                <a:ln>
                  <a:noFill/>
                </a:ln>
                <a:solidFill>
                  <a:srgbClr val="282828"/>
                </a:solidFill>
                <a:effectLst/>
                <a:uLnTx/>
                <a:uFillTx/>
                <a:latin typeface="Arial"/>
                <a:ea typeface="+mn-ea"/>
                <a:cs typeface="Arial"/>
              </a:rPr>
              <a:t>of</a:t>
            </a:r>
            <a:r>
              <a:rPr kumimoji="0" sz="2400" b="0" i="0" u="none" strike="noStrike" kern="1200" cap="none" spc="150" normalizeH="0" baseline="0" noProof="0" dirty="0">
                <a:ln>
                  <a:noFill/>
                </a:ln>
                <a:solidFill>
                  <a:srgbClr val="282828"/>
                </a:solidFill>
                <a:effectLst/>
                <a:uLnTx/>
                <a:uFillTx/>
                <a:latin typeface="Arial"/>
                <a:ea typeface="+mn-ea"/>
                <a:cs typeface="Arial"/>
              </a:rPr>
              <a:t> </a:t>
            </a:r>
            <a:r>
              <a:rPr kumimoji="0" sz="2400" b="0" i="0" u="none" strike="noStrike" kern="1200" cap="none" spc="-5" normalizeH="0" baseline="0" noProof="0" dirty="0">
                <a:ln>
                  <a:noFill/>
                </a:ln>
                <a:solidFill>
                  <a:srgbClr val="282828"/>
                </a:solidFill>
                <a:effectLst/>
                <a:uLnTx/>
                <a:uFillTx/>
                <a:latin typeface="Arial"/>
                <a:ea typeface="+mn-ea"/>
                <a:cs typeface="Arial"/>
              </a:rPr>
              <a:t>Ansible</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ts val="2675"/>
              </a:lnSpc>
              <a:spcBef>
                <a:spcPts val="1370"/>
              </a:spcBef>
              <a:spcAft>
                <a:spcPts val="0"/>
              </a:spcAft>
              <a:buClrTx/>
              <a:buSzPct val="58333"/>
              <a:buFontTx/>
              <a:buChar char="•"/>
              <a:tabLst>
                <a:tab pos="168275" algn="l"/>
              </a:tabLst>
              <a:defRPr/>
            </a:pPr>
            <a:r>
              <a:rPr kumimoji="0" sz="2400" b="0" i="0" u="none" strike="noStrike" kern="1200" cap="none" spc="-15" normalizeH="0" baseline="0" noProof="0" dirty="0">
                <a:ln>
                  <a:noFill/>
                </a:ln>
                <a:solidFill>
                  <a:srgbClr val="282828"/>
                </a:solidFill>
                <a:effectLst/>
                <a:uLnTx/>
                <a:uFillTx/>
                <a:latin typeface="Arial"/>
                <a:ea typeface="+mn-ea"/>
                <a:cs typeface="Arial"/>
              </a:rPr>
              <a:t>Default</a:t>
            </a:r>
            <a:r>
              <a:rPr kumimoji="0" sz="2400" b="0" i="0" u="none" strike="noStrike" kern="1200" cap="none" spc="55" normalizeH="0" baseline="0" noProof="0" dirty="0">
                <a:ln>
                  <a:noFill/>
                </a:ln>
                <a:solidFill>
                  <a:srgbClr val="282828"/>
                </a:solidFill>
                <a:effectLst/>
                <a:uLnTx/>
                <a:uFillTx/>
                <a:latin typeface="Arial"/>
                <a:ea typeface="+mn-ea"/>
                <a:cs typeface="Arial"/>
              </a:rPr>
              <a:t> </a:t>
            </a:r>
            <a:r>
              <a:rPr kumimoji="0" sz="2400" b="0" i="0" u="none" strike="noStrike" kern="1200" cap="none" spc="5" normalizeH="0" baseline="0" noProof="0" dirty="0">
                <a:ln>
                  <a:noFill/>
                </a:ln>
                <a:solidFill>
                  <a:srgbClr val="282828"/>
                </a:solidFill>
                <a:effectLst/>
                <a:uLnTx/>
                <a:uFillTx/>
                <a:latin typeface="Arial"/>
                <a:ea typeface="+mn-ea"/>
                <a:cs typeface="Arial"/>
              </a:rPr>
              <a:t>configuration</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2675"/>
              </a:lnSpc>
              <a:spcBef>
                <a:spcPts val="0"/>
              </a:spcBef>
              <a:spcAft>
                <a:spcPts val="0"/>
              </a:spcAft>
              <a:buClrTx/>
              <a:buSzTx/>
              <a:buFontTx/>
              <a:buNone/>
              <a:tabLst/>
              <a:defRPr/>
            </a:pPr>
            <a:r>
              <a:rPr kumimoji="0" sz="2400" b="0" i="0" u="none" strike="noStrike" kern="1200" cap="none" spc="-10" normalizeH="0" baseline="0" noProof="0" dirty="0">
                <a:ln>
                  <a:noFill/>
                </a:ln>
                <a:solidFill>
                  <a:srgbClr val="282828"/>
                </a:solidFill>
                <a:effectLst/>
                <a:uLnTx/>
                <a:uFillTx/>
                <a:latin typeface="Courier New"/>
                <a:ea typeface="+mn-ea"/>
                <a:cs typeface="Courier New"/>
              </a:rPr>
              <a:t>/etc/ansible/ansible.cfg</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167640" marR="0" lvl="0" indent="-154940" algn="l" defTabSz="914400" rtl="0" eaLnBrk="1" fontAlgn="auto" latinLnBrk="0" hangingPunct="1">
              <a:lnSpc>
                <a:spcPct val="100000"/>
              </a:lnSpc>
              <a:spcBef>
                <a:spcPts val="1610"/>
              </a:spcBef>
              <a:spcAft>
                <a:spcPts val="0"/>
              </a:spcAft>
              <a:buClrTx/>
              <a:buSzPct val="58333"/>
              <a:buFontTx/>
              <a:buChar char="•"/>
              <a:tabLst>
                <a:tab pos="168275" algn="l"/>
              </a:tabLst>
              <a:defRPr/>
            </a:pPr>
            <a:r>
              <a:rPr kumimoji="0" sz="2400" b="0" i="0" u="none" strike="noStrike" kern="1200" cap="none" spc="0" normalizeH="0" baseline="0" noProof="0" dirty="0">
                <a:ln>
                  <a:noFill/>
                </a:ln>
                <a:solidFill>
                  <a:srgbClr val="282828"/>
                </a:solidFill>
                <a:effectLst/>
                <a:uLnTx/>
                <a:uFillTx/>
                <a:latin typeface="Arial"/>
                <a:ea typeface="+mn-ea"/>
                <a:cs typeface="Arial"/>
              </a:rPr>
              <a:t>Override </a:t>
            </a:r>
            <a:r>
              <a:rPr kumimoji="0" sz="2400" b="0" i="0" u="none" strike="noStrike" kern="1200" cap="none" spc="5" normalizeH="0" baseline="0" noProof="0" dirty="0">
                <a:ln>
                  <a:noFill/>
                </a:ln>
                <a:solidFill>
                  <a:srgbClr val="282828"/>
                </a:solidFill>
                <a:effectLst/>
                <a:uLnTx/>
                <a:uFillTx/>
                <a:latin typeface="Arial"/>
                <a:ea typeface="+mn-ea"/>
                <a:cs typeface="Arial"/>
              </a:rPr>
              <a:t>default</a:t>
            </a:r>
            <a:r>
              <a:rPr kumimoji="0" sz="2400" b="0" i="0" u="none" strike="noStrike" kern="1200" cap="none" spc="60" normalizeH="0" baseline="0" noProof="0" dirty="0">
                <a:ln>
                  <a:noFill/>
                </a:ln>
                <a:solidFill>
                  <a:srgbClr val="282828"/>
                </a:solidFill>
                <a:effectLst/>
                <a:uLnTx/>
                <a:uFillTx/>
                <a:latin typeface="Arial"/>
                <a:ea typeface="+mn-ea"/>
                <a:cs typeface="Arial"/>
              </a:rPr>
              <a:t> </a:t>
            </a:r>
            <a:r>
              <a:rPr kumimoji="0" sz="2400" b="0" i="0" u="none" strike="noStrike" kern="1200" cap="none" spc="10" normalizeH="0" baseline="0" noProof="0" dirty="0">
                <a:ln>
                  <a:noFill/>
                </a:ln>
                <a:solidFill>
                  <a:srgbClr val="282828"/>
                </a:solidFill>
                <a:effectLst/>
                <a:uLnTx/>
                <a:uFillTx/>
                <a:latin typeface="Arial"/>
                <a:ea typeface="+mn-ea"/>
                <a:cs typeface="Arial"/>
              </a:rPr>
              <a:t>settings</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305"/>
              </a:spcBef>
              <a:spcAft>
                <a:spcPts val="0"/>
              </a:spcAft>
              <a:buClrTx/>
              <a:buSzPct val="60000"/>
              <a:buFont typeface="Arial"/>
              <a:buChar char="•"/>
              <a:tabLst>
                <a:tab pos="320675" algn="l"/>
              </a:tabLst>
              <a:defRPr/>
            </a:pPr>
            <a:r>
              <a:rPr kumimoji="0" sz="2000" b="0" i="0" u="none" strike="noStrike" kern="1200" cap="none" spc="-5" normalizeH="0" baseline="0" noProof="0" dirty="0">
                <a:ln>
                  <a:noFill/>
                </a:ln>
                <a:solidFill>
                  <a:srgbClr val="282828"/>
                </a:solidFill>
                <a:effectLst/>
                <a:uLnTx/>
                <a:uFillTx/>
                <a:latin typeface="Courier New"/>
                <a:ea typeface="+mn-ea"/>
                <a:cs typeface="Courier New"/>
              </a:rPr>
              <a:t>ANSIBLE_CONFIG</a:t>
            </a:r>
            <a:r>
              <a:rPr kumimoji="0" sz="2000" b="0" i="0" u="none" strike="noStrike" kern="1200" cap="none" spc="-675" normalizeH="0" baseline="0" noProof="0" dirty="0">
                <a:ln>
                  <a:noFill/>
                </a:ln>
                <a:solidFill>
                  <a:srgbClr val="282828"/>
                </a:solidFill>
                <a:effectLst/>
                <a:uLnTx/>
                <a:uFillTx/>
                <a:latin typeface="Courier New"/>
                <a:ea typeface="+mn-ea"/>
                <a:cs typeface="Courier New"/>
              </a:rPr>
              <a:t> </a:t>
            </a:r>
            <a:r>
              <a:rPr kumimoji="0" sz="2000" b="0" i="0" u="none" strike="noStrike" kern="1200" cap="none" spc="-105" normalizeH="0" baseline="0" noProof="0" dirty="0">
                <a:ln>
                  <a:noFill/>
                </a:ln>
                <a:solidFill>
                  <a:srgbClr val="282828"/>
                </a:solidFill>
                <a:effectLst/>
                <a:uLnTx/>
                <a:uFillTx/>
                <a:latin typeface="Arial"/>
                <a:ea typeface="+mn-ea"/>
                <a:cs typeface="Arial"/>
              </a:rPr>
              <a:t>ENV</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80"/>
              </a:spcBef>
              <a:spcAft>
                <a:spcPts val="0"/>
              </a:spcAft>
              <a:buClrTx/>
              <a:buSzPct val="60000"/>
              <a:buFont typeface="Arial"/>
              <a:buChar char="•"/>
              <a:tabLst>
                <a:tab pos="320675" algn="l"/>
              </a:tabLst>
              <a:defRPr/>
            </a:pPr>
            <a:r>
              <a:rPr kumimoji="0" sz="2000" b="0" i="0" u="none" strike="noStrike" kern="1200" cap="none" spc="-5" normalizeH="0" baseline="0" noProof="0" dirty="0">
                <a:ln>
                  <a:noFill/>
                </a:ln>
                <a:solidFill>
                  <a:srgbClr val="282828"/>
                </a:solidFill>
                <a:effectLst/>
                <a:uLnTx/>
                <a:uFillTx/>
                <a:latin typeface="Courier New"/>
                <a:ea typeface="+mn-ea"/>
                <a:cs typeface="Courier New"/>
              </a:rPr>
              <a:t>ansible.cfg</a:t>
            </a:r>
            <a:r>
              <a:rPr kumimoji="0" sz="2000" b="0" i="0" u="none" strike="noStrike" kern="1200" cap="none" spc="-465" normalizeH="0" baseline="0" noProof="0" dirty="0">
                <a:ln>
                  <a:noFill/>
                </a:ln>
                <a:solidFill>
                  <a:srgbClr val="282828"/>
                </a:solidFill>
                <a:effectLst/>
                <a:uLnTx/>
                <a:uFillTx/>
                <a:latin typeface="Courier New"/>
                <a:ea typeface="+mn-ea"/>
                <a:cs typeface="Courier New"/>
              </a:rPr>
              <a:t> </a:t>
            </a:r>
            <a:r>
              <a:rPr kumimoji="0" sz="2000" b="0" i="0" u="none" strike="noStrike" kern="1200" cap="none" spc="-30" normalizeH="0" baseline="0" noProof="0" dirty="0">
                <a:ln>
                  <a:noFill/>
                </a:ln>
                <a:solidFill>
                  <a:srgbClr val="282828"/>
                </a:solidFill>
                <a:effectLst/>
                <a:uLnTx/>
                <a:uFillTx/>
                <a:latin typeface="Arial"/>
                <a:ea typeface="+mn-ea"/>
                <a:cs typeface="Arial"/>
              </a:rPr>
              <a:t>in </a:t>
            </a:r>
            <a:r>
              <a:rPr kumimoji="0" sz="2000" b="0" i="0" u="none" strike="noStrike" kern="1200" cap="none" spc="5" normalizeH="0" baseline="0" noProof="0" dirty="0">
                <a:ln>
                  <a:noFill/>
                </a:ln>
                <a:solidFill>
                  <a:srgbClr val="282828"/>
                </a:solidFill>
                <a:effectLst/>
                <a:uLnTx/>
                <a:uFillTx/>
                <a:latin typeface="Arial"/>
                <a:ea typeface="+mn-ea"/>
                <a:cs typeface="Arial"/>
              </a:rPr>
              <a:t>current </a:t>
            </a:r>
            <a:r>
              <a:rPr kumimoji="0" sz="2000" b="0" i="0" u="none" strike="noStrike" kern="1200" cap="none" spc="10" normalizeH="0" baseline="0" noProof="0" dirty="0">
                <a:ln>
                  <a:noFill/>
                </a:ln>
                <a:solidFill>
                  <a:srgbClr val="282828"/>
                </a:solidFill>
                <a:effectLst/>
                <a:uLnTx/>
                <a:uFillTx/>
                <a:latin typeface="Arial"/>
                <a:ea typeface="+mn-ea"/>
                <a:cs typeface="Arial"/>
              </a:rPr>
              <a:t>directory</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75"/>
              </a:spcBef>
              <a:spcAft>
                <a:spcPts val="0"/>
              </a:spcAft>
              <a:buClrTx/>
              <a:buSzPct val="60000"/>
              <a:buFont typeface="Arial"/>
              <a:buChar char="•"/>
              <a:tabLst>
                <a:tab pos="320675" algn="l"/>
              </a:tabLst>
              <a:defRPr/>
            </a:pPr>
            <a:r>
              <a:rPr kumimoji="0" sz="2000" b="0" i="0" u="none" strike="noStrike" kern="1200" cap="none" spc="-5" normalizeH="0" baseline="0" noProof="0" dirty="0">
                <a:ln>
                  <a:noFill/>
                </a:ln>
                <a:solidFill>
                  <a:srgbClr val="282828"/>
                </a:solidFill>
                <a:effectLst/>
                <a:uLnTx/>
                <a:uFillTx/>
                <a:latin typeface="Courier New"/>
                <a:ea typeface="+mn-ea"/>
                <a:cs typeface="Courier New"/>
              </a:rPr>
              <a:t>.ansible.cfg</a:t>
            </a:r>
            <a:r>
              <a:rPr kumimoji="0" sz="2000" b="0" i="0" u="none" strike="noStrike" kern="1200" cap="none" spc="-520" normalizeH="0" baseline="0" noProof="0" dirty="0">
                <a:ln>
                  <a:noFill/>
                </a:ln>
                <a:solidFill>
                  <a:srgbClr val="282828"/>
                </a:solidFill>
                <a:effectLst/>
                <a:uLnTx/>
                <a:uFillTx/>
                <a:latin typeface="Courier New"/>
                <a:ea typeface="+mn-ea"/>
                <a:cs typeface="Courier New"/>
              </a:rPr>
              <a:t> </a:t>
            </a:r>
            <a:r>
              <a:rPr kumimoji="0" sz="2000" b="0" i="0" u="none" strike="noStrike" kern="1200" cap="none" spc="-25" normalizeH="0" baseline="0" noProof="0" dirty="0">
                <a:ln>
                  <a:noFill/>
                </a:ln>
                <a:solidFill>
                  <a:srgbClr val="282828"/>
                </a:solidFill>
                <a:effectLst/>
                <a:uLnTx/>
                <a:uFillTx/>
                <a:latin typeface="Arial"/>
                <a:ea typeface="+mn-ea"/>
                <a:cs typeface="Arial"/>
              </a:rPr>
              <a:t>in </a:t>
            </a:r>
            <a:r>
              <a:rPr kumimoji="0" sz="2000" b="0" i="0" u="none" strike="noStrike" kern="1200" cap="none" spc="15" normalizeH="0" baseline="0" noProof="0" dirty="0">
                <a:ln>
                  <a:noFill/>
                </a:ln>
                <a:solidFill>
                  <a:srgbClr val="282828"/>
                </a:solidFill>
                <a:effectLst/>
                <a:uLnTx/>
                <a:uFillTx/>
                <a:latin typeface="Arial"/>
                <a:ea typeface="+mn-ea"/>
                <a:cs typeface="Arial"/>
              </a:rPr>
              <a:t>home </a:t>
            </a:r>
            <a:r>
              <a:rPr kumimoji="0" sz="2000" b="0" i="0" u="none" strike="noStrike" kern="1200" cap="none" spc="10" normalizeH="0" baseline="0" noProof="0" dirty="0">
                <a:ln>
                  <a:noFill/>
                </a:ln>
                <a:solidFill>
                  <a:srgbClr val="282828"/>
                </a:solidFill>
                <a:effectLst/>
                <a:uLnTx/>
                <a:uFillTx/>
                <a:latin typeface="Arial"/>
                <a:ea typeface="+mn-ea"/>
                <a:cs typeface="Arial"/>
              </a:rPr>
              <a:t>directory</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167640" marR="5080" lvl="0" indent="-154940" algn="l" defTabSz="914400" rtl="0" eaLnBrk="1" fontAlgn="auto" latinLnBrk="0" hangingPunct="1">
              <a:lnSpc>
                <a:spcPts val="2740"/>
              </a:lnSpc>
              <a:spcBef>
                <a:spcPts val="1750"/>
              </a:spcBef>
              <a:spcAft>
                <a:spcPts val="0"/>
              </a:spcAft>
              <a:buClrTx/>
              <a:buSzPct val="58333"/>
              <a:buFontTx/>
              <a:buChar char="•"/>
              <a:tabLst>
                <a:tab pos="168275" algn="l"/>
              </a:tabLst>
              <a:defRPr/>
            </a:pPr>
            <a:r>
              <a:rPr kumimoji="0" sz="2400" b="0" i="0" u="none" strike="noStrike" kern="1200" cap="none" spc="0" normalizeH="0" baseline="0" noProof="0" dirty="0">
                <a:ln>
                  <a:noFill/>
                </a:ln>
                <a:solidFill>
                  <a:srgbClr val="282828"/>
                </a:solidFill>
                <a:effectLst/>
                <a:uLnTx/>
                <a:uFillTx/>
                <a:latin typeface="Arial"/>
                <a:ea typeface="+mn-ea"/>
                <a:cs typeface="Arial"/>
              </a:rPr>
              <a:t>See </a:t>
            </a:r>
            <a:r>
              <a:rPr kumimoji="0" sz="2400" b="0" i="0" u="none" strike="noStrike" kern="1200" cap="none" spc="-5" normalizeH="0" baseline="0" noProof="0" dirty="0">
                <a:ln>
                  <a:noFill/>
                </a:ln>
                <a:solidFill>
                  <a:srgbClr val="282828"/>
                </a:solidFill>
                <a:effectLst/>
                <a:uLnTx/>
                <a:uFillTx/>
                <a:latin typeface="Arial"/>
                <a:ea typeface="+mn-ea"/>
                <a:cs typeface="Arial"/>
              </a:rPr>
              <a:t>Ansible </a:t>
            </a:r>
            <a:r>
              <a:rPr kumimoji="0" sz="2400" b="0" i="0" u="none" strike="noStrike" kern="1200" cap="none" spc="15" normalizeH="0" baseline="0" noProof="0" dirty="0">
                <a:ln>
                  <a:noFill/>
                </a:ln>
                <a:solidFill>
                  <a:srgbClr val="282828"/>
                </a:solidFill>
                <a:effectLst/>
                <a:uLnTx/>
                <a:uFillTx/>
                <a:latin typeface="Arial"/>
                <a:ea typeface="+mn-ea"/>
                <a:cs typeface="Arial"/>
              </a:rPr>
              <a:t>documentation </a:t>
            </a:r>
            <a:r>
              <a:rPr kumimoji="0" sz="2400" b="0" i="0" u="none" strike="noStrike" kern="1200" cap="none" spc="25" normalizeH="0" baseline="0" noProof="0" dirty="0">
                <a:ln>
                  <a:noFill/>
                </a:ln>
                <a:solidFill>
                  <a:srgbClr val="282828"/>
                </a:solidFill>
                <a:effectLst/>
                <a:uLnTx/>
                <a:uFillTx/>
                <a:latin typeface="Arial"/>
                <a:ea typeface="+mn-ea"/>
                <a:cs typeface="Arial"/>
              </a:rPr>
              <a:t>for </a:t>
            </a:r>
            <a:r>
              <a:rPr kumimoji="0" sz="2400" b="0" i="0" u="none" strike="noStrike" kern="1200" cap="none" spc="-45" normalizeH="0" baseline="0" noProof="0" dirty="0">
                <a:ln>
                  <a:noFill/>
                </a:ln>
                <a:solidFill>
                  <a:srgbClr val="282828"/>
                </a:solidFill>
                <a:effectLst/>
                <a:uLnTx/>
                <a:uFillTx/>
                <a:latin typeface="Arial"/>
                <a:ea typeface="+mn-ea"/>
                <a:cs typeface="Arial"/>
              </a:rPr>
              <a:t>all  </a:t>
            </a:r>
            <a:r>
              <a:rPr kumimoji="0" sz="2400" b="0" i="0" u="none" strike="noStrike" kern="1200" cap="none" spc="10" normalizeH="0" baseline="0" noProof="0" dirty="0">
                <a:ln>
                  <a:noFill/>
                </a:ln>
                <a:solidFill>
                  <a:srgbClr val="282828"/>
                </a:solidFill>
                <a:effectLst/>
                <a:uLnTx/>
                <a:uFillTx/>
                <a:latin typeface="Arial"/>
                <a:ea typeface="+mn-ea"/>
                <a:cs typeface="Arial"/>
              </a:rPr>
              <a:t>options</a:t>
            </a:r>
            <a:endParaRPr kumimoji="0" sz="24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a:spLocks noGrp="1"/>
          </p:cNvSpPr>
          <p:nvPr>
            <p:ph type="title"/>
          </p:nvPr>
        </p:nvSpPr>
        <p:spPr>
          <a:xfrm>
            <a:off x="662736" y="587501"/>
            <a:ext cx="5431790" cy="596265"/>
          </a:xfrm>
          <a:prstGeom prst="rect">
            <a:avLst/>
          </a:prstGeom>
        </p:spPr>
        <p:txBody>
          <a:bodyPr vert="horz" wrap="square" lIns="0" tIns="12065" rIns="0" bIns="0" rtlCol="0">
            <a:spAutoFit/>
          </a:bodyPr>
          <a:lstStyle/>
          <a:p>
            <a:pPr marL="12700">
              <a:lnSpc>
                <a:spcPct val="100000"/>
              </a:lnSpc>
              <a:spcBef>
                <a:spcPts val="95"/>
              </a:spcBef>
            </a:pPr>
            <a:r>
              <a:rPr spc="-10" dirty="0">
                <a:solidFill>
                  <a:srgbClr val="005073"/>
                </a:solidFill>
              </a:rPr>
              <a:t>Ansible </a:t>
            </a:r>
            <a:r>
              <a:rPr dirty="0">
                <a:solidFill>
                  <a:srgbClr val="005073"/>
                </a:solidFill>
              </a:rPr>
              <a:t>Configuration</a:t>
            </a:r>
            <a:r>
              <a:rPr spc="100" dirty="0">
                <a:solidFill>
                  <a:srgbClr val="005073"/>
                </a:solidFill>
              </a:rPr>
              <a:t> </a:t>
            </a:r>
            <a:r>
              <a:rPr spc="-75" dirty="0">
                <a:solidFill>
                  <a:srgbClr val="005073"/>
                </a:solidFill>
              </a:rPr>
              <a:t>File</a:t>
            </a:r>
          </a:p>
        </p:txBody>
      </p:sp>
      <p:sp>
        <p:nvSpPr>
          <p:cNvPr id="4" name="object 4"/>
          <p:cNvSpPr txBox="1"/>
          <p:nvPr/>
        </p:nvSpPr>
        <p:spPr>
          <a:xfrm>
            <a:off x="662736" y="5988202"/>
            <a:ext cx="10970895" cy="8356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0" u="heavy" strike="noStrike" kern="1200" cap="none" spc="10" normalizeH="0" baseline="0" noProof="0" dirty="0">
                <a:ln>
                  <a:noFill/>
                </a:ln>
                <a:solidFill>
                  <a:srgbClr val="00BBEB"/>
                </a:solidFill>
                <a:effectLst/>
                <a:uLnTx/>
                <a:uFillTx/>
                <a:latin typeface="Arial"/>
                <a:ea typeface="+mn-ea"/>
                <a:cs typeface="Arial"/>
                <a:hlinkClick r:id="rId2"/>
              </a:rPr>
              <a:t>http://docs.ansible.com/ansible/latest/intro_configuration.html</a:t>
            </a:r>
            <a:endParaRPr kumimoji="0" sz="1800" b="0" i="0" u="none" strike="noStrike" kern="1200" cap="none" spc="0" normalizeH="0" baseline="0" noProof="0">
              <a:ln>
                <a:noFill/>
              </a:ln>
              <a:solidFill>
                <a:prstClr val="black"/>
              </a:solidFill>
              <a:effectLst/>
              <a:uLnTx/>
              <a:uFillTx/>
              <a:latin typeface="Arial"/>
              <a:ea typeface="+mn-ea"/>
              <a:cs typeface="Arial"/>
            </a:endParaRPr>
          </a:p>
          <a:p>
            <a:pPr marL="56515" marR="0" lvl="0" indent="0" algn="l" defTabSz="914400" rtl="0" eaLnBrk="1" fontAlgn="auto" latinLnBrk="0" hangingPunct="1">
              <a:lnSpc>
                <a:spcPct val="100000"/>
              </a:lnSpc>
              <a:spcBef>
                <a:spcPts val="72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6642100" marR="0" lvl="0" indent="0" algn="l" defTabSz="914400" rtl="0" eaLnBrk="1" fontAlgn="auto" latinLnBrk="0" hangingPunct="1">
              <a:lnSpc>
                <a:spcPct val="100000"/>
              </a:lnSpc>
              <a:spcBef>
                <a:spcPts val="855"/>
              </a:spcBef>
              <a:spcAft>
                <a:spcPts val="0"/>
              </a:spcAft>
              <a:buClrTx/>
              <a:buSzTx/>
              <a:buFontTx/>
              <a:buNone/>
              <a:tabLst/>
              <a:defRPr/>
            </a:pPr>
            <a:r>
              <a:rPr kumimoji="0" sz="1400" b="0" i="0" u="none" strike="noStrike" kern="1200" cap="none" spc="10" normalizeH="0" baseline="0" noProof="0" dirty="0">
                <a:ln>
                  <a:noFill/>
                </a:ln>
                <a:solidFill>
                  <a:srgbClr val="00BBEB"/>
                </a:solidFill>
                <a:effectLst/>
                <a:uLnTx/>
                <a:uFillTx/>
                <a:latin typeface="Arial"/>
                <a:ea typeface="+mn-ea"/>
                <a:cs typeface="Arial"/>
              </a:rPr>
              <a:t>netprog_basics/netdevops/ansible_part_1/ansible.cfg</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5" name="object 5"/>
          <p:cNvSpPr txBox="1"/>
          <p:nvPr/>
        </p:nvSpPr>
        <p:spPr>
          <a:xfrm>
            <a:off x="6339840" y="1661160"/>
            <a:ext cx="5370830" cy="3923029"/>
          </a:xfrm>
          <a:prstGeom prst="rect">
            <a:avLst/>
          </a:prstGeom>
          <a:solidFill>
            <a:srgbClr val="282828"/>
          </a:solidFill>
        </p:spPr>
        <p:txBody>
          <a:bodyPr vert="horz" wrap="square" lIns="0" tIns="17145" rIns="0" bIns="0" rtlCol="0">
            <a:spAutoFit/>
          </a:bodyPr>
          <a:lstStyle/>
          <a:p>
            <a:pPr marL="78740" marR="0" lvl="0" indent="0" algn="l" defTabSz="914400" rtl="0" eaLnBrk="1" fontAlgn="auto" latinLnBrk="0" hangingPunct="1">
              <a:lnSpc>
                <a:spcPct val="100000"/>
              </a:lnSpc>
              <a:spcBef>
                <a:spcPts val="135"/>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DevNet$ cat</a:t>
            </a:r>
            <a:r>
              <a:rPr kumimoji="0" sz="1400" b="0" i="0" u="none" strike="noStrike" kern="1200" cap="none" spc="-55"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nsible.cfg</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15"/>
              </a:spcBef>
              <a:spcAft>
                <a:spcPts val="0"/>
              </a:spcAft>
              <a:buClrTx/>
              <a:buSzTx/>
              <a:buFontTx/>
              <a:buNone/>
              <a:tabLst/>
              <a:defRPr/>
            </a:pPr>
            <a:endParaRPr kumimoji="0" sz="1300" b="0" i="0" u="none" strike="noStrike" kern="1200" cap="none" spc="0" normalizeH="0" baseline="0" noProof="0">
              <a:ln>
                <a:noFill/>
              </a:ln>
              <a:solidFill>
                <a:prstClr val="black"/>
              </a:solidFill>
              <a:effectLst/>
              <a:uLnTx/>
              <a:uFillTx/>
              <a:latin typeface="Times New Roman"/>
              <a:ea typeface="+mn-ea"/>
              <a:cs typeface="Times New Roman"/>
            </a:endParaRPr>
          </a:p>
          <a:p>
            <a:pPr marL="78740" marR="0" lvl="0" indent="0" algn="l" defTabSz="914400" rtl="0" eaLnBrk="1" fontAlgn="auto" latinLnBrk="0" hangingPunct="1">
              <a:lnSpc>
                <a:spcPts val="163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 config file for</a:t>
            </a:r>
            <a:r>
              <a:rPr kumimoji="0" sz="1400" b="0" i="0" u="none" strike="noStrike" kern="1200" cap="none" spc="-70"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nsible</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l" defTabSz="914400" rtl="0" eaLnBrk="1" fontAlgn="auto" latinLnBrk="0" hangingPunct="1">
              <a:lnSpc>
                <a:spcPts val="163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 override </a:t>
            </a:r>
            <a:r>
              <a:rPr kumimoji="0" sz="1400" b="0" i="0" u="none" strike="noStrike" kern="1200" cap="none" spc="-10" normalizeH="0" baseline="0" noProof="0" dirty="0">
                <a:ln>
                  <a:noFill/>
                </a:ln>
                <a:solidFill>
                  <a:srgbClr val="FFFFFF"/>
                </a:solidFill>
                <a:effectLst/>
                <a:uLnTx/>
                <a:uFillTx/>
                <a:latin typeface="Courier New"/>
                <a:ea typeface="+mn-ea"/>
                <a:cs typeface="Courier New"/>
              </a:rPr>
              <a:t>global certain global</a:t>
            </a:r>
            <a:r>
              <a:rPr kumimoji="0" sz="1400" b="0" i="0" u="none" strike="noStrike" kern="1200" cap="none" spc="-3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settings</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20"/>
              </a:spcBef>
              <a:spcAft>
                <a:spcPts val="0"/>
              </a:spcAft>
              <a:buClrTx/>
              <a:buSzTx/>
              <a:buFontTx/>
              <a:buNone/>
              <a:tabLst/>
              <a:defRPr/>
            </a:pPr>
            <a:endParaRPr kumimoji="0" sz="1300" b="0" i="0" u="none" strike="noStrike" kern="1200" cap="none" spc="0" normalizeH="0" baseline="0" noProof="0">
              <a:ln>
                <a:noFill/>
              </a:ln>
              <a:solidFill>
                <a:prstClr val="black"/>
              </a:solidFill>
              <a:effectLst/>
              <a:uLnTx/>
              <a:uFillTx/>
              <a:latin typeface="Times New Roman"/>
              <a:ea typeface="+mn-ea"/>
              <a:cs typeface="Times New Roman"/>
            </a:endParaRPr>
          </a:p>
          <a:p>
            <a:pPr marL="78740" marR="0" lvl="0" indent="0" algn="l" defTabSz="914400" rtl="0" eaLnBrk="1" fontAlgn="auto" latinLnBrk="0" hangingPunct="1">
              <a:lnSpc>
                <a:spcPts val="164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defaults]</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78740" marR="1238885" lvl="0" indent="0" algn="l" defTabSz="914400" rtl="0" eaLnBrk="1" fontAlgn="auto" latinLnBrk="0" hangingPunct="1">
              <a:lnSpc>
                <a:spcPts val="1580"/>
              </a:lnSpc>
              <a:spcBef>
                <a:spcPts val="100"/>
              </a:spcBef>
              <a:spcAft>
                <a:spcPts val="0"/>
              </a:spcAft>
              <a:buClrTx/>
              <a:buSzTx/>
              <a:buFontTx/>
              <a:buNone/>
              <a:tabLst>
                <a:tab pos="1675764" algn="l"/>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 default to </a:t>
            </a:r>
            <a:r>
              <a:rPr kumimoji="0" sz="1400" b="0" i="0" u="none" strike="noStrike" kern="1200" cap="none" spc="-10" normalizeH="0" baseline="0" noProof="0" dirty="0">
                <a:ln>
                  <a:noFill/>
                </a:ln>
                <a:solidFill>
                  <a:srgbClr val="FFFFFF"/>
                </a:solidFill>
                <a:effectLst/>
                <a:uLnTx/>
                <a:uFillTx/>
                <a:latin typeface="Courier New"/>
                <a:ea typeface="+mn-ea"/>
                <a:cs typeface="Courier New"/>
              </a:rPr>
              <a:t>inventory file </a:t>
            </a:r>
            <a:r>
              <a:rPr kumimoji="0" sz="1400" b="0" i="0" u="none" strike="noStrike" kern="1200" cap="none" spc="-15" normalizeH="0" baseline="0" noProof="0" dirty="0">
                <a:ln>
                  <a:noFill/>
                </a:ln>
                <a:solidFill>
                  <a:srgbClr val="FFFFFF"/>
                </a:solidFill>
                <a:effectLst/>
                <a:uLnTx/>
                <a:uFillTx/>
                <a:latin typeface="Courier New"/>
                <a:ea typeface="+mn-ea"/>
                <a:cs typeface="Courier New"/>
              </a:rPr>
              <a:t>of </a:t>
            </a:r>
            <a:r>
              <a:rPr kumimoji="0" sz="1400" b="0" i="0" u="none" strike="noStrike" kern="1200" cap="none" spc="-5" normalizeH="0" baseline="0" noProof="0" dirty="0">
                <a:ln>
                  <a:noFill/>
                </a:ln>
                <a:solidFill>
                  <a:srgbClr val="FFFFFF"/>
                </a:solidFill>
                <a:effectLst/>
                <a:uLnTx/>
                <a:uFillTx/>
                <a:latin typeface="Courier New"/>
                <a:ea typeface="+mn-ea"/>
                <a:cs typeface="Courier New"/>
              </a:rPr>
              <a:t>./hosts  inventory	=</a:t>
            </a:r>
            <a:r>
              <a:rPr kumimoji="0" sz="1400" b="0" i="0" u="none" strike="noStrike" kern="1200" cap="none" spc="-10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hosts</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35"/>
              </a:spcBef>
              <a:spcAft>
                <a:spcPts val="0"/>
              </a:spcAft>
              <a:buClrTx/>
              <a:buSzTx/>
              <a:buFontTx/>
              <a:buNone/>
              <a:tabLst/>
              <a:defRPr/>
            </a:pPr>
            <a:endParaRPr kumimoji="0" sz="1250" b="0" i="0" u="none" strike="noStrike" kern="1200" cap="none" spc="0" normalizeH="0" baseline="0" noProof="0">
              <a:ln>
                <a:noFill/>
              </a:ln>
              <a:solidFill>
                <a:prstClr val="black"/>
              </a:solidFill>
              <a:effectLst/>
              <a:uLnTx/>
              <a:uFillTx/>
              <a:latin typeface="Times New Roman"/>
              <a:ea typeface="+mn-ea"/>
              <a:cs typeface="Times New Roman"/>
            </a:endParaRPr>
          </a:p>
          <a:p>
            <a:pPr marL="78740" marR="0" lvl="0" indent="0" algn="l" defTabSz="914400" rtl="0" eaLnBrk="1" fontAlgn="auto" latinLnBrk="0" hangingPunct="1">
              <a:lnSpc>
                <a:spcPts val="1645"/>
              </a:lnSpc>
              <a:spcBef>
                <a:spcPts val="5"/>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 disable host checking to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utomatically</a:t>
            </a:r>
            <a:r>
              <a:rPr kumimoji="0" sz="1400" b="0" i="0" u="none" strike="noStrike" kern="1200" cap="none" spc="-55" normalizeH="0" baseline="0" noProof="0" dirty="0">
                <a:ln>
                  <a:noFill/>
                </a:ln>
                <a:solidFill>
                  <a:srgbClr val="FFFFFF"/>
                </a:solidFill>
                <a:effectLst/>
                <a:uLnTx/>
                <a:uFillTx/>
                <a:latin typeface="Courier New"/>
                <a:ea typeface="+mn-ea"/>
                <a:cs typeface="Courier New"/>
              </a:rPr>
              <a:t> </a:t>
            </a:r>
            <a:r>
              <a:rPr kumimoji="0" sz="1400" b="0" i="0" u="none" strike="noStrike" kern="1200" cap="none" spc="-15" normalizeH="0" baseline="0" noProof="0" dirty="0">
                <a:ln>
                  <a:noFill/>
                </a:ln>
                <a:solidFill>
                  <a:srgbClr val="FFFFFF"/>
                </a:solidFill>
                <a:effectLst/>
                <a:uLnTx/>
                <a:uFillTx/>
                <a:latin typeface="Courier New"/>
                <a:ea typeface="+mn-ea"/>
                <a:cs typeface="Courier New"/>
              </a:rPr>
              <a:t>add</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78740" marR="2624455" lvl="0" indent="0" algn="l" defTabSz="914400" rtl="0" eaLnBrk="1" fontAlgn="auto" latinLnBrk="0" hangingPunct="1">
              <a:lnSpc>
                <a:spcPts val="1580"/>
              </a:lnSpc>
              <a:spcBef>
                <a:spcPts val="10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 hosts to </a:t>
            </a:r>
            <a:r>
              <a:rPr kumimoji="0" sz="1400" b="0" i="0" u="none" strike="noStrike" kern="1200" cap="none" spc="-10" normalizeH="0" baseline="0" noProof="0" dirty="0">
                <a:ln>
                  <a:noFill/>
                </a:ln>
                <a:solidFill>
                  <a:srgbClr val="FFFFFF"/>
                </a:solidFill>
                <a:effectLst/>
                <a:uLnTx/>
                <a:uFillTx/>
                <a:latin typeface="Courier New"/>
                <a:ea typeface="+mn-ea"/>
                <a:cs typeface="Courier New"/>
              </a:rPr>
              <a:t>known_hosts  host_key_checking </a:t>
            </a: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r>
              <a:rPr kumimoji="0" sz="1400" b="0" i="0" u="none" strike="noStrike" kern="1200" cap="none" spc="-15"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False</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35"/>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Times New Roman"/>
              <a:ea typeface="+mn-ea"/>
              <a:cs typeface="Times New Roman"/>
            </a:endParaRPr>
          </a:p>
          <a:p>
            <a:pPr marL="78740" marR="705485" lvl="0" indent="0" algn="l" defTabSz="914400" rtl="0" eaLnBrk="1" fontAlgn="auto" latinLnBrk="0" hangingPunct="1">
              <a:lnSpc>
                <a:spcPts val="1610"/>
              </a:lnSpc>
              <a:spcBef>
                <a:spcPts val="0"/>
              </a:spcBef>
              <a:spcAft>
                <a:spcPts val="0"/>
              </a:spcAft>
              <a:buClrTx/>
              <a:buSzTx/>
              <a:buFontTx/>
              <a:buNone/>
              <a:tabLst>
                <a:tab pos="1676400" algn="l"/>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 set the </a:t>
            </a:r>
            <a:r>
              <a:rPr kumimoji="0" sz="1400" b="0" i="0" u="none" strike="noStrike" kern="1200" cap="none" spc="-10" normalizeH="0" baseline="0" noProof="0" dirty="0">
                <a:ln>
                  <a:noFill/>
                </a:ln>
                <a:solidFill>
                  <a:srgbClr val="FFFFFF"/>
                </a:solidFill>
                <a:effectLst/>
                <a:uLnTx/>
                <a:uFillTx/>
                <a:latin typeface="Courier New"/>
                <a:ea typeface="+mn-ea"/>
                <a:cs typeface="Courier New"/>
              </a:rPr>
              <a:t>roles </a:t>
            </a:r>
            <a:r>
              <a:rPr kumimoji="0" sz="1400" b="0" i="0" u="none" strike="noStrike" kern="1200" cap="none" spc="-5" normalizeH="0" baseline="0" noProof="0" dirty="0">
                <a:ln>
                  <a:noFill/>
                </a:ln>
                <a:solidFill>
                  <a:srgbClr val="FFFFFF"/>
                </a:solidFill>
                <a:effectLst/>
                <a:uLnTx/>
                <a:uFillTx/>
                <a:latin typeface="Courier New"/>
                <a:ea typeface="+mn-ea"/>
                <a:cs typeface="Courier New"/>
              </a:rPr>
              <a:t>path to the </a:t>
            </a:r>
            <a:r>
              <a:rPr kumimoji="0" sz="1400" b="0" i="0" u="none" strike="noStrike" kern="1200" cap="none" spc="-10" normalizeH="0" baseline="0" noProof="0" dirty="0">
                <a:ln>
                  <a:noFill/>
                </a:ln>
                <a:solidFill>
                  <a:srgbClr val="FFFFFF"/>
                </a:solidFill>
                <a:effectLst/>
                <a:uLnTx/>
                <a:uFillTx/>
                <a:latin typeface="Courier New"/>
                <a:ea typeface="+mn-ea"/>
                <a:cs typeface="Courier New"/>
              </a:rPr>
              <a:t>local </a:t>
            </a:r>
            <a:r>
              <a:rPr kumimoji="0" sz="1400" b="0" i="0" u="none" strike="noStrike" kern="1200" cap="none" spc="-5" normalizeH="0" baseline="0" noProof="0" dirty="0">
                <a:ln>
                  <a:noFill/>
                </a:ln>
                <a:solidFill>
                  <a:srgbClr val="FFFFFF"/>
                </a:solidFill>
                <a:effectLst/>
                <a:uLnTx/>
                <a:uFillTx/>
                <a:latin typeface="Courier New"/>
                <a:ea typeface="+mn-ea"/>
                <a:cs typeface="Courier New"/>
              </a:rPr>
              <a:t>directory  roles_path	=</a:t>
            </a:r>
            <a:r>
              <a:rPr kumimoji="0" sz="1400" b="0" i="0" u="none" strike="noStrike" kern="1200" cap="none" spc="-10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p:txBody>
      </p:sp>
    </p:spTree>
    <p:extLst>
      <p:ext uri="{BB962C8B-B14F-4D97-AF65-F5344CB8AC3E}">
        <p14:creationId xmlns:p14="http://schemas.microsoft.com/office/powerpoint/2010/main" val="35735749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p:nvPr/>
        </p:nvSpPr>
        <p:spPr>
          <a:xfrm>
            <a:off x="774903" y="1626489"/>
            <a:ext cx="4960620" cy="3086100"/>
          </a:xfrm>
          <a:prstGeom prst="rect">
            <a:avLst/>
          </a:prstGeom>
        </p:spPr>
        <p:txBody>
          <a:bodyPr vert="horz" wrap="square" lIns="0" tIns="28575" rIns="0" bIns="0" rtlCol="0">
            <a:spAutoFit/>
          </a:bodyPr>
          <a:lstStyle/>
          <a:p>
            <a:pPr marL="167640" marR="5080" lvl="0" indent="-154940" algn="l" defTabSz="914400" rtl="0" eaLnBrk="1" fontAlgn="auto" latinLnBrk="0" hangingPunct="1">
              <a:lnSpc>
                <a:spcPct val="95600"/>
              </a:lnSpc>
              <a:spcBef>
                <a:spcPts val="225"/>
              </a:spcBef>
              <a:spcAft>
                <a:spcPts val="0"/>
              </a:spcAft>
              <a:buClrTx/>
              <a:buSzPct val="60000"/>
              <a:buFontTx/>
              <a:buChar char="•"/>
              <a:tabLst>
                <a:tab pos="168275" algn="l"/>
              </a:tabLst>
              <a:defRPr/>
            </a:pPr>
            <a:r>
              <a:rPr kumimoji="0" sz="2250" b="0" i="0" u="none" strike="noStrike" kern="1200" cap="none" spc="-10" normalizeH="0" baseline="0" noProof="0" dirty="0">
                <a:ln>
                  <a:noFill/>
                </a:ln>
                <a:solidFill>
                  <a:srgbClr val="282828"/>
                </a:solidFill>
                <a:effectLst/>
                <a:uLnTx/>
                <a:uFillTx/>
                <a:latin typeface="Arial"/>
                <a:ea typeface="+mn-ea"/>
                <a:cs typeface="Arial"/>
              </a:rPr>
              <a:t>Typically, </a:t>
            </a:r>
            <a:r>
              <a:rPr kumimoji="0" sz="2250" b="0" i="0" u="none" strike="noStrike" kern="1200" cap="none" spc="0" normalizeH="0" baseline="0" noProof="0" dirty="0">
                <a:ln>
                  <a:noFill/>
                </a:ln>
                <a:solidFill>
                  <a:srgbClr val="282828"/>
                </a:solidFill>
                <a:effectLst/>
                <a:uLnTx/>
                <a:uFillTx/>
                <a:latin typeface="Arial"/>
                <a:ea typeface="+mn-ea"/>
                <a:cs typeface="Arial"/>
              </a:rPr>
              <a:t>Ansible uses </a:t>
            </a:r>
            <a:r>
              <a:rPr kumimoji="0" sz="2250" b="0" i="0" u="none" strike="noStrike" kern="1200" cap="none" spc="-55" normalizeH="0" baseline="0" noProof="0" dirty="0">
                <a:ln>
                  <a:noFill/>
                </a:ln>
                <a:solidFill>
                  <a:srgbClr val="282828"/>
                </a:solidFill>
                <a:effectLst/>
                <a:uLnTx/>
                <a:uFillTx/>
                <a:latin typeface="Arial"/>
                <a:ea typeface="+mn-ea"/>
                <a:cs typeface="Arial"/>
              </a:rPr>
              <a:t>SSH </a:t>
            </a:r>
            <a:r>
              <a:rPr kumimoji="0" sz="2250" b="0" i="0" u="none" strike="noStrike" kern="1200" cap="none" spc="30" normalizeH="0" baseline="0" noProof="0" dirty="0">
                <a:ln>
                  <a:noFill/>
                </a:ln>
                <a:solidFill>
                  <a:srgbClr val="282828"/>
                </a:solidFill>
                <a:effectLst/>
                <a:uLnTx/>
                <a:uFillTx/>
                <a:latin typeface="Arial"/>
                <a:ea typeface="+mn-ea"/>
                <a:cs typeface="Arial"/>
              </a:rPr>
              <a:t>for  </a:t>
            </a:r>
            <a:r>
              <a:rPr kumimoji="0" sz="2250" b="0" i="0" u="none" strike="noStrike" kern="1200" cap="none" spc="5" normalizeH="0" baseline="0" noProof="0" dirty="0">
                <a:ln>
                  <a:noFill/>
                </a:ln>
                <a:solidFill>
                  <a:srgbClr val="282828"/>
                </a:solidFill>
                <a:effectLst/>
                <a:uLnTx/>
                <a:uFillTx/>
                <a:latin typeface="Arial"/>
                <a:ea typeface="+mn-ea"/>
                <a:cs typeface="Arial"/>
              </a:rPr>
              <a:t>authentication </a:t>
            </a:r>
            <a:r>
              <a:rPr kumimoji="0" sz="2250" b="0" i="0" u="none" strike="noStrike" kern="1200" cap="none" spc="-5" normalizeH="0" baseline="0" noProof="0" dirty="0">
                <a:ln>
                  <a:noFill/>
                </a:ln>
                <a:solidFill>
                  <a:srgbClr val="282828"/>
                </a:solidFill>
                <a:effectLst/>
                <a:uLnTx/>
                <a:uFillTx/>
                <a:latin typeface="Arial"/>
                <a:ea typeface="+mn-ea"/>
                <a:cs typeface="Arial"/>
              </a:rPr>
              <a:t>and </a:t>
            </a:r>
            <a:r>
              <a:rPr kumimoji="0" sz="2250" b="0" i="0" u="none" strike="noStrike" kern="1200" cap="none" spc="0" normalizeH="0" baseline="0" noProof="0" dirty="0">
                <a:ln>
                  <a:noFill/>
                </a:ln>
                <a:solidFill>
                  <a:srgbClr val="282828"/>
                </a:solidFill>
                <a:effectLst/>
                <a:uLnTx/>
                <a:uFillTx/>
                <a:latin typeface="Arial"/>
                <a:ea typeface="+mn-ea"/>
                <a:cs typeface="Arial"/>
              </a:rPr>
              <a:t>assumes keys are  </a:t>
            </a:r>
            <a:r>
              <a:rPr kumimoji="0" sz="2250" b="0" i="0" u="none" strike="noStrike" kern="1200" cap="none" spc="-20" normalizeH="0" baseline="0" noProof="0" dirty="0">
                <a:ln>
                  <a:noFill/>
                </a:ln>
                <a:solidFill>
                  <a:srgbClr val="282828"/>
                </a:solidFill>
                <a:effectLst/>
                <a:uLnTx/>
                <a:uFillTx/>
                <a:latin typeface="Arial"/>
                <a:ea typeface="+mn-ea"/>
                <a:cs typeface="Arial"/>
              </a:rPr>
              <a:t>in</a:t>
            </a:r>
            <a:r>
              <a:rPr kumimoji="0" sz="2250" b="0" i="0" u="none" strike="noStrike" kern="1200" cap="none" spc="-10" normalizeH="0" baseline="0" noProof="0" dirty="0">
                <a:ln>
                  <a:noFill/>
                </a:ln>
                <a:solidFill>
                  <a:srgbClr val="282828"/>
                </a:solidFill>
                <a:effectLst/>
                <a:uLnTx/>
                <a:uFillTx/>
                <a:latin typeface="Arial"/>
                <a:ea typeface="+mn-ea"/>
                <a:cs typeface="Arial"/>
              </a:rPr>
              <a:t> </a:t>
            </a:r>
            <a:r>
              <a:rPr kumimoji="0" sz="2250" b="0" i="0" u="none" strike="noStrike" kern="1200" cap="none" spc="10" normalizeH="0" baseline="0" noProof="0" dirty="0">
                <a:ln>
                  <a:noFill/>
                </a:ln>
                <a:solidFill>
                  <a:srgbClr val="282828"/>
                </a:solidFill>
                <a:effectLst/>
                <a:uLnTx/>
                <a:uFillTx/>
                <a:latin typeface="Arial"/>
                <a:ea typeface="+mn-ea"/>
                <a:cs typeface="Arial"/>
              </a:rPr>
              <a:t>place</a:t>
            </a:r>
            <a:endParaRPr kumimoji="0" sz="2250" b="0" i="0" u="none" strike="noStrike" kern="1200" cap="none" spc="0" normalizeH="0" baseline="0" noProof="0">
              <a:ln>
                <a:noFill/>
              </a:ln>
              <a:solidFill>
                <a:prstClr val="black"/>
              </a:solidFill>
              <a:effectLst/>
              <a:uLnTx/>
              <a:uFillTx/>
              <a:latin typeface="Arial"/>
              <a:ea typeface="+mn-ea"/>
              <a:cs typeface="Arial"/>
            </a:endParaRPr>
          </a:p>
          <a:p>
            <a:pPr marL="167640" marR="5080" lvl="0" indent="-154940" algn="l" defTabSz="914400" rtl="0" eaLnBrk="1" fontAlgn="auto" latinLnBrk="0" hangingPunct="1">
              <a:lnSpc>
                <a:spcPct val="96000"/>
              </a:lnSpc>
              <a:spcBef>
                <a:spcPts val="1485"/>
              </a:spcBef>
              <a:spcAft>
                <a:spcPts val="0"/>
              </a:spcAft>
              <a:buClr>
                <a:srgbClr val="282828"/>
              </a:buClr>
              <a:buSzPct val="60000"/>
              <a:buFont typeface="Arial"/>
              <a:buChar char="•"/>
              <a:tabLst>
                <a:tab pos="168275" algn="l"/>
              </a:tabLst>
              <a:defRPr/>
            </a:pPr>
            <a:r>
              <a:rPr kumimoji="0" sz="2250" b="0" i="0" u="none" strike="noStrike" kern="1200" cap="none" spc="-60" normalizeH="0" baseline="0" noProof="0" dirty="0">
                <a:ln>
                  <a:noFill/>
                </a:ln>
                <a:solidFill>
                  <a:srgbClr val="E2231B"/>
                </a:solidFill>
                <a:effectLst/>
                <a:uLnTx/>
                <a:uFillTx/>
                <a:latin typeface="Lucida Sans Unicode"/>
                <a:ea typeface="+mn-ea"/>
                <a:cs typeface="Lucida Sans Unicode"/>
              </a:rPr>
              <a:t>Setting </a:t>
            </a:r>
            <a:r>
              <a:rPr kumimoji="0" sz="2250" b="0" i="0" u="none" strike="noStrike" kern="1200" cap="none" spc="-125" normalizeH="0" baseline="0" noProof="0" dirty="0">
                <a:ln>
                  <a:noFill/>
                </a:ln>
                <a:solidFill>
                  <a:srgbClr val="E2231B"/>
                </a:solidFill>
                <a:effectLst/>
                <a:uLnTx/>
                <a:uFillTx/>
                <a:latin typeface="Lucida Sans Unicode"/>
                <a:ea typeface="+mn-ea"/>
                <a:cs typeface="Lucida Sans Unicode"/>
              </a:rPr>
              <a:t>up </a:t>
            </a:r>
            <a:r>
              <a:rPr kumimoji="0" sz="2250" b="0" i="0" u="none" strike="noStrike" kern="1200" cap="none" spc="-5" normalizeH="0" baseline="0" noProof="0" dirty="0">
                <a:ln>
                  <a:noFill/>
                </a:ln>
                <a:solidFill>
                  <a:srgbClr val="282828"/>
                </a:solidFill>
                <a:effectLst/>
                <a:uLnTx/>
                <a:uFillTx/>
                <a:latin typeface="Arial"/>
                <a:ea typeface="+mn-ea"/>
                <a:cs typeface="Arial"/>
              </a:rPr>
              <a:t>and </a:t>
            </a:r>
            <a:r>
              <a:rPr kumimoji="0" sz="2250" b="0" i="0" u="none" strike="noStrike" kern="1200" cap="none" spc="-110" normalizeH="0" baseline="0" noProof="0" dirty="0">
                <a:ln>
                  <a:noFill/>
                </a:ln>
                <a:solidFill>
                  <a:srgbClr val="6DBD49"/>
                </a:solidFill>
                <a:effectLst/>
                <a:uLnTx/>
                <a:uFillTx/>
                <a:latin typeface="Lucida Sans Unicode"/>
                <a:ea typeface="+mn-ea"/>
                <a:cs typeface="Lucida Sans Unicode"/>
              </a:rPr>
              <a:t>transferring </a:t>
            </a:r>
            <a:r>
              <a:rPr kumimoji="0" sz="2250" b="0" i="0" u="none" strike="noStrike" kern="1200" cap="none" spc="-55" normalizeH="0" baseline="0" noProof="0" dirty="0">
                <a:ln>
                  <a:noFill/>
                </a:ln>
                <a:solidFill>
                  <a:srgbClr val="282828"/>
                </a:solidFill>
                <a:effectLst/>
                <a:uLnTx/>
                <a:uFillTx/>
                <a:latin typeface="Arial"/>
                <a:ea typeface="+mn-ea"/>
                <a:cs typeface="Arial"/>
              </a:rPr>
              <a:t>SSH </a:t>
            </a:r>
            <a:r>
              <a:rPr kumimoji="0" sz="2250" b="0" i="0" u="none" strike="noStrike" kern="1200" cap="none" spc="0" normalizeH="0" baseline="0" noProof="0" dirty="0">
                <a:ln>
                  <a:noFill/>
                </a:ln>
                <a:solidFill>
                  <a:srgbClr val="282828"/>
                </a:solidFill>
                <a:effectLst/>
                <a:uLnTx/>
                <a:uFillTx/>
                <a:latin typeface="Arial"/>
                <a:ea typeface="+mn-ea"/>
                <a:cs typeface="Arial"/>
              </a:rPr>
              <a:t>keys  allows playbooks </a:t>
            </a:r>
            <a:r>
              <a:rPr kumimoji="0" sz="2250" b="0" i="0" u="none" strike="noStrike" kern="1200" cap="none" spc="35" normalizeH="0" baseline="0" noProof="0" dirty="0">
                <a:ln>
                  <a:noFill/>
                </a:ln>
                <a:solidFill>
                  <a:srgbClr val="282828"/>
                </a:solidFill>
                <a:effectLst/>
                <a:uLnTx/>
                <a:uFillTx/>
                <a:latin typeface="Arial"/>
                <a:ea typeface="+mn-ea"/>
                <a:cs typeface="Arial"/>
              </a:rPr>
              <a:t>to </a:t>
            </a:r>
            <a:r>
              <a:rPr kumimoji="0" sz="2250" b="0" i="0" u="none" strike="noStrike" kern="1200" cap="none" spc="40" normalizeH="0" baseline="0" noProof="0" dirty="0">
                <a:ln>
                  <a:noFill/>
                </a:ln>
                <a:solidFill>
                  <a:srgbClr val="282828"/>
                </a:solidFill>
                <a:effectLst/>
                <a:uLnTx/>
                <a:uFillTx/>
                <a:latin typeface="Arial"/>
                <a:ea typeface="+mn-ea"/>
                <a:cs typeface="Arial"/>
              </a:rPr>
              <a:t>be </a:t>
            </a:r>
            <a:r>
              <a:rPr kumimoji="0" sz="2250" b="0" i="0" u="none" strike="noStrike" kern="1200" cap="none" spc="0" normalizeH="0" baseline="0" noProof="0" dirty="0">
                <a:ln>
                  <a:noFill/>
                </a:ln>
                <a:solidFill>
                  <a:srgbClr val="282828"/>
                </a:solidFill>
                <a:effectLst/>
                <a:uLnTx/>
                <a:uFillTx/>
                <a:latin typeface="Arial"/>
                <a:ea typeface="+mn-ea"/>
                <a:cs typeface="Arial"/>
              </a:rPr>
              <a:t>run  automatically</a:t>
            </a:r>
            <a:endParaRPr kumimoji="0" sz="225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75"/>
              </a:spcBef>
              <a:spcAft>
                <a:spcPts val="0"/>
              </a:spcAft>
              <a:buClrTx/>
              <a:buSzPct val="60000"/>
              <a:buFontTx/>
              <a:buChar char="•"/>
              <a:tabLst>
                <a:tab pos="168275" algn="l"/>
              </a:tabLst>
              <a:defRPr/>
            </a:pPr>
            <a:r>
              <a:rPr kumimoji="0" sz="2250" b="0" i="0" u="none" strike="noStrike" kern="1200" cap="none" spc="-5" normalizeH="0" baseline="0" noProof="0" dirty="0">
                <a:ln>
                  <a:noFill/>
                </a:ln>
                <a:solidFill>
                  <a:srgbClr val="282828"/>
                </a:solidFill>
                <a:effectLst/>
                <a:uLnTx/>
                <a:uFillTx/>
                <a:latin typeface="Arial"/>
                <a:ea typeface="+mn-ea"/>
                <a:cs typeface="Arial"/>
              </a:rPr>
              <a:t>Using </a:t>
            </a:r>
            <a:r>
              <a:rPr kumimoji="0" sz="2250" b="0" i="0" u="none" strike="noStrike" kern="1200" cap="none" spc="15" normalizeH="0" baseline="0" noProof="0" dirty="0">
                <a:ln>
                  <a:noFill/>
                </a:ln>
                <a:solidFill>
                  <a:srgbClr val="282828"/>
                </a:solidFill>
                <a:effectLst/>
                <a:uLnTx/>
                <a:uFillTx/>
                <a:latin typeface="Arial"/>
                <a:ea typeface="+mn-ea"/>
                <a:cs typeface="Arial"/>
              </a:rPr>
              <a:t>passwords </a:t>
            </a:r>
            <a:r>
              <a:rPr kumimoji="0" sz="2250" b="0" i="0" u="none" strike="noStrike" kern="1200" cap="none" spc="-15" normalizeH="0" baseline="0" noProof="0" dirty="0">
                <a:ln>
                  <a:noFill/>
                </a:ln>
                <a:solidFill>
                  <a:srgbClr val="282828"/>
                </a:solidFill>
                <a:effectLst/>
                <a:uLnTx/>
                <a:uFillTx/>
                <a:latin typeface="Arial"/>
                <a:ea typeface="+mn-ea"/>
                <a:cs typeface="Arial"/>
              </a:rPr>
              <a:t>is</a:t>
            </a:r>
            <a:r>
              <a:rPr kumimoji="0" sz="2250" b="0" i="0" u="none" strike="noStrike" kern="1200" cap="none" spc="125" normalizeH="0" baseline="0" noProof="0" dirty="0">
                <a:ln>
                  <a:noFill/>
                </a:ln>
                <a:solidFill>
                  <a:srgbClr val="282828"/>
                </a:solidFill>
                <a:effectLst/>
                <a:uLnTx/>
                <a:uFillTx/>
                <a:latin typeface="Arial"/>
                <a:ea typeface="+mn-ea"/>
                <a:cs typeface="Arial"/>
              </a:rPr>
              <a:t> </a:t>
            </a:r>
            <a:r>
              <a:rPr kumimoji="0" sz="2250" b="0" i="0" u="none" strike="noStrike" kern="1200" cap="none" spc="10" normalizeH="0" baseline="0" noProof="0" dirty="0">
                <a:ln>
                  <a:noFill/>
                </a:ln>
                <a:solidFill>
                  <a:srgbClr val="282828"/>
                </a:solidFill>
                <a:effectLst/>
                <a:uLnTx/>
                <a:uFillTx/>
                <a:latin typeface="Arial"/>
                <a:ea typeface="+mn-ea"/>
                <a:cs typeface="Arial"/>
              </a:rPr>
              <a:t>possible</a:t>
            </a:r>
            <a:endParaRPr kumimoji="0" sz="225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75"/>
              </a:spcBef>
              <a:spcAft>
                <a:spcPts val="0"/>
              </a:spcAft>
              <a:buClrTx/>
              <a:buSzPct val="60000"/>
              <a:buFontTx/>
              <a:buChar char="•"/>
              <a:tabLst>
                <a:tab pos="320675" algn="l"/>
              </a:tabLst>
              <a:defRPr/>
            </a:pPr>
            <a:r>
              <a:rPr kumimoji="0" sz="2000" b="0" i="0" u="none" strike="noStrike" kern="1200" cap="none" spc="10" normalizeH="0" baseline="0" noProof="0" dirty="0">
                <a:ln>
                  <a:noFill/>
                </a:ln>
                <a:solidFill>
                  <a:srgbClr val="282828"/>
                </a:solidFill>
                <a:effectLst/>
                <a:uLnTx/>
                <a:uFillTx/>
                <a:latin typeface="Arial"/>
                <a:ea typeface="+mn-ea"/>
                <a:cs typeface="Arial"/>
              </a:rPr>
              <a:t>Network </a:t>
            </a:r>
            <a:r>
              <a:rPr kumimoji="0" sz="2000" b="0" i="0" u="none" strike="noStrike" kern="1200" cap="none" spc="-5" normalizeH="0" baseline="0" noProof="0" dirty="0">
                <a:ln>
                  <a:noFill/>
                </a:ln>
                <a:solidFill>
                  <a:srgbClr val="282828"/>
                </a:solidFill>
                <a:effectLst/>
                <a:uLnTx/>
                <a:uFillTx/>
                <a:latin typeface="Arial"/>
                <a:ea typeface="+mn-ea"/>
                <a:cs typeface="Arial"/>
              </a:rPr>
              <a:t>Devices </a:t>
            </a:r>
            <a:r>
              <a:rPr kumimoji="0" sz="2000" b="0" i="0" u="none" strike="noStrike" kern="1200" cap="none" spc="15" normalizeH="0" baseline="0" noProof="0" dirty="0">
                <a:ln>
                  <a:noFill/>
                </a:ln>
                <a:solidFill>
                  <a:srgbClr val="282828"/>
                </a:solidFill>
                <a:effectLst/>
                <a:uLnTx/>
                <a:uFillTx/>
                <a:latin typeface="Arial"/>
                <a:ea typeface="+mn-ea"/>
                <a:cs typeface="Arial"/>
              </a:rPr>
              <a:t>often </a:t>
            </a:r>
            <a:r>
              <a:rPr kumimoji="0" sz="2000" b="0" i="0" u="none" strike="noStrike" kern="1200" cap="none" spc="-10" normalizeH="0" baseline="0" noProof="0" dirty="0">
                <a:ln>
                  <a:noFill/>
                </a:ln>
                <a:solidFill>
                  <a:srgbClr val="282828"/>
                </a:solidFill>
                <a:effectLst/>
                <a:uLnTx/>
                <a:uFillTx/>
                <a:latin typeface="Arial"/>
                <a:ea typeface="+mn-ea"/>
                <a:cs typeface="Arial"/>
              </a:rPr>
              <a:t>use</a:t>
            </a:r>
            <a:r>
              <a:rPr kumimoji="0" sz="2000" b="0" i="0" u="none" strike="noStrike" kern="1200" cap="none" spc="210" normalizeH="0" baseline="0" noProof="0" dirty="0">
                <a:ln>
                  <a:noFill/>
                </a:ln>
                <a:solidFill>
                  <a:srgbClr val="282828"/>
                </a:solidFill>
                <a:effectLst/>
                <a:uLnTx/>
                <a:uFillTx/>
                <a:latin typeface="Arial"/>
                <a:ea typeface="+mn-ea"/>
                <a:cs typeface="Arial"/>
              </a:rPr>
              <a:t> </a:t>
            </a:r>
            <a:r>
              <a:rPr kumimoji="0" sz="2000" b="0" i="0" u="none" strike="noStrike" kern="1200" cap="none" spc="5" normalizeH="0" baseline="0" noProof="0" dirty="0">
                <a:ln>
                  <a:noFill/>
                </a:ln>
                <a:solidFill>
                  <a:srgbClr val="282828"/>
                </a:solidFill>
                <a:effectLst/>
                <a:uLnTx/>
                <a:uFillTx/>
                <a:latin typeface="Arial"/>
                <a:ea typeface="+mn-ea"/>
                <a:cs typeface="Arial"/>
              </a:rPr>
              <a:t>passwords</a:t>
            </a:r>
            <a:endParaRPr kumimoji="0" sz="2000" b="0" i="0" u="none" strike="noStrike" kern="1200" cap="none" spc="0" normalizeH="0" baseline="0" noProof="0">
              <a:ln>
                <a:noFill/>
              </a:ln>
              <a:solidFill>
                <a:prstClr val="black"/>
              </a:solidFill>
              <a:effectLst/>
              <a:uLnTx/>
              <a:uFillTx/>
              <a:latin typeface="Arial"/>
              <a:ea typeface="+mn-ea"/>
              <a:cs typeface="Arial"/>
            </a:endParaRPr>
          </a:p>
        </p:txBody>
      </p:sp>
      <p:sp>
        <p:nvSpPr>
          <p:cNvPr id="4" name="object 4"/>
          <p:cNvSpPr txBox="1">
            <a:spLocks noGrp="1"/>
          </p:cNvSpPr>
          <p:nvPr>
            <p:ph type="title"/>
          </p:nvPr>
        </p:nvSpPr>
        <p:spPr>
          <a:xfrm>
            <a:off x="662736" y="587501"/>
            <a:ext cx="6282690" cy="596265"/>
          </a:xfrm>
          <a:prstGeom prst="rect">
            <a:avLst/>
          </a:prstGeom>
        </p:spPr>
        <p:txBody>
          <a:bodyPr vert="horz" wrap="square" lIns="0" tIns="12065" rIns="0" bIns="0" rtlCol="0">
            <a:spAutoFit/>
          </a:bodyPr>
          <a:lstStyle/>
          <a:p>
            <a:pPr marL="12700">
              <a:lnSpc>
                <a:spcPct val="100000"/>
              </a:lnSpc>
              <a:spcBef>
                <a:spcPts val="95"/>
              </a:spcBef>
            </a:pPr>
            <a:r>
              <a:rPr spc="-10" dirty="0">
                <a:solidFill>
                  <a:srgbClr val="005073"/>
                </a:solidFill>
              </a:rPr>
              <a:t>Ansible </a:t>
            </a:r>
            <a:r>
              <a:rPr spc="0" dirty="0">
                <a:solidFill>
                  <a:srgbClr val="005073"/>
                </a:solidFill>
              </a:rPr>
              <a:t>Authentication</a:t>
            </a:r>
            <a:r>
              <a:rPr spc="150" dirty="0">
                <a:solidFill>
                  <a:srgbClr val="005073"/>
                </a:solidFill>
              </a:rPr>
              <a:t> </a:t>
            </a:r>
            <a:r>
              <a:rPr spc="-30" dirty="0">
                <a:solidFill>
                  <a:srgbClr val="005073"/>
                </a:solidFill>
              </a:rPr>
              <a:t>Basics</a:t>
            </a:r>
          </a:p>
        </p:txBody>
      </p:sp>
      <p:sp>
        <p:nvSpPr>
          <p:cNvPr id="5" name="object 5"/>
          <p:cNvSpPr txBox="1"/>
          <p:nvPr/>
        </p:nvSpPr>
        <p:spPr>
          <a:xfrm>
            <a:off x="7983473" y="6157366"/>
            <a:ext cx="3647440" cy="3003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1" u="none" strike="noStrike" kern="1200" cap="none" spc="0" normalizeH="0" baseline="0" noProof="0" dirty="0">
                <a:ln>
                  <a:noFill/>
                </a:ln>
                <a:solidFill>
                  <a:srgbClr val="282828"/>
                </a:solidFill>
                <a:effectLst/>
                <a:uLnTx/>
                <a:uFillTx/>
                <a:latin typeface="Arial"/>
                <a:ea typeface="+mn-ea"/>
                <a:cs typeface="Arial"/>
              </a:rPr>
              <a:t>Output </a:t>
            </a:r>
            <a:r>
              <a:rPr kumimoji="0" sz="1800" b="0" i="1" u="none" strike="noStrike" kern="1200" cap="none" spc="15" normalizeH="0" baseline="0" noProof="0" dirty="0">
                <a:ln>
                  <a:noFill/>
                </a:ln>
                <a:solidFill>
                  <a:srgbClr val="282828"/>
                </a:solidFill>
                <a:effectLst/>
                <a:uLnTx/>
                <a:uFillTx/>
                <a:latin typeface="Arial"/>
                <a:ea typeface="+mn-ea"/>
                <a:cs typeface="Arial"/>
              </a:rPr>
              <a:t>edited for </a:t>
            </a:r>
            <a:r>
              <a:rPr kumimoji="0" sz="1800" b="0" i="1" u="none" strike="noStrike" kern="1200" cap="none" spc="5" normalizeH="0" baseline="0" noProof="0" dirty="0">
                <a:ln>
                  <a:noFill/>
                </a:ln>
                <a:solidFill>
                  <a:srgbClr val="282828"/>
                </a:solidFill>
                <a:effectLst/>
                <a:uLnTx/>
                <a:uFillTx/>
                <a:latin typeface="Arial"/>
                <a:ea typeface="+mn-ea"/>
                <a:cs typeface="Arial"/>
              </a:rPr>
              <a:t>brevity </a:t>
            </a:r>
            <a:r>
              <a:rPr kumimoji="0" sz="1800" b="0" i="1" u="none" strike="noStrike" kern="1200" cap="none" spc="-10" normalizeH="0" baseline="0" noProof="0" dirty="0">
                <a:ln>
                  <a:noFill/>
                </a:ln>
                <a:solidFill>
                  <a:srgbClr val="282828"/>
                </a:solidFill>
                <a:effectLst/>
                <a:uLnTx/>
                <a:uFillTx/>
                <a:latin typeface="Arial"/>
                <a:ea typeface="+mn-ea"/>
                <a:cs typeface="Arial"/>
              </a:rPr>
              <a:t>and</a:t>
            </a:r>
            <a:r>
              <a:rPr kumimoji="0" sz="1800" b="0" i="1" u="none" strike="noStrike" kern="1200" cap="none" spc="150" normalizeH="0" baseline="0" noProof="0" dirty="0">
                <a:ln>
                  <a:noFill/>
                </a:ln>
                <a:solidFill>
                  <a:srgbClr val="282828"/>
                </a:solidFill>
                <a:effectLst/>
                <a:uLnTx/>
                <a:uFillTx/>
                <a:latin typeface="Arial"/>
                <a:ea typeface="+mn-ea"/>
                <a:cs typeface="Arial"/>
              </a:rPr>
              <a:t> </a:t>
            </a:r>
            <a:r>
              <a:rPr kumimoji="0" sz="1800" b="0" i="1" u="none" strike="noStrike" kern="1200" cap="none" spc="0" normalizeH="0" baseline="0" noProof="0" dirty="0">
                <a:ln>
                  <a:noFill/>
                </a:ln>
                <a:solidFill>
                  <a:srgbClr val="282828"/>
                </a:solidFill>
                <a:effectLst/>
                <a:uLnTx/>
                <a:uFillTx/>
                <a:latin typeface="Arial"/>
                <a:ea typeface="+mn-ea"/>
                <a:cs typeface="Arial"/>
              </a:rPr>
              <a:t>clarity</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6" name="object 6"/>
          <p:cNvGraphicFramePr>
            <a:graphicFrameLocks noGrp="1"/>
          </p:cNvGraphicFramePr>
          <p:nvPr/>
        </p:nvGraphicFramePr>
        <p:xfrm>
          <a:off x="5862828" y="1408175"/>
          <a:ext cx="5818632" cy="4406900"/>
        </p:xfrm>
        <a:graphic>
          <a:graphicData uri="http://schemas.openxmlformats.org/drawingml/2006/table">
            <a:tbl>
              <a:tblPr firstRow="1" bandRow="1">
                <a:tableStyleId>{2D5ABB26-0587-4C30-8999-92F81FD0307C}</a:tableStyleId>
              </a:tblPr>
              <a:tblGrid>
                <a:gridCol w="5818632">
                  <a:extLst>
                    <a:ext uri="{9D8B030D-6E8A-4147-A177-3AD203B41FA5}">
                      <a16:colId xmlns:a16="http://schemas.microsoft.com/office/drawing/2014/main" val="20000"/>
                    </a:ext>
                  </a:extLst>
                </a:gridCol>
              </a:tblGrid>
              <a:tr h="1638300">
                <a:tc>
                  <a:txBody>
                    <a:bodyPr/>
                    <a:lstStyle/>
                    <a:p>
                      <a:pPr marL="40005">
                        <a:lnSpc>
                          <a:spcPts val="1475"/>
                        </a:lnSpc>
                      </a:pPr>
                      <a:r>
                        <a:rPr sz="1400" spc="-5" dirty="0">
                          <a:solidFill>
                            <a:srgbClr val="FFFFFF"/>
                          </a:solidFill>
                          <a:latin typeface="Courier New"/>
                          <a:cs typeface="Courier New"/>
                        </a:rPr>
                        <a:t>DevNet$</a:t>
                      </a:r>
                      <a:r>
                        <a:rPr sz="1400" spc="-65" dirty="0">
                          <a:solidFill>
                            <a:srgbClr val="FFFFFF"/>
                          </a:solidFill>
                          <a:latin typeface="Courier New"/>
                          <a:cs typeface="Courier New"/>
                        </a:rPr>
                        <a:t> </a:t>
                      </a:r>
                      <a:r>
                        <a:rPr sz="1400" spc="-10" dirty="0">
                          <a:solidFill>
                            <a:srgbClr val="FFFFFF"/>
                          </a:solidFill>
                          <a:latin typeface="Courier New"/>
                          <a:cs typeface="Courier New"/>
                        </a:rPr>
                        <a:t>ssh-keygen</a:t>
                      </a:r>
                      <a:endParaRPr sz="1400">
                        <a:latin typeface="Courier New"/>
                        <a:cs typeface="Courier New"/>
                      </a:endParaRPr>
                    </a:p>
                    <a:p>
                      <a:pPr>
                        <a:lnSpc>
                          <a:spcPct val="100000"/>
                        </a:lnSpc>
                        <a:spcBef>
                          <a:spcPts val="30"/>
                        </a:spcBef>
                      </a:pPr>
                      <a:endParaRPr sz="1400">
                        <a:latin typeface="Times New Roman"/>
                        <a:cs typeface="Times New Roman"/>
                      </a:endParaRPr>
                    </a:p>
                    <a:p>
                      <a:pPr marL="40005" marR="1541780">
                        <a:lnSpc>
                          <a:spcPts val="1590"/>
                        </a:lnSpc>
                      </a:pPr>
                      <a:r>
                        <a:rPr sz="1400" spc="-5" dirty="0">
                          <a:solidFill>
                            <a:srgbClr val="FFFFFF"/>
                          </a:solidFill>
                          <a:latin typeface="Courier New"/>
                          <a:cs typeface="Courier New"/>
                        </a:rPr>
                        <a:t>Generating </a:t>
                      </a:r>
                      <a:r>
                        <a:rPr sz="1400" spc="-10" dirty="0">
                          <a:solidFill>
                            <a:srgbClr val="FFFFFF"/>
                          </a:solidFill>
                          <a:latin typeface="Courier New"/>
                          <a:cs typeface="Courier New"/>
                        </a:rPr>
                        <a:t>public/private </a:t>
                      </a:r>
                      <a:r>
                        <a:rPr sz="1400" spc="-5" dirty="0">
                          <a:solidFill>
                            <a:srgbClr val="FFFFFF"/>
                          </a:solidFill>
                          <a:latin typeface="Courier New"/>
                          <a:cs typeface="Courier New"/>
                        </a:rPr>
                        <a:t>rsa key pair.  Enter file in which to </a:t>
                      </a:r>
                      <a:r>
                        <a:rPr sz="1400" spc="-10" dirty="0">
                          <a:solidFill>
                            <a:srgbClr val="FFFFFF"/>
                          </a:solidFill>
                          <a:latin typeface="Courier New"/>
                          <a:cs typeface="Courier New"/>
                        </a:rPr>
                        <a:t>save </a:t>
                      </a:r>
                      <a:r>
                        <a:rPr sz="1400" spc="-15" dirty="0">
                          <a:solidFill>
                            <a:srgbClr val="FFFFFF"/>
                          </a:solidFill>
                          <a:latin typeface="Courier New"/>
                          <a:cs typeface="Courier New"/>
                        </a:rPr>
                        <a:t>the</a:t>
                      </a:r>
                      <a:r>
                        <a:rPr sz="1400" spc="-60" dirty="0">
                          <a:solidFill>
                            <a:srgbClr val="FFFFFF"/>
                          </a:solidFill>
                          <a:latin typeface="Courier New"/>
                          <a:cs typeface="Courier New"/>
                        </a:rPr>
                        <a:t> </a:t>
                      </a:r>
                      <a:r>
                        <a:rPr sz="1400" spc="-5" dirty="0">
                          <a:solidFill>
                            <a:srgbClr val="FFFFFF"/>
                          </a:solidFill>
                          <a:latin typeface="Courier New"/>
                          <a:cs typeface="Courier New"/>
                        </a:rPr>
                        <a:t>key:</a:t>
                      </a:r>
                      <a:endParaRPr sz="1400">
                        <a:latin typeface="Courier New"/>
                        <a:cs typeface="Courier New"/>
                      </a:endParaRPr>
                    </a:p>
                    <a:p>
                      <a:pPr marL="40005" marR="1116330">
                        <a:lnSpc>
                          <a:spcPts val="1580"/>
                        </a:lnSpc>
                        <a:spcBef>
                          <a:spcPts val="25"/>
                        </a:spcBef>
                      </a:pPr>
                      <a:r>
                        <a:rPr sz="1400" spc="-5" dirty="0">
                          <a:solidFill>
                            <a:srgbClr val="FFFFFF"/>
                          </a:solidFill>
                          <a:latin typeface="Courier New"/>
                          <a:cs typeface="Courier New"/>
                        </a:rPr>
                        <a:t>Enter </a:t>
                      </a:r>
                      <a:r>
                        <a:rPr sz="1400" spc="-10" dirty="0">
                          <a:solidFill>
                            <a:srgbClr val="FFFFFF"/>
                          </a:solidFill>
                          <a:latin typeface="Courier New"/>
                          <a:cs typeface="Courier New"/>
                        </a:rPr>
                        <a:t>passphrase </a:t>
                      </a:r>
                      <a:r>
                        <a:rPr sz="1400" spc="-5" dirty="0">
                          <a:solidFill>
                            <a:srgbClr val="FFFFFF"/>
                          </a:solidFill>
                          <a:latin typeface="Courier New"/>
                          <a:cs typeface="Courier New"/>
                        </a:rPr>
                        <a:t>(empty for </a:t>
                      </a:r>
                      <a:r>
                        <a:rPr sz="1400" spc="-15" dirty="0">
                          <a:solidFill>
                            <a:srgbClr val="FFFFFF"/>
                          </a:solidFill>
                          <a:latin typeface="Courier New"/>
                          <a:cs typeface="Courier New"/>
                        </a:rPr>
                        <a:t>no </a:t>
                      </a:r>
                      <a:r>
                        <a:rPr sz="1400" spc="-5" dirty="0">
                          <a:solidFill>
                            <a:srgbClr val="FFFFFF"/>
                          </a:solidFill>
                          <a:latin typeface="Courier New"/>
                          <a:cs typeface="Courier New"/>
                        </a:rPr>
                        <a:t>passphrase):  Enter same </a:t>
                      </a:r>
                      <a:r>
                        <a:rPr sz="1400" spc="-10" dirty="0">
                          <a:solidFill>
                            <a:srgbClr val="FFFFFF"/>
                          </a:solidFill>
                          <a:latin typeface="Courier New"/>
                          <a:cs typeface="Courier New"/>
                        </a:rPr>
                        <a:t>passphrase</a:t>
                      </a:r>
                      <a:r>
                        <a:rPr sz="1400" spc="-50" dirty="0">
                          <a:solidFill>
                            <a:srgbClr val="FFFFFF"/>
                          </a:solidFill>
                          <a:latin typeface="Courier New"/>
                          <a:cs typeface="Courier New"/>
                        </a:rPr>
                        <a:t> </a:t>
                      </a:r>
                      <a:r>
                        <a:rPr sz="1400" spc="-10" dirty="0">
                          <a:solidFill>
                            <a:srgbClr val="FFFFFF"/>
                          </a:solidFill>
                          <a:latin typeface="Courier New"/>
                          <a:cs typeface="Courier New"/>
                        </a:rPr>
                        <a:t>again:</a:t>
                      </a:r>
                      <a:endParaRPr sz="1400">
                        <a:latin typeface="Courier New"/>
                        <a:cs typeface="Courier New"/>
                      </a:endParaRPr>
                    </a:p>
                    <a:p>
                      <a:pPr marL="40005">
                        <a:lnSpc>
                          <a:spcPts val="1525"/>
                        </a:lnSpc>
                      </a:pPr>
                      <a:r>
                        <a:rPr sz="1400" spc="-5" dirty="0">
                          <a:solidFill>
                            <a:srgbClr val="FFFFFF"/>
                          </a:solidFill>
                          <a:latin typeface="Courier New"/>
                          <a:cs typeface="Courier New"/>
                        </a:rPr>
                        <a:t>Your </a:t>
                      </a:r>
                      <a:r>
                        <a:rPr sz="1400" spc="-10" dirty="0">
                          <a:solidFill>
                            <a:srgbClr val="FFFFFF"/>
                          </a:solidFill>
                          <a:latin typeface="Courier New"/>
                          <a:cs typeface="Courier New"/>
                        </a:rPr>
                        <a:t>identification </a:t>
                      </a:r>
                      <a:r>
                        <a:rPr sz="1400" spc="-5" dirty="0">
                          <a:solidFill>
                            <a:srgbClr val="FFFFFF"/>
                          </a:solidFill>
                          <a:latin typeface="Courier New"/>
                          <a:cs typeface="Courier New"/>
                        </a:rPr>
                        <a:t>has been saved in</a:t>
                      </a:r>
                      <a:r>
                        <a:rPr sz="1400" spc="60" dirty="0">
                          <a:solidFill>
                            <a:srgbClr val="FFFFFF"/>
                          </a:solidFill>
                          <a:latin typeface="Courier New"/>
                          <a:cs typeface="Courier New"/>
                        </a:rPr>
                        <a:t> </a:t>
                      </a:r>
                      <a:r>
                        <a:rPr sz="1400" spc="-10" dirty="0">
                          <a:solidFill>
                            <a:srgbClr val="FFFFFF"/>
                          </a:solidFill>
                          <a:latin typeface="Courier New"/>
                          <a:cs typeface="Courier New"/>
                        </a:rPr>
                        <a:t>~/.ssh/id_rsa.</a:t>
                      </a:r>
                      <a:endParaRPr sz="1400">
                        <a:latin typeface="Courier New"/>
                        <a:cs typeface="Courier New"/>
                      </a:endParaRPr>
                    </a:p>
                    <a:p>
                      <a:pPr marL="40005">
                        <a:lnSpc>
                          <a:spcPts val="1635"/>
                        </a:lnSpc>
                      </a:pPr>
                      <a:r>
                        <a:rPr sz="1400" spc="-5" dirty="0">
                          <a:solidFill>
                            <a:srgbClr val="FFFFFF"/>
                          </a:solidFill>
                          <a:latin typeface="Courier New"/>
                          <a:cs typeface="Courier New"/>
                        </a:rPr>
                        <a:t>Your public </a:t>
                      </a:r>
                      <a:r>
                        <a:rPr sz="1400" spc="-15" dirty="0">
                          <a:solidFill>
                            <a:srgbClr val="FFFFFF"/>
                          </a:solidFill>
                          <a:latin typeface="Courier New"/>
                          <a:cs typeface="Courier New"/>
                        </a:rPr>
                        <a:t>key </a:t>
                      </a:r>
                      <a:r>
                        <a:rPr sz="1400" spc="-5" dirty="0">
                          <a:solidFill>
                            <a:srgbClr val="FFFFFF"/>
                          </a:solidFill>
                          <a:latin typeface="Courier New"/>
                          <a:cs typeface="Courier New"/>
                        </a:rPr>
                        <a:t>has been </a:t>
                      </a:r>
                      <a:r>
                        <a:rPr sz="1400" spc="-10" dirty="0">
                          <a:solidFill>
                            <a:srgbClr val="FFFFFF"/>
                          </a:solidFill>
                          <a:latin typeface="Courier New"/>
                          <a:cs typeface="Courier New"/>
                        </a:rPr>
                        <a:t>saved </a:t>
                      </a:r>
                      <a:r>
                        <a:rPr sz="1400" spc="-5" dirty="0">
                          <a:solidFill>
                            <a:srgbClr val="FFFFFF"/>
                          </a:solidFill>
                          <a:latin typeface="Courier New"/>
                          <a:cs typeface="Courier New"/>
                        </a:rPr>
                        <a:t>in</a:t>
                      </a:r>
                      <a:r>
                        <a:rPr sz="1400" spc="50" dirty="0">
                          <a:solidFill>
                            <a:srgbClr val="FFFFFF"/>
                          </a:solidFill>
                          <a:latin typeface="Courier New"/>
                          <a:cs typeface="Courier New"/>
                        </a:rPr>
                        <a:t> </a:t>
                      </a:r>
                      <a:r>
                        <a:rPr sz="1400" spc="-10" dirty="0">
                          <a:solidFill>
                            <a:srgbClr val="FFFFFF"/>
                          </a:solidFill>
                          <a:latin typeface="Courier New"/>
                          <a:cs typeface="Courier New"/>
                        </a:rPr>
                        <a:t>~/.ssh/id_rsa.pub.</a:t>
                      </a:r>
                      <a:endParaRPr sz="1400">
                        <a:latin typeface="Courier New"/>
                        <a:cs typeface="Courier New"/>
                      </a:endParaRPr>
                    </a:p>
                  </a:txBody>
                  <a:tcPr marL="0" marR="0" marT="0" marB="0">
                    <a:lnL w="76200">
                      <a:solidFill>
                        <a:srgbClr val="E2231B"/>
                      </a:solidFill>
                      <a:prstDash val="solid"/>
                    </a:lnL>
                    <a:lnR w="76200">
                      <a:solidFill>
                        <a:srgbClr val="E2231B"/>
                      </a:solidFill>
                      <a:prstDash val="solid"/>
                    </a:lnR>
                    <a:lnT w="76200">
                      <a:solidFill>
                        <a:srgbClr val="E2231B"/>
                      </a:solidFill>
                      <a:prstDash val="solid"/>
                    </a:lnT>
                    <a:lnB w="76200">
                      <a:solidFill>
                        <a:srgbClr val="E2231B"/>
                      </a:solidFill>
                      <a:prstDash val="solid"/>
                    </a:lnB>
                    <a:solidFill>
                      <a:srgbClr val="282828"/>
                    </a:solidFill>
                  </a:tcPr>
                </a:tc>
                <a:extLst>
                  <a:ext uri="{0D108BD9-81ED-4DB2-BD59-A6C34878D82A}">
                    <a16:rowId xmlns:a16="http://schemas.microsoft.com/office/drawing/2014/main" val="10000"/>
                  </a:ext>
                </a:extLst>
              </a:tr>
              <a:tr h="38100">
                <a:tc>
                  <a:txBody>
                    <a:bodyPr/>
                    <a:lstStyle/>
                    <a:p>
                      <a:pPr>
                        <a:lnSpc>
                          <a:spcPct val="100000"/>
                        </a:lnSpc>
                      </a:pPr>
                      <a:endParaRPr sz="100">
                        <a:latin typeface="Times New Roman"/>
                        <a:cs typeface="Times New Roman"/>
                      </a:endParaRPr>
                    </a:p>
                  </a:txBody>
                  <a:tcPr marL="0" marR="0" marT="0" marB="0">
                    <a:lnT w="76200">
                      <a:solidFill>
                        <a:srgbClr val="E2231B"/>
                      </a:solidFill>
                      <a:prstDash val="solid"/>
                    </a:lnT>
                    <a:lnB w="76200">
                      <a:solidFill>
                        <a:srgbClr val="6DBD49"/>
                      </a:solidFill>
                      <a:prstDash val="solid"/>
                    </a:lnB>
                    <a:solidFill>
                      <a:srgbClr val="282828"/>
                    </a:solidFill>
                  </a:tcPr>
                </a:tc>
                <a:extLst>
                  <a:ext uri="{0D108BD9-81ED-4DB2-BD59-A6C34878D82A}">
                    <a16:rowId xmlns:a16="http://schemas.microsoft.com/office/drawing/2014/main" val="10001"/>
                  </a:ext>
                </a:extLst>
              </a:tr>
              <a:tr h="1270000">
                <a:tc>
                  <a:txBody>
                    <a:bodyPr/>
                    <a:lstStyle/>
                    <a:p>
                      <a:pPr marL="40005">
                        <a:lnSpc>
                          <a:spcPts val="1345"/>
                        </a:lnSpc>
                      </a:pPr>
                      <a:r>
                        <a:rPr sz="1400" spc="-5" dirty="0">
                          <a:solidFill>
                            <a:srgbClr val="FFFFFF"/>
                          </a:solidFill>
                          <a:latin typeface="Courier New"/>
                          <a:cs typeface="Courier New"/>
                        </a:rPr>
                        <a:t>DevNet$ </a:t>
                      </a:r>
                      <a:r>
                        <a:rPr sz="1400" spc="-10" dirty="0">
                          <a:solidFill>
                            <a:srgbClr val="FFFFFF"/>
                          </a:solidFill>
                          <a:latin typeface="Courier New"/>
                          <a:cs typeface="Courier New"/>
                        </a:rPr>
                        <a:t>ssh-copy-id</a:t>
                      </a:r>
                      <a:r>
                        <a:rPr sz="1400" dirty="0">
                          <a:solidFill>
                            <a:srgbClr val="FFFFFF"/>
                          </a:solidFill>
                          <a:latin typeface="Courier New"/>
                          <a:cs typeface="Courier New"/>
                        </a:rPr>
                        <a:t> </a:t>
                      </a:r>
                      <a:r>
                        <a:rPr sz="1400" spc="-10" dirty="0">
                          <a:solidFill>
                            <a:srgbClr val="FFFFFF"/>
                          </a:solidFill>
                          <a:latin typeface="Courier New"/>
                          <a:cs typeface="Courier New"/>
                          <a:hlinkClick r:id="rId2"/>
                        </a:rPr>
                        <a:t>root@10.10.20.20</a:t>
                      </a:r>
                      <a:endParaRPr sz="1400">
                        <a:latin typeface="Courier New"/>
                        <a:cs typeface="Courier New"/>
                      </a:endParaRPr>
                    </a:p>
                    <a:p>
                      <a:pPr marL="40005">
                        <a:lnSpc>
                          <a:spcPts val="1595"/>
                        </a:lnSpc>
                      </a:pPr>
                      <a:r>
                        <a:rPr sz="1400" dirty="0">
                          <a:solidFill>
                            <a:srgbClr val="FFFFFF"/>
                          </a:solidFill>
                          <a:latin typeface="Courier New"/>
                          <a:cs typeface="Courier New"/>
                        </a:rPr>
                        <a:t>.</a:t>
                      </a:r>
                      <a:endParaRPr sz="1400">
                        <a:latin typeface="Courier New"/>
                        <a:cs typeface="Courier New"/>
                      </a:endParaRPr>
                    </a:p>
                    <a:p>
                      <a:pPr marL="40005">
                        <a:lnSpc>
                          <a:spcPts val="1635"/>
                        </a:lnSpc>
                        <a:tabLst>
                          <a:tab pos="3333115" algn="l"/>
                        </a:tabLst>
                      </a:pPr>
                      <a:r>
                        <a:rPr sz="1400" spc="-5" dirty="0">
                          <a:solidFill>
                            <a:srgbClr val="FFFFFF"/>
                          </a:solidFill>
                          <a:latin typeface="Courier New"/>
                          <a:cs typeface="Courier New"/>
                        </a:rPr>
                        <a:t>Number of</a:t>
                      </a:r>
                      <a:r>
                        <a:rPr sz="1400" spc="10" dirty="0">
                          <a:solidFill>
                            <a:srgbClr val="FFFFFF"/>
                          </a:solidFill>
                          <a:latin typeface="Courier New"/>
                          <a:cs typeface="Courier New"/>
                        </a:rPr>
                        <a:t> </a:t>
                      </a:r>
                      <a:r>
                        <a:rPr sz="1400" spc="-10" dirty="0">
                          <a:solidFill>
                            <a:srgbClr val="FFFFFF"/>
                          </a:solidFill>
                          <a:latin typeface="Courier New"/>
                          <a:cs typeface="Courier New"/>
                        </a:rPr>
                        <a:t>key(s)</a:t>
                      </a:r>
                      <a:r>
                        <a:rPr sz="1400" dirty="0">
                          <a:solidFill>
                            <a:srgbClr val="FFFFFF"/>
                          </a:solidFill>
                          <a:latin typeface="Courier New"/>
                          <a:cs typeface="Courier New"/>
                        </a:rPr>
                        <a:t> </a:t>
                      </a:r>
                      <a:r>
                        <a:rPr sz="1400" spc="-5" dirty="0">
                          <a:solidFill>
                            <a:srgbClr val="FFFFFF"/>
                          </a:solidFill>
                          <a:latin typeface="Courier New"/>
                          <a:cs typeface="Courier New"/>
                        </a:rPr>
                        <a:t>added:	1</a:t>
                      </a:r>
                      <a:endParaRPr sz="1400">
                        <a:latin typeface="Courier New"/>
                        <a:cs typeface="Courier New"/>
                      </a:endParaRPr>
                    </a:p>
                    <a:p>
                      <a:pPr>
                        <a:lnSpc>
                          <a:spcPct val="100000"/>
                        </a:lnSpc>
                        <a:spcBef>
                          <a:spcPts val="15"/>
                        </a:spcBef>
                      </a:pPr>
                      <a:endParaRPr sz="1300">
                        <a:latin typeface="Times New Roman"/>
                        <a:cs typeface="Times New Roman"/>
                      </a:endParaRPr>
                    </a:p>
                    <a:p>
                      <a:pPr marL="40005">
                        <a:lnSpc>
                          <a:spcPts val="1645"/>
                        </a:lnSpc>
                      </a:pPr>
                      <a:r>
                        <a:rPr sz="1400" spc="-5" dirty="0">
                          <a:solidFill>
                            <a:srgbClr val="FFFFFF"/>
                          </a:solidFill>
                          <a:latin typeface="Courier New"/>
                          <a:cs typeface="Courier New"/>
                        </a:rPr>
                        <a:t>Now try </a:t>
                      </a:r>
                      <a:r>
                        <a:rPr sz="1400" spc="-10" dirty="0">
                          <a:solidFill>
                            <a:srgbClr val="FFFFFF"/>
                          </a:solidFill>
                          <a:latin typeface="Courier New"/>
                          <a:cs typeface="Courier New"/>
                        </a:rPr>
                        <a:t>logging </a:t>
                      </a:r>
                      <a:r>
                        <a:rPr sz="1400" spc="-5" dirty="0">
                          <a:solidFill>
                            <a:srgbClr val="FFFFFF"/>
                          </a:solidFill>
                          <a:latin typeface="Courier New"/>
                          <a:cs typeface="Courier New"/>
                        </a:rPr>
                        <a:t>into the </a:t>
                      </a:r>
                      <a:r>
                        <a:rPr sz="1400" spc="-10" dirty="0">
                          <a:solidFill>
                            <a:srgbClr val="FFFFFF"/>
                          </a:solidFill>
                          <a:latin typeface="Courier New"/>
                          <a:cs typeface="Courier New"/>
                        </a:rPr>
                        <a:t>machine,</a:t>
                      </a:r>
                      <a:r>
                        <a:rPr sz="1400" spc="-20" dirty="0">
                          <a:solidFill>
                            <a:srgbClr val="FFFFFF"/>
                          </a:solidFill>
                          <a:latin typeface="Courier New"/>
                          <a:cs typeface="Courier New"/>
                        </a:rPr>
                        <a:t> </a:t>
                      </a:r>
                      <a:r>
                        <a:rPr sz="1400" spc="-5" dirty="0">
                          <a:solidFill>
                            <a:srgbClr val="FFFFFF"/>
                          </a:solidFill>
                          <a:latin typeface="Courier New"/>
                          <a:cs typeface="Courier New"/>
                        </a:rPr>
                        <a:t>with:</a:t>
                      </a:r>
                      <a:endParaRPr sz="1400">
                        <a:latin typeface="Courier New"/>
                        <a:cs typeface="Courier New"/>
                      </a:endParaRPr>
                    </a:p>
                    <a:p>
                      <a:pPr marL="40005">
                        <a:lnSpc>
                          <a:spcPts val="1645"/>
                        </a:lnSpc>
                      </a:pPr>
                      <a:r>
                        <a:rPr sz="1400" spc="-5" dirty="0">
                          <a:solidFill>
                            <a:srgbClr val="FFFFFF"/>
                          </a:solidFill>
                          <a:latin typeface="Courier New"/>
                          <a:cs typeface="Courier New"/>
                        </a:rPr>
                        <a:t>"ssh</a:t>
                      </a:r>
                      <a:r>
                        <a:rPr sz="1400" spc="-20" dirty="0">
                          <a:solidFill>
                            <a:srgbClr val="FFFFFF"/>
                          </a:solidFill>
                          <a:latin typeface="Courier New"/>
                          <a:cs typeface="Courier New"/>
                        </a:rPr>
                        <a:t> </a:t>
                      </a:r>
                      <a:r>
                        <a:rPr sz="1400" spc="-10" dirty="0">
                          <a:solidFill>
                            <a:srgbClr val="FFFFFF"/>
                          </a:solidFill>
                          <a:latin typeface="Courier New"/>
                          <a:cs typeface="Courier New"/>
                        </a:rPr>
                        <a:t>'root@10.10.20.20'"</a:t>
                      </a:r>
                      <a:endParaRPr sz="1400">
                        <a:latin typeface="Courier New"/>
                        <a:cs typeface="Courier New"/>
                      </a:endParaRPr>
                    </a:p>
                  </a:txBody>
                  <a:tcPr marL="0" marR="0" marT="0" marB="0">
                    <a:lnL w="76200">
                      <a:solidFill>
                        <a:srgbClr val="6DBD49"/>
                      </a:solidFill>
                      <a:prstDash val="solid"/>
                    </a:lnL>
                    <a:lnR w="76200">
                      <a:solidFill>
                        <a:srgbClr val="6DBD49"/>
                      </a:solidFill>
                      <a:prstDash val="solid"/>
                    </a:lnR>
                    <a:lnT w="76200">
                      <a:solidFill>
                        <a:srgbClr val="6DBD49"/>
                      </a:solidFill>
                      <a:prstDash val="solid"/>
                    </a:lnT>
                    <a:lnB w="76200">
                      <a:solidFill>
                        <a:srgbClr val="6DBD49"/>
                      </a:solidFill>
                      <a:prstDash val="solid"/>
                    </a:lnB>
                    <a:solidFill>
                      <a:srgbClr val="282828"/>
                    </a:solidFill>
                  </a:tcPr>
                </a:tc>
                <a:extLst>
                  <a:ext uri="{0D108BD9-81ED-4DB2-BD59-A6C34878D82A}">
                    <a16:rowId xmlns:a16="http://schemas.microsoft.com/office/drawing/2014/main" val="10002"/>
                  </a:ext>
                </a:extLst>
              </a:tr>
              <a:tr h="1460500">
                <a:tc>
                  <a:txBody>
                    <a:bodyPr/>
                    <a:lstStyle/>
                    <a:p>
                      <a:pPr marL="78105">
                        <a:lnSpc>
                          <a:spcPts val="1630"/>
                        </a:lnSpc>
                        <a:spcBef>
                          <a:spcPts val="280"/>
                        </a:spcBef>
                      </a:pPr>
                      <a:r>
                        <a:rPr sz="1400" spc="-5" dirty="0">
                          <a:solidFill>
                            <a:srgbClr val="FFFFFF"/>
                          </a:solidFill>
                          <a:latin typeface="Courier New"/>
                          <a:cs typeface="Courier New"/>
                        </a:rPr>
                        <a:t>DevNet$ ssh</a:t>
                      </a:r>
                      <a:r>
                        <a:rPr sz="1400" spc="-45" dirty="0">
                          <a:solidFill>
                            <a:srgbClr val="FFFFFF"/>
                          </a:solidFill>
                          <a:latin typeface="Courier New"/>
                          <a:cs typeface="Courier New"/>
                        </a:rPr>
                        <a:t> </a:t>
                      </a:r>
                      <a:r>
                        <a:rPr sz="1400" spc="-10" dirty="0">
                          <a:solidFill>
                            <a:srgbClr val="FFFFFF"/>
                          </a:solidFill>
                          <a:latin typeface="Courier New"/>
                          <a:cs typeface="Courier New"/>
                          <a:hlinkClick r:id="rId2"/>
                        </a:rPr>
                        <a:t>root@10.10.20.20</a:t>
                      </a:r>
                      <a:endParaRPr sz="1400">
                        <a:latin typeface="Courier New"/>
                        <a:cs typeface="Courier New"/>
                      </a:endParaRPr>
                    </a:p>
                    <a:p>
                      <a:pPr marL="78105">
                        <a:lnSpc>
                          <a:spcPts val="1600"/>
                        </a:lnSpc>
                      </a:pPr>
                      <a:r>
                        <a:rPr sz="1400" spc="-5" dirty="0">
                          <a:solidFill>
                            <a:srgbClr val="FFFFFF"/>
                          </a:solidFill>
                          <a:latin typeface="Courier New"/>
                          <a:cs typeface="Courier New"/>
                        </a:rPr>
                        <a:t>Last login: </a:t>
                      </a:r>
                      <a:r>
                        <a:rPr sz="1400" spc="-15" dirty="0">
                          <a:solidFill>
                            <a:srgbClr val="FFFFFF"/>
                          </a:solidFill>
                          <a:latin typeface="Courier New"/>
                          <a:cs typeface="Courier New"/>
                        </a:rPr>
                        <a:t>Fri </a:t>
                      </a:r>
                      <a:r>
                        <a:rPr sz="1400" spc="-5" dirty="0">
                          <a:solidFill>
                            <a:srgbClr val="FFFFFF"/>
                          </a:solidFill>
                          <a:latin typeface="Courier New"/>
                          <a:cs typeface="Courier New"/>
                        </a:rPr>
                        <a:t>Jul 28 </a:t>
                      </a:r>
                      <a:r>
                        <a:rPr sz="1400" spc="-10" dirty="0">
                          <a:solidFill>
                            <a:srgbClr val="FFFFFF"/>
                          </a:solidFill>
                          <a:latin typeface="Courier New"/>
                          <a:cs typeface="Courier New"/>
                        </a:rPr>
                        <a:t>13:33:46 </a:t>
                      </a:r>
                      <a:r>
                        <a:rPr sz="1400" spc="-5" dirty="0">
                          <a:solidFill>
                            <a:srgbClr val="FFFFFF"/>
                          </a:solidFill>
                          <a:latin typeface="Courier New"/>
                          <a:cs typeface="Courier New"/>
                        </a:rPr>
                        <a:t>2017 from</a:t>
                      </a:r>
                      <a:r>
                        <a:rPr sz="1400" spc="35" dirty="0">
                          <a:solidFill>
                            <a:srgbClr val="FFFFFF"/>
                          </a:solidFill>
                          <a:latin typeface="Courier New"/>
                          <a:cs typeface="Courier New"/>
                        </a:rPr>
                        <a:t> </a:t>
                      </a:r>
                      <a:r>
                        <a:rPr sz="1400" spc="-10" dirty="0">
                          <a:solidFill>
                            <a:srgbClr val="FFFFFF"/>
                          </a:solidFill>
                          <a:latin typeface="Courier New"/>
                          <a:cs typeface="Courier New"/>
                        </a:rPr>
                        <a:t>10.10.20.7</a:t>
                      </a:r>
                      <a:endParaRPr sz="1400">
                        <a:latin typeface="Courier New"/>
                        <a:cs typeface="Courier New"/>
                      </a:endParaRPr>
                    </a:p>
                    <a:p>
                      <a:pPr marL="78105">
                        <a:lnSpc>
                          <a:spcPts val="1645"/>
                        </a:lnSpc>
                      </a:pPr>
                      <a:r>
                        <a:rPr sz="1400" spc="-5" dirty="0">
                          <a:solidFill>
                            <a:srgbClr val="FFFFFF"/>
                          </a:solidFill>
                          <a:latin typeface="Courier New"/>
                          <a:cs typeface="Courier New"/>
                        </a:rPr>
                        <a:t>(python2) </a:t>
                      </a:r>
                      <a:r>
                        <a:rPr sz="1400" spc="-10" dirty="0">
                          <a:solidFill>
                            <a:srgbClr val="FFFFFF"/>
                          </a:solidFill>
                          <a:latin typeface="Courier New"/>
                          <a:cs typeface="Courier New"/>
                        </a:rPr>
                        <a:t>[root@localhost</a:t>
                      </a:r>
                      <a:r>
                        <a:rPr sz="1400" spc="25" dirty="0">
                          <a:solidFill>
                            <a:srgbClr val="FFFFFF"/>
                          </a:solidFill>
                          <a:latin typeface="Courier New"/>
                          <a:cs typeface="Courier New"/>
                        </a:rPr>
                        <a:t> </a:t>
                      </a:r>
                      <a:r>
                        <a:rPr sz="1400" spc="-10" dirty="0">
                          <a:solidFill>
                            <a:srgbClr val="FFFFFF"/>
                          </a:solidFill>
                          <a:latin typeface="Courier New"/>
                          <a:cs typeface="Courier New"/>
                        </a:rPr>
                        <a:t>sbx_nxos]#</a:t>
                      </a:r>
                      <a:endParaRPr sz="1400">
                        <a:latin typeface="Courier New"/>
                        <a:cs typeface="Courier New"/>
                      </a:endParaRPr>
                    </a:p>
                  </a:txBody>
                  <a:tcPr marL="0" marR="0" marT="35560" marB="0">
                    <a:lnT w="76200">
                      <a:solidFill>
                        <a:srgbClr val="6DBD49"/>
                      </a:solidFill>
                      <a:prstDash val="solid"/>
                    </a:lnT>
                    <a:solidFill>
                      <a:srgbClr val="282828"/>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560486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p:nvPr/>
        </p:nvSpPr>
        <p:spPr>
          <a:xfrm>
            <a:off x="710183" y="3864864"/>
            <a:ext cx="11299190" cy="2258695"/>
          </a:xfrm>
          <a:custGeom>
            <a:avLst/>
            <a:gdLst/>
            <a:ahLst/>
            <a:cxnLst/>
            <a:rect l="l" t="t" r="r" b="b"/>
            <a:pathLst>
              <a:path w="11299190" h="2258695">
                <a:moveTo>
                  <a:pt x="0" y="2258568"/>
                </a:moveTo>
                <a:lnTo>
                  <a:pt x="11298936" y="2258568"/>
                </a:lnTo>
                <a:lnTo>
                  <a:pt x="11298936" y="0"/>
                </a:lnTo>
                <a:lnTo>
                  <a:pt x="0" y="0"/>
                </a:lnTo>
                <a:lnTo>
                  <a:pt x="0" y="2258568"/>
                </a:lnTo>
                <a:close/>
              </a:path>
            </a:pathLst>
          </a:custGeom>
          <a:solidFill>
            <a:srgbClr val="28282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a:spLocks noGrp="1"/>
          </p:cNvSpPr>
          <p:nvPr>
            <p:ph type="body" idx="1"/>
          </p:nvPr>
        </p:nvSpPr>
        <p:spPr>
          <a:prstGeom prst="rect">
            <a:avLst/>
          </a:prstGeom>
        </p:spPr>
        <p:txBody>
          <a:bodyPr vert="horz" wrap="square" lIns="0" tIns="81280" rIns="0" bIns="0" rtlCol="0">
            <a:spAutoFit/>
          </a:bodyPr>
          <a:lstStyle/>
          <a:p>
            <a:pPr marL="167640" indent="-154940">
              <a:lnSpc>
                <a:spcPct val="100000"/>
              </a:lnSpc>
              <a:spcBef>
                <a:spcPts val="640"/>
              </a:spcBef>
              <a:buSzPct val="58333"/>
              <a:buChar char="•"/>
              <a:tabLst>
                <a:tab pos="168275" algn="l"/>
              </a:tabLst>
            </a:pPr>
            <a:r>
              <a:rPr spc="-10" dirty="0"/>
              <a:t>Inventory </a:t>
            </a:r>
            <a:r>
              <a:rPr spc="0" dirty="0"/>
              <a:t>file </a:t>
            </a:r>
            <a:r>
              <a:rPr spc="5" dirty="0"/>
              <a:t>identifies hosts, </a:t>
            </a:r>
            <a:r>
              <a:rPr spc="-10" dirty="0"/>
              <a:t>and </a:t>
            </a:r>
            <a:r>
              <a:rPr spc="15" dirty="0"/>
              <a:t>groups </a:t>
            </a:r>
            <a:r>
              <a:rPr spc="35" dirty="0"/>
              <a:t>of </a:t>
            </a:r>
            <a:r>
              <a:rPr spc="5" dirty="0"/>
              <a:t>hosts </a:t>
            </a:r>
            <a:r>
              <a:rPr spc="10" dirty="0"/>
              <a:t>under</a:t>
            </a:r>
            <a:r>
              <a:rPr spc="434" dirty="0"/>
              <a:t> </a:t>
            </a:r>
            <a:r>
              <a:rPr spc="5" dirty="0"/>
              <a:t>management</a:t>
            </a:r>
          </a:p>
          <a:p>
            <a:pPr marL="320040" lvl="1" indent="-152400">
              <a:lnSpc>
                <a:spcPct val="100000"/>
              </a:lnSpc>
              <a:spcBef>
                <a:spcPts val="515"/>
              </a:spcBef>
              <a:buClr>
                <a:srgbClr val="282828"/>
              </a:buClr>
              <a:buSzPct val="59523"/>
              <a:buChar char="•"/>
              <a:tabLst>
                <a:tab pos="320675" algn="l"/>
              </a:tabLst>
            </a:pPr>
            <a:r>
              <a:rPr sz="2100" spc="10" dirty="0">
                <a:solidFill>
                  <a:srgbClr val="6DBD49"/>
                </a:solidFill>
                <a:latin typeface="Arial"/>
                <a:cs typeface="Arial"/>
              </a:rPr>
              <a:t>Hosts </a:t>
            </a:r>
            <a:r>
              <a:rPr sz="2100" spc="25" dirty="0">
                <a:solidFill>
                  <a:srgbClr val="6DBD49"/>
                </a:solidFill>
                <a:latin typeface="Arial"/>
                <a:cs typeface="Arial"/>
              </a:rPr>
              <a:t>can </a:t>
            </a:r>
            <a:r>
              <a:rPr sz="2100" spc="55" dirty="0">
                <a:solidFill>
                  <a:srgbClr val="6DBD49"/>
                </a:solidFill>
                <a:latin typeface="Arial"/>
                <a:cs typeface="Arial"/>
              </a:rPr>
              <a:t>be </a:t>
            </a:r>
            <a:r>
              <a:rPr sz="2100" spc="-90" dirty="0">
                <a:solidFill>
                  <a:srgbClr val="6DBD49"/>
                </a:solidFill>
                <a:latin typeface="Arial"/>
                <a:cs typeface="Arial"/>
              </a:rPr>
              <a:t>IP </a:t>
            </a:r>
            <a:r>
              <a:rPr sz="2100" spc="35" dirty="0">
                <a:solidFill>
                  <a:srgbClr val="6DBD49"/>
                </a:solidFill>
                <a:latin typeface="Arial"/>
                <a:cs typeface="Arial"/>
              </a:rPr>
              <a:t>or</a:t>
            </a:r>
            <a:r>
              <a:rPr sz="2100" spc="135" dirty="0">
                <a:solidFill>
                  <a:srgbClr val="6DBD49"/>
                </a:solidFill>
                <a:latin typeface="Arial"/>
                <a:cs typeface="Arial"/>
              </a:rPr>
              <a:t> </a:t>
            </a:r>
            <a:r>
              <a:rPr sz="2100" spc="-45" dirty="0">
                <a:solidFill>
                  <a:srgbClr val="6DBD49"/>
                </a:solidFill>
                <a:latin typeface="Arial"/>
                <a:cs typeface="Arial"/>
              </a:rPr>
              <a:t>FQDN</a:t>
            </a:r>
            <a:endParaRPr sz="2100">
              <a:latin typeface="Arial"/>
              <a:cs typeface="Arial"/>
            </a:endParaRPr>
          </a:p>
          <a:p>
            <a:pPr marL="320040" lvl="1" indent="-152400">
              <a:lnSpc>
                <a:spcPct val="100000"/>
              </a:lnSpc>
              <a:spcBef>
                <a:spcPts val="500"/>
              </a:spcBef>
              <a:buClr>
                <a:srgbClr val="282828"/>
              </a:buClr>
              <a:buSzPct val="59523"/>
              <a:buChar char="•"/>
              <a:tabLst>
                <a:tab pos="320675" algn="l"/>
              </a:tabLst>
            </a:pPr>
            <a:r>
              <a:rPr sz="2100" spc="5" dirty="0">
                <a:solidFill>
                  <a:srgbClr val="FAAB17"/>
                </a:solidFill>
                <a:latin typeface="Arial"/>
                <a:cs typeface="Arial"/>
              </a:rPr>
              <a:t>Groups </a:t>
            </a:r>
            <a:r>
              <a:rPr sz="2100" spc="35" dirty="0">
                <a:solidFill>
                  <a:srgbClr val="FAAB17"/>
                </a:solidFill>
                <a:latin typeface="Arial"/>
                <a:cs typeface="Arial"/>
              </a:rPr>
              <a:t>enclosed </a:t>
            </a:r>
            <a:r>
              <a:rPr sz="2100" spc="-5" dirty="0">
                <a:solidFill>
                  <a:srgbClr val="FAAB17"/>
                </a:solidFill>
                <a:latin typeface="Arial"/>
                <a:cs typeface="Arial"/>
              </a:rPr>
              <a:t>in </a:t>
            </a:r>
            <a:r>
              <a:rPr sz="2100" spc="-30" dirty="0">
                <a:solidFill>
                  <a:srgbClr val="FAAB17"/>
                </a:solidFill>
                <a:latin typeface="Arial"/>
                <a:cs typeface="Arial"/>
              </a:rPr>
              <a:t>[]</a:t>
            </a:r>
            <a:endParaRPr sz="2100">
              <a:latin typeface="Arial"/>
              <a:cs typeface="Arial"/>
            </a:endParaRPr>
          </a:p>
          <a:p>
            <a:pPr marL="167640" indent="-154940">
              <a:lnSpc>
                <a:spcPct val="100000"/>
              </a:lnSpc>
              <a:spcBef>
                <a:spcPts val="1355"/>
              </a:spcBef>
              <a:buSzPct val="60416"/>
              <a:buChar char="•"/>
              <a:tabLst>
                <a:tab pos="168275" algn="l"/>
              </a:tabLst>
            </a:pPr>
            <a:r>
              <a:rPr spc="-30" dirty="0"/>
              <a:t>Can </a:t>
            </a:r>
            <a:r>
              <a:rPr spc="5" dirty="0"/>
              <a:t>include </a:t>
            </a:r>
            <a:r>
              <a:rPr spc="10" dirty="0"/>
              <a:t>host </a:t>
            </a:r>
            <a:r>
              <a:rPr spc="25" dirty="0"/>
              <a:t>specific </a:t>
            </a:r>
            <a:r>
              <a:rPr spc="5" dirty="0"/>
              <a:t>parameters </a:t>
            </a:r>
            <a:r>
              <a:rPr spc="-40" dirty="0"/>
              <a:t>as</a:t>
            </a:r>
            <a:r>
              <a:rPr spc="300" dirty="0"/>
              <a:t> </a:t>
            </a:r>
            <a:r>
              <a:rPr spc="15" dirty="0"/>
              <a:t>well</a:t>
            </a:r>
          </a:p>
          <a:p>
            <a:pPr marL="320040" lvl="1" indent="-152400">
              <a:lnSpc>
                <a:spcPts val="2475"/>
              </a:lnSpc>
              <a:spcBef>
                <a:spcPts val="515"/>
              </a:spcBef>
              <a:buClr>
                <a:srgbClr val="282828"/>
              </a:buClr>
              <a:buSzPct val="59523"/>
              <a:buChar char="•"/>
              <a:tabLst>
                <a:tab pos="320675" algn="l"/>
              </a:tabLst>
            </a:pPr>
            <a:r>
              <a:rPr sz="2100" spc="-5" dirty="0">
                <a:solidFill>
                  <a:srgbClr val="E2231B"/>
                </a:solidFill>
                <a:latin typeface="Arial"/>
                <a:cs typeface="Arial"/>
              </a:rPr>
              <a:t>Example: </a:t>
            </a:r>
            <a:r>
              <a:rPr sz="2100" spc="10" dirty="0">
                <a:solidFill>
                  <a:srgbClr val="E2231B"/>
                </a:solidFill>
                <a:latin typeface="Arial"/>
                <a:cs typeface="Arial"/>
              </a:rPr>
              <a:t>Instructing Ansible </a:t>
            </a:r>
            <a:r>
              <a:rPr sz="2100" spc="50" dirty="0">
                <a:solidFill>
                  <a:srgbClr val="E2231B"/>
                </a:solidFill>
                <a:latin typeface="Arial"/>
                <a:cs typeface="Arial"/>
              </a:rPr>
              <a:t>to </a:t>
            </a:r>
            <a:r>
              <a:rPr sz="2100" spc="15" dirty="0">
                <a:solidFill>
                  <a:srgbClr val="E2231B"/>
                </a:solidFill>
                <a:latin typeface="Arial"/>
                <a:cs typeface="Arial"/>
              </a:rPr>
              <a:t>use </a:t>
            </a:r>
            <a:r>
              <a:rPr sz="2100" spc="35" dirty="0">
                <a:solidFill>
                  <a:srgbClr val="E2231B"/>
                </a:solidFill>
                <a:latin typeface="Arial"/>
                <a:cs typeface="Arial"/>
              </a:rPr>
              <a:t>the </a:t>
            </a:r>
            <a:r>
              <a:rPr sz="2100" spc="25" dirty="0">
                <a:solidFill>
                  <a:srgbClr val="E2231B"/>
                </a:solidFill>
                <a:latin typeface="Arial"/>
                <a:cs typeface="Arial"/>
              </a:rPr>
              <a:t>active </a:t>
            </a:r>
            <a:r>
              <a:rPr sz="2100" spc="5" dirty="0">
                <a:solidFill>
                  <a:srgbClr val="E2231B"/>
                </a:solidFill>
                <a:latin typeface="Arial"/>
                <a:cs typeface="Arial"/>
              </a:rPr>
              <a:t>Python </a:t>
            </a:r>
            <a:r>
              <a:rPr sz="2100" spc="25" dirty="0">
                <a:solidFill>
                  <a:srgbClr val="E2231B"/>
                </a:solidFill>
                <a:latin typeface="Arial"/>
                <a:cs typeface="Arial"/>
              </a:rPr>
              <a:t>Interpreter </a:t>
            </a:r>
            <a:r>
              <a:rPr sz="2100" spc="40" dirty="0">
                <a:solidFill>
                  <a:srgbClr val="E2231B"/>
                </a:solidFill>
                <a:latin typeface="Arial"/>
                <a:cs typeface="Arial"/>
              </a:rPr>
              <a:t>when </a:t>
            </a:r>
            <a:r>
              <a:rPr sz="2100" spc="5" dirty="0">
                <a:solidFill>
                  <a:srgbClr val="E2231B"/>
                </a:solidFill>
                <a:latin typeface="Arial"/>
                <a:cs typeface="Arial"/>
              </a:rPr>
              <a:t>using</a:t>
            </a:r>
            <a:r>
              <a:rPr sz="2100" spc="275" dirty="0">
                <a:solidFill>
                  <a:srgbClr val="E2231B"/>
                </a:solidFill>
                <a:latin typeface="Arial"/>
                <a:cs typeface="Arial"/>
              </a:rPr>
              <a:t> </a:t>
            </a:r>
            <a:r>
              <a:rPr sz="2100" spc="5" dirty="0">
                <a:solidFill>
                  <a:srgbClr val="E2231B"/>
                </a:solidFill>
                <a:latin typeface="Arial"/>
                <a:cs typeface="Arial"/>
              </a:rPr>
              <a:t>Python</a:t>
            </a:r>
            <a:endParaRPr sz="2100">
              <a:latin typeface="Arial"/>
              <a:cs typeface="Arial"/>
            </a:endParaRPr>
          </a:p>
          <a:p>
            <a:pPr marL="320040">
              <a:lnSpc>
                <a:spcPts val="2475"/>
              </a:lnSpc>
            </a:pPr>
            <a:r>
              <a:rPr sz="2100" spc="-10" dirty="0">
                <a:solidFill>
                  <a:srgbClr val="E2231B"/>
                </a:solidFill>
              </a:rPr>
              <a:t>Virtual</a:t>
            </a:r>
            <a:r>
              <a:rPr sz="2100" spc="-25" dirty="0">
                <a:solidFill>
                  <a:srgbClr val="E2231B"/>
                </a:solidFill>
              </a:rPr>
              <a:t> </a:t>
            </a:r>
            <a:r>
              <a:rPr sz="2100" spc="0" dirty="0">
                <a:solidFill>
                  <a:srgbClr val="E2231B"/>
                </a:solidFill>
              </a:rPr>
              <a:t>Environments</a:t>
            </a:r>
            <a:endParaRPr sz="2100"/>
          </a:p>
          <a:p>
            <a:pPr marL="12700">
              <a:lnSpc>
                <a:spcPts val="1875"/>
              </a:lnSpc>
              <a:spcBef>
                <a:spcPts val="1930"/>
              </a:spcBef>
            </a:pPr>
            <a:r>
              <a:rPr sz="1600" spc="-5" dirty="0">
                <a:solidFill>
                  <a:srgbClr val="FFFFFF"/>
                </a:solidFill>
                <a:latin typeface="Courier New"/>
                <a:cs typeface="Courier New"/>
              </a:rPr>
              <a:t>DevNet$ cat</a:t>
            </a:r>
            <a:r>
              <a:rPr sz="1600" spc="-80" dirty="0">
                <a:solidFill>
                  <a:srgbClr val="FFFFFF"/>
                </a:solidFill>
                <a:latin typeface="Courier New"/>
                <a:cs typeface="Courier New"/>
              </a:rPr>
              <a:t> </a:t>
            </a:r>
            <a:r>
              <a:rPr sz="1600" dirty="0">
                <a:solidFill>
                  <a:srgbClr val="FFFFFF"/>
                </a:solidFill>
                <a:latin typeface="Courier New"/>
                <a:cs typeface="Courier New"/>
              </a:rPr>
              <a:t>hosts</a:t>
            </a:r>
            <a:endParaRPr sz="1600">
              <a:latin typeface="Courier New"/>
              <a:cs typeface="Courier New"/>
            </a:endParaRPr>
          </a:p>
          <a:p>
            <a:pPr marL="12700">
              <a:lnSpc>
                <a:spcPts val="1875"/>
              </a:lnSpc>
            </a:pPr>
            <a:r>
              <a:rPr sz="1600" spc="-5" dirty="0">
                <a:solidFill>
                  <a:srgbClr val="FFFFFF"/>
                </a:solidFill>
                <a:latin typeface="Courier New"/>
                <a:cs typeface="Courier New"/>
              </a:rPr>
              <a:t>[servers]</a:t>
            </a:r>
            <a:endParaRPr sz="1600">
              <a:latin typeface="Courier New"/>
              <a:cs typeface="Courier New"/>
            </a:endParaRPr>
          </a:p>
        </p:txBody>
      </p:sp>
      <p:sp>
        <p:nvSpPr>
          <p:cNvPr id="5" name="object 5"/>
          <p:cNvSpPr txBox="1"/>
          <p:nvPr/>
        </p:nvSpPr>
        <p:spPr>
          <a:xfrm>
            <a:off x="710183" y="4335779"/>
            <a:ext cx="1485900" cy="289560"/>
          </a:xfrm>
          <a:prstGeom prst="rect">
            <a:avLst/>
          </a:prstGeom>
          <a:solidFill>
            <a:srgbClr val="282828"/>
          </a:solidFill>
          <a:ln w="57912">
            <a:solidFill>
              <a:srgbClr val="6DBD49"/>
            </a:solidFill>
          </a:ln>
        </p:spPr>
        <p:txBody>
          <a:bodyPr vert="horz" wrap="square" lIns="0" tIns="0" rIns="0" bIns="0" rtlCol="0">
            <a:spAutoFit/>
          </a:bodyPr>
          <a:lstStyle/>
          <a:p>
            <a:pPr marL="48260" marR="0" lvl="0" indent="0" algn="l" defTabSz="914400" rtl="0" eaLnBrk="1" fontAlgn="auto" latinLnBrk="0" hangingPunct="1">
              <a:lnSpc>
                <a:spcPts val="1760"/>
              </a:lnSpc>
              <a:spcBef>
                <a:spcPts val="0"/>
              </a:spcBef>
              <a:spcAft>
                <a:spcPts val="0"/>
              </a:spcAft>
              <a:buClrTx/>
              <a:buSzTx/>
              <a:buFontTx/>
              <a:buNone/>
              <a:tabLst/>
              <a:defRPr/>
            </a:pPr>
            <a:r>
              <a:rPr kumimoji="0" sz="1600" b="0" i="0" u="none" strike="noStrike" kern="1200" cap="none" spc="-10" normalizeH="0" baseline="0" noProof="0" dirty="0">
                <a:ln>
                  <a:noFill/>
                </a:ln>
                <a:solidFill>
                  <a:srgbClr val="FFFFFF"/>
                </a:solidFill>
                <a:effectLst/>
                <a:uLnTx/>
                <a:uFillTx/>
                <a:latin typeface="Courier New"/>
                <a:ea typeface="+mn-ea"/>
                <a:cs typeface="Courier New"/>
              </a:rPr>
              <a:t>10.10.20.20</a:t>
            </a:r>
            <a:endParaRPr kumimoji="0" sz="16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6" name="object 6"/>
          <p:cNvSpPr txBox="1"/>
          <p:nvPr/>
        </p:nvSpPr>
        <p:spPr>
          <a:xfrm>
            <a:off x="2238248" y="4330700"/>
            <a:ext cx="5897245"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0" i="0" u="none" strike="noStrike" kern="1200" cap="none" spc="0" normalizeH="0" baseline="0" noProof="0" dirty="0">
                <a:ln>
                  <a:noFill/>
                </a:ln>
                <a:solidFill>
                  <a:srgbClr val="FFFFFF"/>
                </a:solidFill>
                <a:effectLst/>
                <a:uLnTx/>
                <a:uFillTx/>
                <a:latin typeface="Courier New"/>
                <a:ea typeface="+mn-ea"/>
                <a:cs typeface="Courier New"/>
              </a:rPr>
              <a:t>ansible_python_interpreter="/usr/bin/env</a:t>
            </a:r>
            <a:r>
              <a:rPr kumimoji="0" sz="1600" b="0" i="0" u="none" strike="noStrike" kern="1200" cap="none" spc="-30" normalizeH="0" baseline="0" noProof="0" dirty="0">
                <a:ln>
                  <a:noFill/>
                </a:ln>
                <a:solidFill>
                  <a:srgbClr val="FFFFFF"/>
                </a:solidFill>
                <a:effectLst/>
                <a:uLnTx/>
                <a:uFillTx/>
                <a:latin typeface="Courier New"/>
                <a:ea typeface="+mn-ea"/>
                <a:cs typeface="Courier New"/>
              </a:rPr>
              <a:t> </a:t>
            </a:r>
            <a:r>
              <a:rPr kumimoji="0" sz="1600" b="0" i="0" u="none" strike="noStrike" kern="1200" cap="none" spc="-5" normalizeH="0" baseline="0" noProof="0" dirty="0">
                <a:ln>
                  <a:noFill/>
                </a:ln>
                <a:solidFill>
                  <a:srgbClr val="FFFFFF"/>
                </a:solidFill>
                <a:effectLst/>
                <a:uLnTx/>
                <a:uFillTx/>
                <a:latin typeface="Courier New"/>
                <a:ea typeface="+mn-ea"/>
                <a:cs typeface="Courier New"/>
              </a:rPr>
              <a:t>python"</a:t>
            </a:r>
            <a:endParaRPr kumimoji="0" sz="16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7" name="object 7"/>
          <p:cNvSpPr txBox="1"/>
          <p:nvPr/>
        </p:nvSpPr>
        <p:spPr>
          <a:xfrm>
            <a:off x="710183" y="4796028"/>
            <a:ext cx="1327785" cy="289560"/>
          </a:xfrm>
          <a:prstGeom prst="rect">
            <a:avLst/>
          </a:prstGeom>
          <a:solidFill>
            <a:srgbClr val="282828"/>
          </a:solidFill>
          <a:ln w="57912">
            <a:solidFill>
              <a:srgbClr val="FAAB17"/>
            </a:solidFill>
          </a:ln>
        </p:spPr>
        <p:txBody>
          <a:bodyPr vert="horz" wrap="square" lIns="0" tIns="0" rIns="0" bIns="0" rtlCol="0">
            <a:spAutoFit/>
          </a:bodyPr>
          <a:lstStyle/>
          <a:p>
            <a:pPr marL="48260" marR="0" lvl="0" indent="0" algn="l" defTabSz="914400" rtl="0" eaLnBrk="1" fontAlgn="auto" latinLnBrk="0" hangingPunct="1">
              <a:lnSpc>
                <a:spcPts val="1785"/>
              </a:lnSpc>
              <a:spcBef>
                <a:spcPts val="0"/>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Courier New"/>
                <a:ea typeface="+mn-ea"/>
                <a:cs typeface="Courier New"/>
              </a:rPr>
              <a:t>[switches]</a:t>
            </a:r>
            <a:endParaRPr kumimoji="0" sz="16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8" name="object 8"/>
          <p:cNvSpPr txBox="1"/>
          <p:nvPr/>
        </p:nvSpPr>
        <p:spPr>
          <a:xfrm>
            <a:off x="774903" y="5025897"/>
            <a:ext cx="1610360" cy="965835"/>
          </a:xfrm>
          <a:prstGeom prst="rect">
            <a:avLst/>
          </a:prstGeom>
        </p:spPr>
        <p:txBody>
          <a:bodyPr vert="horz" wrap="square" lIns="0" tIns="13335" rIns="0" bIns="0" rtlCol="0">
            <a:spAutoFit/>
          </a:bodyPr>
          <a:lstStyle/>
          <a:p>
            <a:pPr marL="12700" marR="0" lvl="0" indent="0" algn="l" defTabSz="914400" rtl="0" eaLnBrk="1" fontAlgn="auto" latinLnBrk="0" hangingPunct="1">
              <a:lnSpc>
                <a:spcPts val="1870"/>
              </a:lnSpc>
              <a:spcBef>
                <a:spcPts val="105"/>
              </a:spcBef>
              <a:spcAft>
                <a:spcPts val="0"/>
              </a:spcAft>
              <a:buClrTx/>
              <a:buSzTx/>
              <a:buFontTx/>
              <a:buNone/>
              <a:tabLst/>
              <a:defRPr/>
            </a:pPr>
            <a:r>
              <a:rPr kumimoji="0" sz="1600" b="0" i="0" u="none" strike="noStrike" kern="1200" cap="none" spc="-10" normalizeH="0" baseline="0" noProof="0" dirty="0">
                <a:ln>
                  <a:noFill/>
                </a:ln>
                <a:solidFill>
                  <a:srgbClr val="FFFFFF"/>
                </a:solidFill>
                <a:effectLst/>
                <a:uLnTx/>
                <a:uFillTx/>
                <a:latin typeface="Courier New"/>
                <a:ea typeface="+mn-ea"/>
                <a:cs typeface="Courier New"/>
              </a:rPr>
              <a:t>172.16.30.101</a:t>
            </a:r>
            <a:endParaRPr kumimoji="0" sz="16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825"/>
              </a:lnSpc>
              <a:spcBef>
                <a:spcPts val="0"/>
              </a:spcBef>
              <a:spcAft>
                <a:spcPts val="0"/>
              </a:spcAft>
              <a:buClrTx/>
              <a:buSzTx/>
              <a:buFontTx/>
              <a:buNone/>
              <a:tabLst/>
              <a:defRPr/>
            </a:pPr>
            <a:r>
              <a:rPr kumimoji="0" sz="1600" b="0" i="0" u="none" strike="noStrike" kern="1200" cap="none" spc="-10" normalizeH="0" baseline="0" noProof="0" dirty="0">
                <a:ln>
                  <a:noFill/>
                </a:ln>
                <a:solidFill>
                  <a:srgbClr val="FFFFFF"/>
                </a:solidFill>
                <a:effectLst/>
                <a:uLnTx/>
                <a:uFillTx/>
                <a:latin typeface="Courier New"/>
                <a:ea typeface="+mn-ea"/>
                <a:cs typeface="Courier New"/>
              </a:rPr>
              <a:t>172.16.30.102</a:t>
            </a:r>
            <a:endParaRPr kumimoji="0" sz="16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825"/>
              </a:lnSpc>
              <a:spcBef>
                <a:spcPts val="0"/>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Courier New"/>
                <a:ea typeface="+mn-ea"/>
                <a:cs typeface="Courier New"/>
              </a:rPr>
              <a:t>172.16.30.103</a:t>
            </a:r>
            <a:endParaRPr kumimoji="0" sz="16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875"/>
              </a:lnSpc>
              <a:spcBef>
                <a:spcPts val="0"/>
              </a:spcBef>
              <a:spcAft>
                <a:spcPts val="0"/>
              </a:spcAft>
              <a:buClrTx/>
              <a:buSzTx/>
              <a:buFontTx/>
              <a:buNone/>
              <a:tabLst/>
              <a:defRPr/>
            </a:pPr>
            <a:r>
              <a:rPr kumimoji="0" sz="1600" b="0" i="0" u="none" strike="noStrike" kern="1200" cap="none" spc="-10" normalizeH="0" baseline="0" noProof="0" dirty="0">
                <a:ln>
                  <a:noFill/>
                </a:ln>
                <a:solidFill>
                  <a:srgbClr val="FFFFFF"/>
                </a:solidFill>
                <a:effectLst/>
                <a:uLnTx/>
                <a:uFillTx/>
                <a:latin typeface="Courier New"/>
                <a:ea typeface="+mn-ea"/>
                <a:cs typeface="Courier New"/>
              </a:rPr>
              <a:t>172.16.30.104</a:t>
            </a:r>
            <a:endParaRPr kumimoji="0" sz="16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9" name="object 9"/>
          <p:cNvSpPr txBox="1"/>
          <p:nvPr/>
        </p:nvSpPr>
        <p:spPr>
          <a:xfrm>
            <a:off x="2436876" y="5085588"/>
            <a:ext cx="6083935" cy="948055"/>
          </a:xfrm>
          <a:prstGeom prst="rect">
            <a:avLst/>
          </a:prstGeom>
          <a:solidFill>
            <a:srgbClr val="282828"/>
          </a:solidFill>
          <a:ln w="57911">
            <a:solidFill>
              <a:srgbClr val="E2231B"/>
            </a:solidFill>
          </a:ln>
        </p:spPr>
        <p:txBody>
          <a:bodyPr vert="horz" wrap="square" lIns="0" tIns="0" rIns="0" bIns="0" rtlCol="0">
            <a:spAutoFit/>
          </a:bodyPr>
          <a:lstStyle/>
          <a:p>
            <a:pPr marL="31750" marR="0" lvl="0" indent="0" algn="just" defTabSz="914400" rtl="0" eaLnBrk="1" fontAlgn="auto" latinLnBrk="0" hangingPunct="1">
              <a:lnSpc>
                <a:spcPts val="1280"/>
              </a:lnSpc>
              <a:spcBef>
                <a:spcPts val="0"/>
              </a:spcBef>
              <a:spcAft>
                <a:spcPts val="0"/>
              </a:spcAft>
              <a:buClrTx/>
              <a:buSzTx/>
              <a:buFontTx/>
              <a:buNone/>
              <a:tabLst/>
              <a:defRPr/>
            </a:pPr>
            <a:r>
              <a:rPr kumimoji="0" sz="1600" b="0" i="0" u="none" strike="noStrike" kern="1200" cap="none" spc="0" normalizeH="0" baseline="0" noProof="0" dirty="0">
                <a:ln>
                  <a:noFill/>
                </a:ln>
                <a:solidFill>
                  <a:srgbClr val="FFFFFF"/>
                </a:solidFill>
                <a:effectLst/>
                <a:uLnTx/>
                <a:uFillTx/>
                <a:latin typeface="Courier New"/>
                <a:ea typeface="+mn-ea"/>
                <a:cs typeface="Courier New"/>
              </a:rPr>
              <a:t>ansible_python_interpreter="/usr/bin/env</a:t>
            </a:r>
            <a:r>
              <a:rPr kumimoji="0" sz="1600" b="0" i="0" u="none" strike="noStrike" kern="1200" cap="none" spc="-35" normalizeH="0" baseline="0" noProof="0" dirty="0">
                <a:ln>
                  <a:noFill/>
                </a:ln>
                <a:solidFill>
                  <a:srgbClr val="FFFFFF"/>
                </a:solidFill>
                <a:effectLst/>
                <a:uLnTx/>
                <a:uFillTx/>
                <a:latin typeface="Courier New"/>
                <a:ea typeface="+mn-ea"/>
                <a:cs typeface="Courier New"/>
              </a:rPr>
              <a:t> </a:t>
            </a:r>
            <a:r>
              <a:rPr kumimoji="0" sz="1600" b="0" i="0" u="none" strike="noStrike" kern="1200" cap="none" spc="-5" normalizeH="0" baseline="0" noProof="0" dirty="0">
                <a:ln>
                  <a:noFill/>
                </a:ln>
                <a:solidFill>
                  <a:srgbClr val="FFFFFF"/>
                </a:solidFill>
                <a:effectLst/>
                <a:uLnTx/>
                <a:uFillTx/>
                <a:latin typeface="Courier New"/>
                <a:ea typeface="+mn-ea"/>
                <a:cs typeface="Courier New"/>
              </a:rPr>
              <a:t>python"</a:t>
            </a:r>
            <a:endParaRPr kumimoji="0" sz="1600" b="0" i="0" u="none" strike="noStrike" kern="1200" cap="none" spc="0" normalizeH="0" baseline="0" noProof="0">
              <a:ln>
                <a:noFill/>
              </a:ln>
              <a:solidFill>
                <a:prstClr val="black"/>
              </a:solidFill>
              <a:effectLst/>
              <a:uLnTx/>
              <a:uFillTx/>
              <a:latin typeface="Courier New"/>
              <a:ea typeface="+mn-ea"/>
              <a:cs typeface="Courier New"/>
            </a:endParaRPr>
          </a:p>
          <a:p>
            <a:pPr marL="31750" marR="116839" lvl="0" indent="0" algn="just" defTabSz="914400" rtl="0" eaLnBrk="1" fontAlgn="auto" latinLnBrk="0" hangingPunct="1">
              <a:lnSpc>
                <a:spcPts val="1830"/>
              </a:lnSpc>
              <a:spcBef>
                <a:spcPts val="85"/>
              </a:spcBef>
              <a:spcAft>
                <a:spcPts val="0"/>
              </a:spcAft>
              <a:buClrTx/>
              <a:buSzTx/>
              <a:buFontTx/>
              <a:buNone/>
              <a:tabLst/>
              <a:defRPr/>
            </a:pPr>
            <a:r>
              <a:rPr kumimoji="0" sz="1600" b="0" i="0" u="none" strike="noStrike" kern="1200" cap="none" spc="0" normalizeH="0" baseline="0" noProof="0" dirty="0">
                <a:ln>
                  <a:noFill/>
                </a:ln>
                <a:solidFill>
                  <a:srgbClr val="FFFFFF"/>
                </a:solidFill>
                <a:effectLst/>
                <a:uLnTx/>
                <a:uFillTx/>
                <a:latin typeface="Courier New"/>
                <a:ea typeface="+mn-ea"/>
                <a:cs typeface="Courier New"/>
              </a:rPr>
              <a:t>ansible_python_interpreter="/usr/bin/env </a:t>
            </a:r>
            <a:r>
              <a:rPr kumimoji="0" sz="1600" b="0" i="0" u="none" strike="noStrike" kern="1200" cap="none" spc="-5" normalizeH="0" baseline="0" noProof="0" dirty="0">
                <a:ln>
                  <a:noFill/>
                </a:ln>
                <a:solidFill>
                  <a:srgbClr val="FFFFFF"/>
                </a:solidFill>
                <a:effectLst/>
                <a:uLnTx/>
                <a:uFillTx/>
                <a:latin typeface="Courier New"/>
                <a:ea typeface="+mn-ea"/>
                <a:cs typeface="Courier New"/>
              </a:rPr>
              <a:t>python"  </a:t>
            </a:r>
            <a:r>
              <a:rPr kumimoji="0" sz="1600" b="0" i="0" u="none" strike="noStrike" kern="1200" cap="none" spc="0" normalizeH="0" baseline="0" noProof="0" dirty="0">
                <a:ln>
                  <a:noFill/>
                </a:ln>
                <a:solidFill>
                  <a:srgbClr val="FFFFFF"/>
                </a:solidFill>
                <a:effectLst/>
                <a:uLnTx/>
                <a:uFillTx/>
                <a:latin typeface="Courier New"/>
                <a:ea typeface="+mn-ea"/>
                <a:cs typeface="Courier New"/>
              </a:rPr>
              <a:t>ansible_python_interpreter="/usr/bin/env </a:t>
            </a:r>
            <a:r>
              <a:rPr kumimoji="0" sz="1600" b="0" i="0" u="none" strike="noStrike" kern="1200" cap="none" spc="-5" normalizeH="0" baseline="0" noProof="0" dirty="0">
                <a:ln>
                  <a:noFill/>
                </a:ln>
                <a:solidFill>
                  <a:srgbClr val="FFFFFF"/>
                </a:solidFill>
                <a:effectLst/>
                <a:uLnTx/>
                <a:uFillTx/>
                <a:latin typeface="Courier New"/>
                <a:ea typeface="+mn-ea"/>
                <a:cs typeface="Courier New"/>
              </a:rPr>
              <a:t>python"  </a:t>
            </a:r>
            <a:r>
              <a:rPr kumimoji="0" sz="1600" b="0" i="0" u="none" strike="noStrike" kern="1200" cap="none" spc="0" normalizeH="0" baseline="0" noProof="0" dirty="0">
                <a:ln>
                  <a:noFill/>
                </a:ln>
                <a:solidFill>
                  <a:srgbClr val="FFFFFF"/>
                </a:solidFill>
                <a:effectLst/>
                <a:uLnTx/>
                <a:uFillTx/>
                <a:latin typeface="Courier New"/>
                <a:ea typeface="+mn-ea"/>
                <a:cs typeface="Courier New"/>
              </a:rPr>
              <a:t>ansible_python_interpreter="/usr/bin/env</a:t>
            </a:r>
            <a:r>
              <a:rPr kumimoji="0" sz="1600" b="0" i="0" u="none" strike="noStrike" kern="1200" cap="none" spc="-35" normalizeH="0" baseline="0" noProof="0" dirty="0">
                <a:ln>
                  <a:noFill/>
                </a:ln>
                <a:solidFill>
                  <a:srgbClr val="FFFFFF"/>
                </a:solidFill>
                <a:effectLst/>
                <a:uLnTx/>
                <a:uFillTx/>
                <a:latin typeface="Courier New"/>
                <a:ea typeface="+mn-ea"/>
                <a:cs typeface="Courier New"/>
              </a:rPr>
              <a:t> </a:t>
            </a:r>
            <a:r>
              <a:rPr kumimoji="0" sz="1600" b="0" i="0" u="none" strike="noStrike" kern="1200" cap="none" spc="-5" normalizeH="0" baseline="0" noProof="0" dirty="0">
                <a:ln>
                  <a:noFill/>
                </a:ln>
                <a:solidFill>
                  <a:srgbClr val="FFFFFF"/>
                </a:solidFill>
                <a:effectLst/>
                <a:uLnTx/>
                <a:uFillTx/>
                <a:latin typeface="Courier New"/>
                <a:ea typeface="+mn-ea"/>
                <a:cs typeface="Courier New"/>
              </a:rPr>
              <a:t>python"</a:t>
            </a:r>
            <a:endParaRPr kumimoji="0" sz="16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10" name="object 10"/>
          <p:cNvSpPr txBox="1">
            <a:spLocks noGrp="1"/>
          </p:cNvSpPr>
          <p:nvPr>
            <p:ph type="title"/>
          </p:nvPr>
        </p:nvSpPr>
        <p:spPr>
          <a:xfrm>
            <a:off x="662736" y="587501"/>
            <a:ext cx="4540250" cy="596265"/>
          </a:xfrm>
          <a:prstGeom prst="rect">
            <a:avLst/>
          </a:prstGeom>
        </p:spPr>
        <p:txBody>
          <a:bodyPr vert="horz" wrap="square" lIns="0" tIns="12065" rIns="0" bIns="0" rtlCol="0">
            <a:spAutoFit/>
          </a:bodyPr>
          <a:lstStyle/>
          <a:p>
            <a:pPr marL="12700">
              <a:lnSpc>
                <a:spcPct val="100000"/>
              </a:lnSpc>
              <a:spcBef>
                <a:spcPts val="95"/>
              </a:spcBef>
            </a:pPr>
            <a:r>
              <a:rPr spc="-10" dirty="0">
                <a:solidFill>
                  <a:srgbClr val="005073"/>
                </a:solidFill>
              </a:rPr>
              <a:t>Ansible Inventory</a:t>
            </a:r>
            <a:r>
              <a:rPr spc="75" dirty="0">
                <a:solidFill>
                  <a:srgbClr val="005073"/>
                </a:solidFill>
              </a:rPr>
              <a:t> </a:t>
            </a:r>
            <a:r>
              <a:rPr spc="-80" dirty="0">
                <a:solidFill>
                  <a:srgbClr val="005073"/>
                </a:solidFill>
              </a:rPr>
              <a:t>File</a:t>
            </a:r>
          </a:p>
        </p:txBody>
      </p:sp>
      <p:sp>
        <p:nvSpPr>
          <p:cNvPr id="11" name="object 11"/>
          <p:cNvSpPr txBox="1"/>
          <p:nvPr/>
        </p:nvSpPr>
        <p:spPr>
          <a:xfrm>
            <a:off x="7722489" y="6157366"/>
            <a:ext cx="3910329" cy="666750"/>
          </a:xfrm>
          <a:prstGeom prst="rect">
            <a:avLst/>
          </a:prstGeom>
        </p:spPr>
        <p:txBody>
          <a:bodyPr vert="horz" wrap="square" lIns="0" tIns="12700" rIns="0" bIns="0" rtlCol="0">
            <a:spAutoFit/>
          </a:bodyPr>
          <a:lstStyle/>
          <a:p>
            <a:pPr marL="273050" marR="0" lvl="0" indent="0" algn="l" defTabSz="914400" rtl="0" eaLnBrk="1" fontAlgn="auto" latinLnBrk="0" hangingPunct="1">
              <a:lnSpc>
                <a:spcPct val="100000"/>
              </a:lnSpc>
              <a:spcBef>
                <a:spcPts val="100"/>
              </a:spcBef>
              <a:spcAft>
                <a:spcPts val="0"/>
              </a:spcAft>
              <a:buClrTx/>
              <a:buSzTx/>
              <a:buFontTx/>
              <a:buNone/>
              <a:tabLst/>
              <a:defRPr/>
            </a:pPr>
            <a:r>
              <a:rPr kumimoji="0" sz="1800" b="0" i="1" u="none" strike="noStrike" kern="1200" cap="none" spc="0" normalizeH="0" baseline="0" noProof="0" dirty="0">
                <a:ln>
                  <a:noFill/>
                </a:ln>
                <a:solidFill>
                  <a:srgbClr val="282828"/>
                </a:solidFill>
                <a:effectLst/>
                <a:uLnTx/>
                <a:uFillTx/>
                <a:latin typeface="Arial"/>
                <a:ea typeface="+mn-ea"/>
                <a:cs typeface="Arial"/>
              </a:rPr>
              <a:t>Output </a:t>
            </a:r>
            <a:r>
              <a:rPr kumimoji="0" sz="1800" b="0" i="1" u="none" strike="noStrike" kern="1200" cap="none" spc="15" normalizeH="0" baseline="0" noProof="0" dirty="0">
                <a:ln>
                  <a:noFill/>
                </a:ln>
                <a:solidFill>
                  <a:srgbClr val="282828"/>
                </a:solidFill>
                <a:effectLst/>
                <a:uLnTx/>
                <a:uFillTx/>
                <a:latin typeface="Arial"/>
                <a:ea typeface="+mn-ea"/>
                <a:cs typeface="Arial"/>
              </a:rPr>
              <a:t>edited for </a:t>
            </a:r>
            <a:r>
              <a:rPr kumimoji="0" sz="1800" b="0" i="1" u="none" strike="noStrike" kern="1200" cap="none" spc="5" normalizeH="0" baseline="0" noProof="0" dirty="0">
                <a:ln>
                  <a:noFill/>
                </a:ln>
                <a:solidFill>
                  <a:srgbClr val="282828"/>
                </a:solidFill>
                <a:effectLst/>
                <a:uLnTx/>
                <a:uFillTx/>
                <a:latin typeface="Arial"/>
                <a:ea typeface="+mn-ea"/>
                <a:cs typeface="Arial"/>
              </a:rPr>
              <a:t>brevity </a:t>
            </a:r>
            <a:r>
              <a:rPr kumimoji="0" sz="1800" b="0" i="1" u="none" strike="noStrike" kern="1200" cap="none" spc="-10" normalizeH="0" baseline="0" noProof="0" dirty="0">
                <a:ln>
                  <a:noFill/>
                </a:ln>
                <a:solidFill>
                  <a:srgbClr val="282828"/>
                </a:solidFill>
                <a:effectLst/>
                <a:uLnTx/>
                <a:uFillTx/>
                <a:latin typeface="Arial"/>
                <a:ea typeface="+mn-ea"/>
                <a:cs typeface="Arial"/>
              </a:rPr>
              <a:t>and</a:t>
            </a:r>
            <a:r>
              <a:rPr kumimoji="0" sz="1800" b="0" i="1" u="none" strike="noStrike" kern="1200" cap="none" spc="150" normalizeH="0" baseline="0" noProof="0" dirty="0">
                <a:ln>
                  <a:noFill/>
                </a:ln>
                <a:solidFill>
                  <a:srgbClr val="282828"/>
                </a:solidFill>
                <a:effectLst/>
                <a:uLnTx/>
                <a:uFillTx/>
                <a:latin typeface="Arial"/>
                <a:ea typeface="+mn-ea"/>
                <a:cs typeface="Arial"/>
              </a:rPr>
              <a:t> </a:t>
            </a:r>
            <a:r>
              <a:rPr kumimoji="0" sz="1800" b="0" i="1" u="none" strike="noStrike" kern="1200" cap="none" spc="0" normalizeH="0" baseline="0" noProof="0" dirty="0">
                <a:ln>
                  <a:noFill/>
                </a:ln>
                <a:solidFill>
                  <a:srgbClr val="282828"/>
                </a:solidFill>
                <a:effectLst/>
                <a:uLnTx/>
                <a:uFillTx/>
                <a:latin typeface="Arial"/>
                <a:ea typeface="+mn-ea"/>
                <a:cs typeface="Arial"/>
              </a:rPr>
              <a:t>clarity</a:t>
            </a:r>
            <a:endParaRPr kumimoji="0" sz="18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205"/>
              </a:spcBef>
              <a:spcAft>
                <a:spcPts val="0"/>
              </a:spcAft>
              <a:buClrTx/>
              <a:buSzTx/>
              <a:buFontTx/>
              <a:buNone/>
              <a:tabLst/>
              <a:defRPr/>
            </a:pPr>
            <a:r>
              <a:rPr kumimoji="0" sz="1400" b="0" i="0" u="none" strike="noStrike" kern="1200" cap="none" spc="10" normalizeH="0" baseline="0" noProof="0" dirty="0">
                <a:ln>
                  <a:noFill/>
                </a:ln>
                <a:solidFill>
                  <a:srgbClr val="00BBEB"/>
                </a:solidFill>
                <a:effectLst/>
                <a:uLnTx/>
                <a:uFillTx/>
                <a:latin typeface="Arial"/>
                <a:ea typeface="+mn-ea"/>
                <a:cs typeface="Arial"/>
              </a:rPr>
              <a:t>netprog_basics/netdevops/ansible_part_1/hosts</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7591519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3"/>
          <p:cNvGraphicFramePr>
            <a:graphicFrameLocks noGrp="1"/>
          </p:cNvGraphicFramePr>
          <p:nvPr/>
        </p:nvGraphicFramePr>
        <p:xfrm>
          <a:off x="627062" y="1790700"/>
          <a:ext cx="11039538" cy="3225800"/>
        </p:xfrm>
        <a:graphic>
          <a:graphicData uri="http://schemas.openxmlformats.org/drawingml/2006/table">
            <a:tbl>
              <a:tblPr firstRow="1" bandRow="1">
                <a:tableStyleId>{2D5ABB26-0587-4C30-8999-92F81FD0307C}</a:tableStyleId>
              </a:tblPr>
              <a:tblGrid>
                <a:gridCol w="2778823">
                  <a:extLst>
                    <a:ext uri="{9D8B030D-6E8A-4147-A177-3AD203B41FA5}">
                      <a16:colId xmlns:a16="http://schemas.microsoft.com/office/drawing/2014/main" val="20000"/>
                    </a:ext>
                  </a:extLst>
                </a:gridCol>
                <a:gridCol w="8260715">
                  <a:extLst>
                    <a:ext uri="{9D8B030D-6E8A-4147-A177-3AD203B41FA5}">
                      <a16:colId xmlns:a16="http://schemas.microsoft.com/office/drawing/2014/main" val="20001"/>
                    </a:ext>
                  </a:extLst>
                </a:gridCol>
              </a:tblGrid>
              <a:tr h="342900">
                <a:tc>
                  <a:txBody>
                    <a:bodyPr/>
                    <a:lstStyle/>
                    <a:p>
                      <a:pPr marL="85090">
                        <a:lnSpc>
                          <a:spcPct val="100000"/>
                        </a:lnSpc>
                        <a:spcBef>
                          <a:spcPts val="340"/>
                        </a:spcBef>
                      </a:pPr>
                      <a:r>
                        <a:rPr sz="1850" spc="-80" dirty="0">
                          <a:solidFill>
                            <a:srgbClr val="005073"/>
                          </a:solidFill>
                          <a:latin typeface="Lucida Sans Unicode"/>
                          <a:cs typeface="Lucida Sans Unicode"/>
                        </a:rPr>
                        <a:t>Tool</a:t>
                      </a:r>
                      <a:endParaRPr sz="1850">
                        <a:latin typeface="Lucida Sans Unicode"/>
                        <a:cs typeface="Lucida Sans Unicode"/>
                      </a:endParaRPr>
                    </a:p>
                  </a:txBody>
                  <a:tcPr marL="0" marR="0" marT="43180" marB="0">
                    <a:lnL w="12700">
                      <a:solidFill>
                        <a:srgbClr val="005073"/>
                      </a:solidFill>
                      <a:prstDash val="solid"/>
                    </a:lnL>
                    <a:lnR w="12700">
                      <a:solidFill>
                        <a:srgbClr val="005073"/>
                      </a:solidFill>
                      <a:prstDash val="solid"/>
                    </a:lnR>
                    <a:lnT w="12700">
                      <a:solidFill>
                        <a:srgbClr val="005073"/>
                      </a:solidFill>
                      <a:prstDash val="solid"/>
                    </a:lnT>
                    <a:lnB w="38100">
                      <a:solidFill>
                        <a:srgbClr val="005073"/>
                      </a:solidFill>
                      <a:prstDash val="solid"/>
                    </a:lnB>
                    <a:solidFill>
                      <a:srgbClr val="00BBEB"/>
                    </a:solidFill>
                  </a:tcPr>
                </a:tc>
                <a:tc>
                  <a:txBody>
                    <a:bodyPr/>
                    <a:lstStyle/>
                    <a:p>
                      <a:pPr marL="85725">
                        <a:lnSpc>
                          <a:spcPct val="100000"/>
                        </a:lnSpc>
                        <a:spcBef>
                          <a:spcPts val="340"/>
                        </a:spcBef>
                      </a:pPr>
                      <a:r>
                        <a:rPr sz="1850" spc="-75" dirty="0">
                          <a:solidFill>
                            <a:srgbClr val="005073"/>
                          </a:solidFill>
                          <a:latin typeface="Lucida Sans Unicode"/>
                          <a:cs typeface="Lucida Sans Unicode"/>
                        </a:rPr>
                        <a:t>Description</a:t>
                      </a:r>
                      <a:endParaRPr sz="1850">
                        <a:latin typeface="Lucida Sans Unicode"/>
                        <a:cs typeface="Lucida Sans Unicode"/>
                      </a:endParaRPr>
                    </a:p>
                  </a:txBody>
                  <a:tcPr marL="0" marR="0" marT="43180" marB="0">
                    <a:lnL w="12700">
                      <a:solidFill>
                        <a:srgbClr val="005073"/>
                      </a:solidFill>
                      <a:prstDash val="solid"/>
                    </a:lnL>
                    <a:lnR w="12700">
                      <a:solidFill>
                        <a:srgbClr val="005073"/>
                      </a:solidFill>
                      <a:prstDash val="solid"/>
                    </a:lnR>
                    <a:lnT w="12700">
                      <a:solidFill>
                        <a:srgbClr val="005073"/>
                      </a:solidFill>
                      <a:prstDash val="solid"/>
                    </a:lnT>
                    <a:lnB w="38100">
                      <a:solidFill>
                        <a:srgbClr val="005073"/>
                      </a:solidFill>
                      <a:prstDash val="solid"/>
                    </a:lnB>
                    <a:solidFill>
                      <a:srgbClr val="00BBEB"/>
                    </a:solidFill>
                  </a:tcPr>
                </a:tc>
                <a:extLst>
                  <a:ext uri="{0D108BD9-81ED-4DB2-BD59-A6C34878D82A}">
                    <a16:rowId xmlns:a16="http://schemas.microsoft.com/office/drawing/2014/main" val="10000"/>
                  </a:ext>
                </a:extLst>
              </a:tr>
              <a:tr h="368300">
                <a:tc>
                  <a:txBody>
                    <a:bodyPr/>
                    <a:lstStyle/>
                    <a:p>
                      <a:pPr marL="85090">
                        <a:lnSpc>
                          <a:spcPct val="100000"/>
                        </a:lnSpc>
                        <a:spcBef>
                          <a:spcPts val="40"/>
                        </a:spcBef>
                      </a:pPr>
                      <a:r>
                        <a:rPr sz="2000" spc="-5" dirty="0">
                          <a:solidFill>
                            <a:srgbClr val="003B55"/>
                          </a:solidFill>
                          <a:latin typeface="Courier New"/>
                          <a:cs typeface="Courier New"/>
                        </a:rPr>
                        <a:t>ansible</a:t>
                      </a:r>
                      <a:endParaRPr sz="2000">
                        <a:latin typeface="Courier New"/>
                        <a:cs typeface="Courier New"/>
                      </a:endParaRPr>
                    </a:p>
                  </a:txBody>
                  <a:tcPr marL="0" marR="0" marT="5080" marB="0">
                    <a:lnL w="12700">
                      <a:solidFill>
                        <a:srgbClr val="005073"/>
                      </a:solidFill>
                      <a:prstDash val="solid"/>
                    </a:lnL>
                    <a:lnR w="12700">
                      <a:solidFill>
                        <a:srgbClr val="005073"/>
                      </a:solidFill>
                      <a:prstDash val="solid"/>
                    </a:lnR>
                    <a:lnT w="38100">
                      <a:solidFill>
                        <a:srgbClr val="005073"/>
                      </a:solidFill>
                      <a:prstDash val="solid"/>
                    </a:lnT>
                    <a:lnB w="12700">
                      <a:solidFill>
                        <a:srgbClr val="005073"/>
                      </a:solidFill>
                      <a:prstDash val="solid"/>
                    </a:lnB>
                    <a:solidFill>
                      <a:srgbClr val="CAE7F7"/>
                    </a:solidFill>
                  </a:tcPr>
                </a:tc>
                <a:tc>
                  <a:txBody>
                    <a:bodyPr/>
                    <a:lstStyle/>
                    <a:p>
                      <a:pPr marL="85725">
                        <a:lnSpc>
                          <a:spcPct val="100000"/>
                        </a:lnSpc>
                        <a:spcBef>
                          <a:spcPts val="209"/>
                        </a:spcBef>
                      </a:pPr>
                      <a:r>
                        <a:rPr sz="2000" spc="-15" dirty="0">
                          <a:solidFill>
                            <a:srgbClr val="003B55"/>
                          </a:solidFill>
                          <a:latin typeface="Arial"/>
                          <a:cs typeface="Arial"/>
                        </a:rPr>
                        <a:t>Executes </a:t>
                      </a:r>
                      <a:r>
                        <a:rPr sz="2000" dirty="0">
                          <a:solidFill>
                            <a:srgbClr val="003B55"/>
                          </a:solidFill>
                          <a:latin typeface="Arial"/>
                          <a:cs typeface="Arial"/>
                        </a:rPr>
                        <a:t>modules </a:t>
                      </a:r>
                      <a:r>
                        <a:rPr sz="2000" spc="-15" dirty="0">
                          <a:solidFill>
                            <a:srgbClr val="003B55"/>
                          </a:solidFill>
                          <a:latin typeface="Arial"/>
                          <a:cs typeface="Arial"/>
                        </a:rPr>
                        <a:t>against </a:t>
                      </a:r>
                      <a:r>
                        <a:rPr sz="2000" spc="10" dirty="0">
                          <a:solidFill>
                            <a:srgbClr val="003B55"/>
                          </a:solidFill>
                          <a:latin typeface="Arial"/>
                          <a:cs typeface="Arial"/>
                        </a:rPr>
                        <a:t>targeted </a:t>
                      </a:r>
                      <a:r>
                        <a:rPr sz="2000" spc="0" dirty="0">
                          <a:solidFill>
                            <a:srgbClr val="003B55"/>
                          </a:solidFill>
                          <a:latin typeface="Arial"/>
                          <a:cs typeface="Arial"/>
                        </a:rPr>
                        <a:t>hosts </a:t>
                      </a:r>
                      <a:r>
                        <a:rPr sz="2000" spc="10" dirty="0">
                          <a:solidFill>
                            <a:srgbClr val="003B55"/>
                          </a:solidFill>
                          <a:latin typeface="Arial"/>
                          <a:cs typeface="Arial"/>
                        </a:rPr>
                        <a:t>without </a:t>
                      </a:r>
                      <a:r>
                        <a:rPr sz="2000" spc="5" dirty="0">
                          <a:solidFill>
                            <a:srgbClr val="003B55"/>
                          </a:solidFill>
                          <a:latin typeface="Arial"/>
                          <a:cs typeface="Arial"/>
                        </a:rPr>
                        <a:t>creating </a:t>
                      </a:r>
                      <a:r>
                        <a:rPr sz="2000" spc="90" dirty="0">
                          <a:solidFill>
                            <a:srgbClr val="003B55"/>
                          </a:solidFill>
                          <a:latin typeface="Arial"/>
                          <a:cs typeface="Arial"/>
                        </a:rPr>
                        <a:t> </a:t>
                      </a:r>
                      <a:r>
                        <a:rPr sz="2000" dirty="0">
                          <a:solidFill>
                            <a:srgbClr val="003B55"/>
                          </a:solidFill>
                          <a:latin typeface="Arial"/>
                          <a:cs typeface="Arial"/>
                        </a:rPr>
                        <a:t>playbooks.</a:t>
                      </a:r>
                      <a:endParaRPr sz="2000">
                        <a:latin typeface="Arial"/>
                        <a:cs typeface="Arial"/>
                      </a:endParaRPr>
                    </a:p>
                  </a:txBody>
                  <a:tcPr marL="0" marR="0" marT="26669" marB="0">
                    <a:lnL w="12700">
                      <a:solidFill>
                        <a:srgbClr val="005073"/>
                      </a:solidFill>
                      <a:prstDash val="solid"/>
                    </a:lnL>
                    <a:lnR w="12700">
                      <a:solidFill>
                        <a:srgbClr val="005073"/>
                      </a:solidFill>
                      <a:prstDash val="solid"/>
                    </a:lnR>
                    <a:lnT w="38100">
                      <a:solidFill>
                        <a:srgbClr val="005073"/>
                      </a:solidFill>
                      <a:prstDash val="solid"/>
                    </a:lnT>
                    <a:lnB w="12700">
                      <a:solidFill>
                        <a:srgbClr val="005073"/>
                      </a:solidFill>
                      <a:prstDash val="solid"/>
                    </a:lnB>
                    <a:solidFill>
                      <a:srgbClr val="CAE7F7"/>
                    </a:solidFill>
                  </a:tcPr>
                </a:tc>
                <a:extLst>
                  <a:ext uri="{0D108BD9-81ED-4DB2-BD59-A6C34878D82A}">
                    <a16:rowId xmlns:a16="http://schemas.microsoft.com/office/drawing/2014/main" val="10001"/>
                  </a:ext>
                </a:extLst>
              </a:tr>
              <a:tr h="381000">
                <a:tc>
                  <a:txBody>
                    <a:bodyPr/>
                    <a:lstStyle/>
                    <a:p>
                      <a:pPr marL="85090">
                        <a:lnSpc>
                          <a:spcPct val="100000"/>
                        </a:lnSpc>
                        <a:spcBef>
                          <a:spcPts val="140"/>
                        </a:spcBef>
                      </a:pPr>
                      <a:r>
                        <a:rPr sz="2000" spc="-5" dirty="0">
                          <a:solidFill>
                            <a:srgbClr val="003B55"/>
                          </a:solidFill>
                          <a:latin typeface="Courier New"/>
                          <a:cs typeface="Courier New"/>
                        </a:rPr>
                        <a:t>ansible-playbook</a:t>
                      </a:r>
                      <a:endParaRPr sz="2000">
                        <a:latin typeface="Courier New"/>
                        <a:cs typeface="Courier New"/>
                      </a:endParaRPr>
                    </a:p>
                  </a:txBody>
                  <a:tcPr marL="0" marR="0" marT="1778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5725">
                        <a:lnSpc>
                          <a:spcPct val="100000"/>
                        </a:lnSpc>
                        <a:spcBef>
                          <a:spcPts val="310"/>
                        </a:spcBef>
                      </a:pPr>
                      <a:r>
                        <a:rPr sz="2000" spc="-85" dirty="0">
                          <a:solidFill>
                            <a:srgbClr val="003B55"/>
                          </a:solidFill>
                          <a:latin typeface="Arial"/>
                          <a:cs typeface="Arial"/>
                        </a:rPr>
                        <a:t>Run  </a:t>
                      </a:r>
                      <a:r>
                        <a:rPr sz="2000" spc="-5" dirty="0">
                          <a:solidFill>
                            <a:srgbClr val="003B55"/>
                          </a:solidFill>
                          <a:latin typeface="Arial"/>
                          <a:cs typeface="Arial"/>
                        </a:rPr>
                        <a:t>playbooks </a:t>
                      </a:r>
                      <a:r>
                        <a:rPr sz="2000" spc="-15" dirty="0">
                          <a:solidFill>
                            <a:srgbClr val="003B55"/>
                          </a:solidFill>
                          <a:latin typeface="Arial"/>
                          <a:cs typeface="Arial"/>
                        </a:rPr>
                        <a:t>against </a:t>
                      </a:r>
                      <a:r>
                        <a:rPr sz="2000" spc="10" dirty="0">
                          <a:solidFill>
                            <a:srgbClr val="003B55"/>
                          </a:solidFill>
                          <a:latin typeface="Arial"/>
                          <a:cs typeface="Arial"/>
                        </a:rPr>
                        <a:t>targeted</a:t>
                      </a:r>
                      <a:r>
                        <a:rPr sz="2000" spc="-5" dirty="0">
                          <a:solidFill>
                            <a:srgbClr val="003B55"/>
                          </a:solidFill>
                          <a:latin typeface="Arial"/>
                          <a:cs typeface="Arial"/>
                        </a:rPr>
                        <a:t> </a:t>
                      </a:r>
                      <a:r>
                        <a:rPr sz="2000" spc="0" dirty="0">
                          <a:solidFill>
                            <a:srgbClr val="003B55"/>
                          </a:solidFill>
                          <a:latin typeface="Arial"/>
                          <a:cs typeface="Arial"/>
                        </a:rPr>
                        <a:t>hosts.</a:t>
                      </a:r>
                      <a:endParaRPr sz="2000">
                        <a:latin typeface="Arial"/>
                        <a:cs typeface="Arial"/>
                      </a:endParaRPr>
                    </a:p>
                  </a:txBody>
                  <a:tcPr marL="0" marR="0" marT="3937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extLst>
                  <a:ext uri="{0D108BD9-81ED-4DB2-BD59-A6C34878D82A}">
                    <a16:rowId xmlns:a16="http://schemas.microsoft.com/office/drawing/2014/main" val="10002"/>
                  </a:ext>
                </a:extLst>
              </a:tr>
              <a:tr h="381000">
                <a:tc>
                  <a:txBody>
                    <a:bodyPr/>
                    <a:lstStyle/>
                    <a:p>
                      <a:pPr marL="85090">
                        <a:lnSpc>
                          <a:spcPct val="100000"/>
                        </a:lnSpc>
                        <a:spcBef>
                          <a:spcPts val="145"/>
                        </a:spcBef>
                      </a:pPr>
                      <a:r>
                        <a:rPr sz="2000" spc="-5" dirty="0">
                          <a:solidFill>
                            <a:srgbClr val="003B55"/>
                          </a:solidFill>
                          <a:latin typeface="Courier New"/>
                          <a:cs typeface="Courier New"/>
                        </a:rPr>
                        <a:t>ansible-vault</a:t>
                      </a:r>
                      <a:endParaRPr sz="2000">
                        <a:latin typeface="Courier New"/>
                        <a:cs typeface="Courier New"/>
                      </a:endParaRPr>
                    </a:p>
                  </a:txBody>
                  <a:tcPr marL="0" marR="0" marT="184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tc>
                  <a:txBody>
                    <a:bodyPr/>
                    <a:lstStyle/>
                    <a:p>
                      <a:pPr marL="85725">
                        <a:lnSpc>
                          <a:spcPct val="100000"/>
                        </a:lnSpc>
                        <a:spcBef>
                          <a:spcPts val="315"/>
                        </a:spcBef>
                      </a:pPr>
                      <a:r>
                        <a:rPr sz="2000" spc="-15" dirty="0">
                          <a:solidFill>
                            <a:srgbClr val="003B55"/>
                          </a:solidFill>
                          <a:latin typeface="Arial"/>
                          <a:cs typeface="Arial"/>
                        </a:rPr>
                        <a:t>Encrypt </a:t>
                      </a:r>
                      <a:r>
                        <a:rPr sz="2000" spc="-10" dirty="0">
                          <a:solidFill>
                            <a:srgbClr val="003B55"/>
                          </a:solidFill>
                          <a:latin typeface="Arial"/>
                          <a:cs typeface="Arial"/>
                        </a:rPr>
                        <a:t>sensitive data </a:t>
                      </a:r>
                      <a:r>
                        <a:rPr sz="2000" spc="0" dirty="0">
                          <a:solidFill>
                            <a:srgbClr val="003B55"/>
                          </a:solidFill>
                          <a:latin typeface="Arial"/>
                          <a:cs typeface="Arial"/>
                        </a:rPr>
                        <a:t>into </a:t>
                      </a:r>
                      <a:r>
                        <a:rPr sz="2000" spc="-35" dirty="0">
                          <a:solidFill>
                            <a:srgbClr val="003B55"/>
                          </a:solidFill>
                          <a:latin typeface="Arial"/>
                          <a:cs typeface="Arial"/>
                        </a:rPr>
                        <a:t>an </a:t>
                      </a:r>
                      <a:r>
                        <a:rPr sz="2000" spc="15" dirty="0">
                          <a:solidFill>
                            <a:srgbClr val="003B55"/>
                          </a:solidFill>
                          <a:latin typeface="Arial"/>
                          <a:cs typeface="Arial"/>
                        </a:rPr>
                        <a:t>encrypted </a:t>
                      </a:r>
                      <a:r>
                        <a:rPr sz="2000" spc="-30" dirty="0">
                          <a:solidFill>
                            <a:srgbClr val="003B55"/>
                          </a:solidFill>
                          <a:latin typeface="Arial"/>
                          <a:cs typeface="Arial"/>
                        </a:rPr>
                        <a:t>YAML </a:t>
                      </a:r>
                      <a:r>
                        <a:rPr sz="2000" spc="40" dirty="0">
                          <a:solidFill>
                            <a:srgbClr val="003B55"/>
                          </a:solidFill>
                          <a:latin typeface="Arial"/>
                          <a:cs typeface="Arial"/>
                        </a:rPr>
                        <a:t> </a:t>
                      </a:r>
                      <a:r>
                        <a:rPr sz="2000" spc="-5" dirty="0">
                          <a:solidFill>
                            <a:srgbClr val="003B55"/>
                          </a:solidFill>
                          <a:latin typeface="Arial"/>
                          <a:cs typeface="Arial"/>
                        </a:rPr>
                        <a:t>file.</a:t>
                      </a:r>
                      <a:endParaRPr sz="2000">
                        <a:latin typeface="Arial"/>
                        <a:cs typeface="Arial"/>
                      </a:endParaRPr>
                    </a:p>
                  </a:txBody>
                  <a:tcPr marL="0" marR="0" marT="4000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extLst>
                  <a:ext uri="{0D108BD9-81ED-4DB2-BD59-A6C34878D82A}">
                    <a16:rowId xmlns:a16="http://schemas.microsoft.com/office/drawing/2014/main" val="10003"/>
                  </a:ext>
                </a:extLst>
              </a:tr>
              <a:tr h="685800">
                <a:tc>
                  <a:txBody>
                    <a:bodyPr/>
                    <a:lstStyle/>
                    <a:p>
                      <a:pPr marL="85090">
                        <a:lnSpc>
                          <a:spcPct val="100000"/>
                        </a:lnSpc>
                        <a:spcBef>
                          <a:spcPts val="145"/>
                        </a:spcBef>
                      </a:pPr>
                      <a:r>
                        <a:rPr sz="2000" spc="-5" dirty="0">
                          <a:solidFill>
                            <a:srgbClr val="003B55"/>
                          </a:solidFill>
                          <a:latin typeface="Courier New"/>
                          <a:cs typeface="Courier New"/>
                        </a:rPr>
                        <a:t>ansible-pull</a:t>
                      </a:r>
                      <a:endParaRPr sz="2000">
                        <a:latin typeface="Courier New"/>
                        <a:cs typeface="Courier New"/>
                      </a:endParaRPr>
                    </a:p>
                  </a:txBody>
                  <a:tcPr marL="0" marR="0" marT="184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5725">
                        <a:lnSpc>
                          <a:spcPct val="100000"/>
                        </a:lnSpc>
                        <a:spcBef>
                          <a:spcPts val="310"/>
                        </a:spcBef>
                      </a:pPr>
                      <a:r>
                        <a:rPr sz="2000" spc="35" dirty="0">
                          <a:solidFill>
                            <a:srgbClr val="003B55"/>
                          </a:solidFill>
                          <a:latin typeface="Tahoma"/>
                          <a:cs typeface="Tahoma"/>
                        </a:rPr>
                        <a:t>Reverses </a:t>
                      </a:r>
                      <a:r>
                        <a:rPr sz="2000" dirty="0">
                          <a:solidFill>
                            <a:srgbClr val="003B55"/>
                          </a:solidFill>
                          <a:latin typeface="Tahoma"/>
                          <a:cs typeface="Tahoma"/>
                        </a:rPr>
                        <a:t>the </a:t>
                      </a:r>
                      <a:r>
                        <a:rPr sz="2000" spc="-5" dirty="0">
                          <a:solidFill>
                            <a:srgbClr val="003B55"/>
                          </a:solidFill>
                          <a:latin typeface="Tahoma"/>
                          <a:cs typeface="Tahoma"/>
                        </a:rPr>
                        <a:t>normal </a:t>
                      </a:r>
                      <a:r>
                        <a:rPr sz="2000" spc="15" dirty="0">
                          <a:solidFill>
                            <a:srgbClr val="003B55"/>
                          </a:solidFill>
                          <a:latin typeface="Tahoma"/>
                          <a:cs typeface="Tahoma"/>
                        </a:rPr>
                        <a:t>“push” </a:t>
                      </a:r>
                      <a:r>
                        <a:rPr sz="2000" spc="25" dirty="0">
                          <a:solidFill>
                            <a:srgbClr val="003B55"/>
                          </a:solidFill>
                          <a:latin typeface="Tahoma"/>
                          <a:cs typeface="Tahoma"/>
                        </a:rPr>
                        <a:t>model </a:t>
                      </a:r>
                      <a:r>
                        <a:rPr sz="2000" spc="5" dirty="0">
                          <a:solidFill>
                            <a:srgbClr val="003B55"/>
                          </a:solidFill>
                          <a:latin typeface="Tahoma"/>
                          <a:cs typeface="Tahoma"/>
                        </a:rPr>
                        <a:t>and lets </a:t>
                      </a:r>
                      <a:r>
                        <a:rPr sz="2000" spc="15" dirty="0">
                          <a:solidFill>
                            <a:srgbClr val="003B55"/>
                          </a:solidFill>
                          <a:latin typeface="Tahoma"/>
                          <a:cs typeface="Tahoma"/>
                        </a:rPr>
                        <a:t>clients </a:t>
                      </a:r>
                      <a:r>
                        <a:rPr sz="2000" spc="-15" dirty="0">
                          <a:solidFill>
                            <a:srgbClr val="003B55"/>
                          </a:solidFill>
                          <a:latin typeface="Tahoma"/>
                          <a:cs typeface="Tahoma"/>
                        </a:rPr>
                        <a:t>"pull" </a:t>
                      </a:r>
                      <a:r>
                        <a:rPr sz="2000" spc="-5" dirty="0">
                          <a:solidFill>
                            <a:srgbClr val="003B55"/>
                          </a:solidFill>
                          <a:latin typeface="Tahoma"/>
                          <a:cs typeface="Tahoma"/>
                        </a:rPr>
                        <a:t>from</a:t>
                      </a:r>
                      <a:r>
                        <a:rPr sz="2000" spc="-80" dirty="0">
                          <a:solidFill>
                            <a:srgbClr val="003B55"/>
                          </a:solidFill>
                          <a:latin typeface="Tahoma"/>
                          <a:cs typeface="Tahoma"/>
                        </a:rPr>
                        <a:t> </a:t>
                      </a:r>
                      <a:r>
                        <a:rPr sz="2000" spc="0" dirty="0">
                          <a:solidFill>
                            <a:srgbClr val="003B55"/>
                          </a:solidFill>
                          <a:latin typeface="Tahoma"/>
                          <a:cs typeface="Tahoma"/>
                        </a:rPr>
                        <a:t>a</a:t>
                      </a:r>
                      <a:endParaRPr sz="2000">
                        <a:latin typeface="Tahoma"/>
                        <a:cs typeface="Tahoma"/>
                      </a:endParaRPr>
                    </a:p>
                    <a:p>
                      <a:pPr marL="85725">
                        <a:lnSpc>
                          <a:spcPct val="100000"/>
                        </a:lnSpc>
                      </a:pPr>
                      <a:r>
                        <a:rPr sz="2000" dirty="0">
                          <a:solidFill>
                            <a:srgbClr val="003B55"/>
                          </a:solidFill>
                          <a:latin typeface="Arial"/>
                          <a:cs typeface="Arial"/>
                        </a:rPr>
                        <a:t>centralized server </a:t>
                      </a:r>
                      <a:r>
                        <a:rPr sz="2000" spc="25" dirty="0">
                          <a:solidFill>
                            <a:srgbClr val="003B55"/>
                          </a:solidFill>
                          <a:latin typeface="Arial"/>
                          <a:cs typeface="Arial"/>
                        </a:rPr>
                        <a:t>for</a:t>
                      </a:r>
                      <a:r>
                        <a:rPr sz="2000" spc="204" dirty="0">
                          <a:solidFill>
                            <a:srgbClr val="003B55"/>
                          </a:solidFill>
                          <a:latin typeface="Arial"/>
                          <a:cs typeface="Arial"/>
                        </a:rPr>
                        <a:t> </a:t>
                      </a:r>
                      <a:r>
                        <a:rPr sz="2000" spc="5" dirty="0">
                          <a:solidFill>
                            <a:srgbClr val="003B55"/>
                          </a:solidFill>
                          <a:latin typeface="Arial"/>
                          <a:cs typeface="Arial"/>
                        </a:rPr>
                        <a:t>execution.</a:t>
                      </a:r>
                      <a:endParaRPr sz="2000">
                        <a:latin typeface="Arial"/>
                        <a:cs typeface="Arial"/>
                      </a:endParaRPr>
                    </a:p>
                  </a:txBody>
                  <a:tcPr marL="0" marR="0" marT="3937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extLst>
                  <a:ext uri="{0D108BD9-81ED-4DB2-BD59-A6C34878D82A}">
                    <a16:rowId xmlns:a16="http://schemas.microsoft.com/office/drawing/2014/main" val="10004"/>
                  </a:ext>
                </a:extLst>
              </a:tr>
              <a:tr h="685800">
                <a:tc>
                  <a:txBody>
                    <a:bodyPr/>
                    <a:lstStyle/>
                    <a:p>
                      <a:pPr marL="85090">
                        <a:lnSpc>
                          <a:spcPct val="100000"/>
                        </a:lnSpc>
                        <a:spcBef>
                          <a:spcPts val="145"/>
                        </a:spcBef>
                      </a:pPr>
                      <a:r>
                        <a:rPr sz="2000" spc="-5" dirty="0">
                          <a:solidFill>
                            <a:srgbClr val="003B55"/>
                          </a:solidFill>
                          <a:latin typeface="Courier New"/>
                          <a:cs typeface="Courier New"/>
                        </a:rPr>
                        <a:t>ansible-docs</a:t>
                      </a:r>
                      <a:endParaRPr sz="2000">
                        <a:latin typeface="Courier New"/>
                        <a:cs typeface="Courier New"/>
                      </a:endParaRPr>
                    </a:p>
                  </a:txBody>
                  <a:tcPr marL="0" marR="0" marT="184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tc>
                  <a:txBody>
                    <a:bodyPr/>
                    <a:lstStyle/>
                    <a:p>
                      <a:pPr marL="85725">
                        <a:lnSpc>
                          <a:spcPct val="100000"/>
                        </a:lnSpc>
                        <a:spcBef>
                          <a:spcPts val="315"/>
                        </a:spcBef>
                      </a:pPr>
                      <a:r>
                        <a:rPr sz="2000" spc="-25" dirty="0">
                          <a:solidFill>
                            <a:srgbClr val="003B55"/>
                          </a:solidFill>
                          <a:latin typeface="Arial"/>
                          <a:cs typeface="Arial"/>
                        </a:rPr>
                        <a:t>Parses </a:t>
                      </a:r>
                      <a:r>
                        <a:rPr sz="2000" spc="15" dirty="0">
                          <a:solidFill>
                            <a:srgbClr val="003B55"/>
                          </a:solidFill>
                          <a:latin typeface="Arial"/>
                          <a:cs typeface="Arial"/>
                        </a:rPr>
                        <a:t>the </a:t>
                      </a:r>
                      <a:r>
                        <a:rPr sz="2000" spc="10" dirty="0">
                          <a:solidFill>
                            <a:srgbClr val="003B55"/>
                          </a:solidFill>
                          <a:latin typeface="Arial"/>
                          <a:cs typeface="Arial"/>
                        </a:rPr>
                        <a:t>docstrings </a:t>
                      </a:r>
                      <a:r>
                        <a:rPr sz="2000" spc="30" dirty="0">
                          <a:solidFill>
                            <a:srgbClr val="003B55"/>
                          </a:solidFill>
                          <a:latin typeface="Arial"/>
                          <a:cs typeface="Arial"/>
                        </a:rPr>
                        <a:t>of </a:t>
                      </a:r>
                      <a:r>
                        <a:rPr sz="2000" spc="-10" dirty="0">
                          <a:solidFill>
                            <a:srgbClr val="003B55"/>
                          </a:solidFill>
                          <a:latin typeface="Arial"/>
                          <a:cs typeface="Arial"/>
                        </a:rPr>
                        <a:t>Ansible </a:t>
                      </a:r>
                      <a:r>
                        <a:rPr sz="2000" spc="0" dirty="0">
                          <a:solidFill>
                            <a:srgbClr val="003B55"/>
                          </a:solidFill>
                          <a:latin typeface="Arial"/>
                          <a:cs typeface="Arial"/>
                        </a:rPr>
                        <a:t>modules </a:t>
                      </a:r>
                      <a:r>
                        <a:rPr sz="2000" spc="30" dirty="0">
                          <a:solidFill>
                            <a:srgbClr val="003B55"/>
                          </a:solidFill>
                          <a:latin typeface="Arial"/>
                          <a:cs typeface="Arial"/>
                        </a:rPr>
                        <a:t>to </a:t>
                      </a:r>
                      <a:r>
                        <a:rPr sz="2000" spc="0" dirty="0">
                          <a:solidFill>
                            <a:srgbClr val="003B55"/>
                          </a:solidFill>
                          <a:latin typeface="Arial"/>
                          <a:cs typeface="Arial"/>
                        </a:rPr>
                        <a:t>see </a:t>
                      </a:r>
                      <a:r>
                        <a:rPr sz="2000" dirty="0">
                          <a:solidFill>
                            <a:srgbClr val="003B55"/>
                          </a:solidFill>
                          <a:latin typeface="Arial"/>
                          <a:cs typeface="Arial"/>
                        </a:rPr>
                        <a:t>example </a:t>
                      </a:r>
                      <a:r>
                        <a:rPr sz="2000" spc="-10" dirty="0">
                          <a:solidFill>
                            <a:srgbClr val="003B55"/>
                          </a:solidFill>
                          <a:latin typeface="Arial"/>
                          <a:cs typeface="Arial"/>
                        </a:rPr>
                        <a:t>syntax </a:t>
                      </a:r>
                      <a:r>
                        <a:rPr sz="2000" spc="114" dirty="0">
                          <a:solidFill>
                            <a:srgbClr val="003B55"/>
                          </a:solidFill>
                          <a:latin typeface="Arial"/>
                          <a:cs typeface="Arial"/>
                        </a:rPr>
                        <a:t> </a:t>
                      </a:r>
                      <a:r>
                        <a:rPr sz="2000" spc="-10" dirty="0">
                          <a:solidFill>
                            <a:srgbClr val="003B55"/>
                          </a:solidFill>
                          <a:latin typeface="Arial"/>
                          <a:cs typeface="Arial"/>
                        </a:rPr>
                        <a:t>and</a:t>
                      </a:r>
                      <a:endParaRPr sz="2000">
                        <a:latin typeface="Arial"/>
                        <a:cs typeface="Arial"/>
                      </a:endParaRPr>
                    </a:p>
                    <a:p>
                      <a:pPr marL="85725">
                        <a:lnSpc>
                          <a:spcPct val="100000"/>
                        </a:lnSpc>
                      </a:pPr>
                      <a:r>
                        <a:rPr sz="2000" spc="15" dirty="0">
                          <a:solidFill>
                            <a:srgbClr val="003B55"/>
                          </a:solidFill>
                          <a:latin typeface="Arial"/>
                          <a:cs typeface="Arial"/>
                        </a:rPr>
                        <a:t>the </a:t>
                      </a:r>
                      <a:r>
                        <a:rPr sz="2000" dirty="0">
                          <a:solidFill>
                            <a:srgbClr val="003B55"/>
                          </a:solidFill>
                          <a:latin typeface="Arial"/>
                          <a:cs typeface="Arial"/>
                        </a:rPr>
                        <a:t>parameters modules</a:t>
                      </a:r>
                      <a:r>
                        <a:rPr sz="2000" spc="200" dirty="0">
                          <a:solidFill>
                            <a:srgbClr val="003B55"/>
                          </a:solidFill>
                          <a:latin typeface="Arial"/>
                          <a:cs typeface="Arial"/>
                        </a:rPr>
                        <a:t> </a:t>
                      </a:r>
                      <a:r>
                        <a:rPr sz="2000" dirty="0">
                          <a:solidFill>
                            <a:srgbClr val="003B55"/>
                          </a:solidFill>
                          <a:latin typeface="Arial"/>
                          <a:cs typeface="Arial"/>
                        </a:rPr>
                        <a:t>require.</a:t>
                      </a:r>
                      <a:endParaRPr sz="2000">
                        <a:latin typeface="Arial"/>
                        <a:cs typeface="Arial"/>
                      </a:endParaRPr>
                    </a:p>
                  </a:txBody>
                  <a:tcPr marL="0" marR="0" marT="4000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extLst>
                  <a:ext uri="{0D108BD9-81ED-4DB2-BD59-A6C34878D82A}">
                    <a16:rowId xmlns:a16="http://schemas.microsoft.com/office/drawing/2014/main" val="10005"/>
                  </a:ext>
                </a:extLst>
              </a:tr>
              <a:tr h="381000">
                <a:tc>
                  <a:txBody>
                    <a:bodyPr/>
                    <a:lstStyle/>
                    <a:p>
                      <a:pPr marL="85090">
                        <a:lnSpc>
                          <a:spcPct val="100000"/>
                        </a:lnSpc>
                        <a:spcBef>
                          <a:spcPts val="150"/>
                        </a:spcBef>
                      </a:pPr>
                      <a:r>
                        <a:rPr sz="2000" spc="-5" dirty="0">
                          <a:solidFill>
                            <a:srgbClr val="003B55"/>
                          </a:solidFill>
                          <a:latin typeface="Courier New"/>
                          <a:cs typeface="Courier New"/>
                        </a:rPr>
                        <a:t>ansible-galaxy</a:t>
                      </a:r>
                      <a:endParaRPr sz="2000">
                        <a:latin typeface="Courier New"/>
                        <a:cs typeface="Courier New"/>
                      </a:endParaRPr>
                    </a:p>
                  </a:txBody>
                  <a:tcPr marL="0" marR="0" marT="1905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5725">
                        <a:lnSpc>
                          <a:spcPct val="100000"/>
                        </a:lnSpc>
                        <a:spcBef>
                          <a:spcPts val="315"/>
                        </a:spcBef>
                      </a:pPr>
                      <a:r>
                        <a:rPr sz="2000" dirty="0">
                          <a:solidFill>
                            <a:srgbClr val="003B55"/>
                          </a:solidFill>
                          <a:latin typeface="Arial"/>
                          <a:cs typeface="Arial"/>
                        </a:rPr>
                        <a:t>Creates </a:t>
                      </a:r>
                      <a:r>
                        <a:rPr sz="2000" spc="15" dirty="0">
                          <a:solidFill>
                            <a:srgbClr val="003B55"/>
                          </a:solidFill>
                          <a:latin typeface="Arial"/>
                          <a:cs typeface="Arial"/>
                        </a:rPr>
                        <a:t>or </a:t>
                      </a:r>
                      <a:r>
                        <a:rPr sz="2000" spc="5" dirty="0">
                          <a:solidFill>
                            <a:srgbClr val="003B55"/>
                          </a:solidFill>
                          <a:latin typeface="Arial"/>
                          <a:cs typeface="Arial"/>
                        </a:rPr>
                        <a:t>downloads </a:t>
                      </a:r>
                      <a:r>
                        <a:rPr sz="2000" dirty="0">
                          <a:solidFill>
                            <a:srgbClr val="003B55"/>
                          </a:solidFill>
                          <a:latin typeface="Arial"/>
                          <a:cs typeface="Arial"/>
                        </a:rPr>
                        <a:t>roles </a:t>
                      </a:r>
                      <a:r>
                        <a:rPr sz="2000" spc="25" dirty="0">
                          <a:solidFill>
                            <a:srgbClr val="003B55"/>
                          </a:solidFill>
                          <a:latin typeface="Arial"/>
                          <a:cs typeface="Arial"/>
                        </a:rPr>
                        <a:t>from </a:t>
                      </a:r>
                      <a:r>
                        <a:rPr sz="2000" spc="15" dirty="0">
                          <a:solidFill>
                            <a:srgbClr val="003B55"/>
                          </a:solidFill>
                          <a:latin typeface="Arial"/>
                          <a:cs typeface="Arial"/>
                        </a:rPr>
                        <a:t>the </a:t>
                      </a:r>
                      <a:r>
                        <a:rPr sz="2000" spc="-10" dirty="0">
                          <a:solidFill>
                            <a:srgbClr val="003B55"/>
                          </a:solidFill>
                          <a:latin typeface="Arial"/>
                          <a:cs typeface="Arial"/>
                        </a:rPr>
                        <a:t>Ansible</a:t>
                      </a:r>
                      <a:r>
                        <a:rPr sz="2000" spc="415" dirty="0">
                          <a:solidFill>
                            <a:srgbClr val="003B55"/>
                          </a:solidFill>
                          <a:latin typeface="Arial"/>
                          <a:cs typeface="Arial"/>
                        </a:rPr>
                        <a:t> </a:t>
                      </a:r>
                      <a:r>
                        <a:rPr sz="2000" spc="5" dirty="0">
                          <a:solidFill>
                            <a:srgbClr val="003B55"/>
                          </a:solidFill>
                          <a:latin typeface="Arial"/>
                          <a:cs typeface="Arial"/>
                        </a:rPr>
                        <a:t>community.</a:t>
                      </a:r>
                      <a:endParaRPr sz="2000">
                        <a:latin typeface="Arial"/>
                        <a:cs typeface="Arial"/>
                      </a:endParaRPr>
                    </a:p>
                  </a:txBody>
                  <a:tcPr marL="0" marR="0" marT="4000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extLst>
                  <a:ext uri="{0D108BD9-81ED-4DB2-BD59-A6C34878D82A}">
                    <a16:rowId xmlns:a16="http://schemas.microsoft.com/office/drawing/2014/main" val="10006"/>
                  </a:ext>
                </a:extLst>
              </a:tr>
            </a:tbl>
          </a:graphicData>
        </a:graphic>
      </p:graphicFrame>
      <p:sp>
        <p:nvSpPr>
          <p:cNvPr id="4" name="object 4"/>
          <p:cNvSpPr txBox="1">
            <a:spLocks noGrp="1"/>
          </p:cNvSpPr>
          <p:nvPr>
            <p:ph type="title"/>
          </p:nvPr>
        </p:nvSpPr>
        <p:spPr>
          <a:xfrm>
            <a:off x="662736" y="587501"/>
            <a:ext cx="5627370" cy="596265"/>
          </a:xfrm>
          <a:prstGeom prst="rect">
            <a:avLst/>
          </a:prstGeom>
        </p:spPr>
        <p:txBody>
          <a:bodyPr vert="horz" wrap="square" lIns="0" tIns="12065" rIns="0" bIns="0" rtlCol="0">
            <a:spAutoFit/>
          </a:bodyPr>
          <a:lstStyle/>
          <a:p>
            <a:pPr marL="12700">
              <a:lnSpc>
                <a:spcPct val="100000"/>
              </a:lnSpc>
              <a:spcBef>
                <a:spcPts val="95"/>
              </a:spcBef>
            </a:pPr>
            <a:r>
              <a:rPr spc="-10" dirty="0">
                <a:solidFill>
                  <a:srgbClr val="005073"/>
                </a:solidFill>
              </a:rPr>
              <a:t>Ansible </a:t>
            </a:r>
            <a:r>
              <a:rPr spc="-95" dirty="0">
                <a:solidFill>
                  <a:srgbClr val="005073"/>
                </a:solidFill>
              </a:rPr>
              <a:t>CLI </a:t>
            </a:r>
            <a:r>
              <a:rPr spc="-25" dirty="0">
                <a:solidFill>
                  <a:srgbClr val="005073"/>
                </a:solidFill>
              </a:rPr>
              <a:t>Tool</a:t>
            </a:r>
            <a:r>
              <a:rPr spc="285" dirty="0">
                <a:solidFill>
                  <a:srgbClr val="005073"/>
                </a:solidFill>
              </a:rPr>
              <a:t> </a:t>
            </a:r>
            <a:r>
              <a:rPr spc="5" dirty="0">
                <a:solidFill>
                  <a:srgbClr val="005073"/>
                </a:solidFill>
              </a:rPr>
              <a:t>Overview</a:t>
            </a:r>
          </a:p>
        </p:txBody>
      </p:sp>
    </p:spTree>
    <p:extLst>
      <p:ext uri="{BB962C8B-B14F-4D97-AF65-F5344CB8AC3E}">
        <p14:creationId xmlns:p14="http://schemas.microsoft.com/office/powerpoint/2010/main" val="40327525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p:nvPr/>
        </p:nvSpPr>
        <p:spPr>
          <a:xfrm>
            <a:off x="774903" y="1626489"/>
            <a:ext cx="4952365" cy="3766185"/>
          </a:xfrm>
          <a:prstGeom prst="rect">
            <a:avLst/>
          </a:prstGeom>
        </p:spPr>
        <p:txBody>
          <a:bodyPr vert="horz" wrap="square" lIns="0" tIns="13335" rIns="0" bIns="0" rtlCol="0">
            <a:spAutoFit/>
          </a:bodyPr>
          <a:lstStyle/>
          <a:p>
            <a:pPr marL="167640" marR="0" lvl="0" indent="-154940" algn="l" defTabSz="914400" rtl="0" eaLnBrk="1" fontAlgn="auto" latinLnBrk="0" hangingPunct="1">
              <a:lnSpc>
                <a:spcPts val="2645"/>
              </a:lnSpc>
              <a:spcBef>
                <a:spcPts val="105"/>
              </a:spcBef>
              <a:spcAft>
                <a:spcPts val="0"/>
              </a:spcAft>
              <a:buClrTx/>
              <a:buSzPct val="60000"/>
              <a:buFontTx/>
              <a:buChar char="•"/>
              <a:tabLst>
                <a:tab pos="168275" algn="l"/>
              </a:tabLst>
              <a:defRPr/>
            </a:pPr>
            <a:r>
              <a:rPr kumimoji="0" sz="2250" b="0" i="0" u="none" strike="noStrike" kern="1200" cap="none" spc="-10" normalizeH="0" baseline="0" noProof="0" dirty="0">
                <a:ln>
                  <a:noFill/>
                </a:ln>
                <a:solidFill>
                  <a:srgbClr val="282828"/>
                </a:solidFill>
                <a:effectLst/>
                <a:uLnTx/>
                <a:uFillTx/>
                <a:latin typeface="Arial"/>
                <a:ea typeface="+mn-ea"/>
                <a:cs typeface="Arial"/>
              </a:rPr>
              <a:t>Quickly </a:t>
            </a:r>
            <a:r>
              <a:rPr kumimoji="0" sz="2250" b="0" i="0" u="none" strike="noStrike" kern="1200" cap="none" spc="0" normalizeH="0" baseline="0" noProof="0" dirty="0">
                <a:ln>
                  <a:noFill/>
                </a:ln>
                <a:solidFill>
                  <a:srgbClr val="282828"/>
                </a:solidFill>
                <a:effectLst/>
                <a:uLnTx/>
                <a:uFillTx/>
                <a:latin typeface="Arial"/>
                <a:ea typeface="+mn-ea"/>
                <a:cs typeface="Arial"/>
              </a:rPr>
              <a:t>run </a:t>
            </a:r>
            <a:r>
              <a:rPr kumimoji="0" sz="2250" b="0" i="0" u="none" strike="noStrike" kern="1200" cap="none" spc="-60" normalizeH="0" baseline="0" noProof="0" dirty="0">
                <a:ln>
                  <a:noFill/>
                </a:ln>
                <a:solidFill>
                  <a:srgbClr val="282828"/>
                </a:solidFill>
                <a:effectLst/>
                <a:uLnTx/>
                <a:uFillTx/>
                <a:latin typeface="Arial"/>
                <a:ea typeface="+mn-ea"/>
                <a:cs typeface="Arial"/>
              </a:rPr>
              <a:t>a </a:t>
            </a:r>
            <a:r>
              <a:rPr kumimoji="0" sz="2250" b="0" i="0" u="none" strike="noStrike" kern="1200" cap="none" spc="25" normalizeH="0" baseline="0" noProof="0" dirty="0">
                <a:ln>
                  <a:noFill/>
                </a:ln>
                <a:solidFill>
                  <a:srgbClr val="282828"/>
                </a:solidFill>
                <a:effectLst/>
                <a:uLnTx/>
                <a:uFillTx/>
                <a:latin typeface="Arial"/>
                <a:ea typeface="+mn-ea"/>
                <a:cs typeface="Arial"/>
              </a:rPr>
              <a:t>command </a:t>
            </a:r>
            <a:r>
              <a:rPr kumimoji="0" sz="2250" b="0" i="0" u="none" strike="noStrike" kern="1200" cap="none" spc="-5" normalizeH="0" baseline="0" noProof="0" dirty="0">
                <a:ln>
                  <a:noFill/>
                </a:ln>
                <a:solidFill>
                  <a:srgbClr val="282828"/>
                </a:solidFill>
                <a:effectLst/>
                <a:uLnTx/>
                <a:uFillTx/>
                <a:latin typeface="Arial"/>
                <a:ea typeface="+mn-ea"/>
                <a:cs typeface="Arial"/>
              </a:rPr>
              <a:t>against </a:t>
            </a:r>
            <a:r>
              <a:rPr kumimoji="0" sz="2250" b="0" i="0" u="none" strike="noStrike" kern="1200" cap="none" spc="-60" normalizeH="0" baseline="0" noProof="0" dirty="0">
                <a:ln>
                  <a:noFill/>
                </a:ln>
                <a:solidFill>
                  <a:srgbClr val="282828"/>
                </a:solidFill>
                <a:effectLst/>
                <a:uLnTx/>
                <a:uFillTx/>
                <a:latin typeface="Arial"/>
                <a:ea typeface="+mn-ea"/>
                <a:cs typeface="Arial"/>
              </a:rPr>
              <a:t>a</a:t>
            </a:r>
            <a:r>
              <a:rPr kumimoji="0" sz="2250" b="0" i="0" u="none" strike="noStrike" kern="1200" cap="none" spc="400" normalizeH="0" baseline="0" noProof="0" dirty="0">
                <a:ln>
                  <a:noFill/>
                </a:ln>
                <a:solidFill>
                  <a:srgbClr val="282828"/>
                </a:solidFill>
                <a:effectLst/>
                <a:uLnTx/>
                <a:uFillTx/>
                <a:latin typeface="Arial"/>
                <a:ea typeface="+mn-ea"/>
                <a:cs typeface="Arial"/>
              </a:rPr>
              <a:t> </a:t>
            </a:r>
            <a:r>
              <a:rPr kumimoji="0" sz="2250" b="0" i="0" u="none" strike="noStrike" kern="1200" cap="none" spc="25" normalizeH="0" baseline="0" noProof="0" dirty="0">
                <a:ln>
                  <a:noFill/>
                </a:ln>
                <a:solidFill>
                  <a:srgbClr val="282828"/>
                </a:solidFill>
                <a:effectLst/>
                <a:uLnTx/>
                <a:uFillTx/>
                <a:latin typeface="Arial"/>
                <a:ea typeface="+mn-ea"/>
                <a:cs typeface="Arial"/>
              </a:rPr>
              <a:t>set</a:t>
            </a:r>
            <a:endParaRPr kumimoji="0" sz="22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2645"/>
              </a:lnSpc>
              <a:spcBef>
                <a:spcPts val="0"/>
              </a:spcBef>
              <a:spcAft>
                <a:spcPts val="0"/>
              </a:spcAft>
              <a:buClrTx/>
              <a:buSzTx/>
              <a:buFontTx/>
              <a:buNone/>
              <a:tabLst/>
              <a:defRPr/>
            </a:pPr>
            <a:r>
              <a:rPr kumimoji="0" sz="2250" b="0" i="0" u="none" strike="noStrike" kern="1200" cap="none" spc="40" normalizeH="0" baseline="0" noProof="0" dirty="0">
                <a:ln>
                  <a:noFill/>
                </a:ln>
                <a:solidFill>
                  <a:srgbClr val="282828"/>
                </a:solidFill>
                <a:effectLst/>
                <a:uLnTx/>
                <a:uFillTx/>
                <a:latin typeface="Arial"/>
                <a:ea typeface="+mn-ea"/>
                <a:cs typeface="Arial"/>
              </a:rPr>
              <a:t>of</a:t>
            </a:r>
            <a:r>
              <a:rPr kumimoji="0" sz="2250" b="0" i="0" u="none" strike="noStrike" kern="1200" cap="none" spc="-40" normalizeH="0" baseline="0" noProof="0" dirty="0">
                <a:ln>
                  <a:noFill/>
                </a:ln>
                <a:solidFill>
                  <a:srgbClr val="282828"/>
                </a:solidFill>
                <a:effectLst/>
                <a:uLnTx/>
                <a:uFillTx/>
                <a:latin typeface="Arial"/>
                <a:ea typeface="+mn-ea"/>
                <a:cs typeface="Arial"/>
              </a:rPr>
              <a:t> </a:t>
            </a:r>
            <a:r>
              <a:rPr kumimoji="0" sz="2250" b="0" i="0" u="none" strike="noStrike" kern="1200" cap="none" spc="10" normalizeH="0" baseline="0" noProof="0" dirty="0">
                <a:ln>
                  <a:noFill/>
                </a:ln>
                <a:solidFill>
                  <a:srgbClr val="282828"/>
                </a:solidFill>
                <a:effectLst/>
                <a:uLnTx/>
                <a:uFillTx/>
                <a:latin typeface="Arial"/>
                <a:ea typeface="+mn-ea"/>
                <a:cs typeface="Arial"/>
              </a:rPr>
              <a:t>hosts</a:t>
            </a:r>
            <a:endParaRPr kumimoji="0" sz="225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190"/>
              </a:spcBef>
              <a:spcAft>
                <a:spcPts val="0"/>
              </a:spcAft>
              <a:buClr>
                <a:srgbClr val="282828"/>
              </a:buClr>
              <a:buSzPct val="60000"/>
              <a:buFontTx/>
              <a:buChar char="•"/>
              <a:tabLst>
                <a:tab pos="168275" algn="l"/>
              </a:tabLst>
              <a:defRPr/>
            </a:pPr>
            <a:r>
              <a:rPr kumimoji="0" sz="2250" b="0" i="0" u="none" strike="noStrike" kern="1200" cap="none" spc="25" normalizeH="0" baseline="0" noProof="0" dirty="0">
                <a:ln>
                  <a:noFill/>
                </a:ln>
                <a:solidFill>
                  <a:srgbClr val="00BBEB"/>
                </a:solidFill>
                <a:effectLst/>
                <a:uLnTx/>
                <a:uFillTx/>
                <a:latin typeface="Arial"/>
                <a:ea typeface="+mn-ea"/>
                <a:cs typeface="Arial"/>
              </a:rPr>
              <a:t>Specify </a:t>
            </a:r>
            <a:r>
              <a:rPr kumimoji="0" sz="2250" b="0" i="0" u="none" strike="noStrike" kern="1200" cap="none" spc="15" normalizeH="0" baseline="0" noProof="0" dirty="0">
                <a:ln>
                  <a:noFill/>
                </a:ln>
                <a:solidFill>
                  <a:srgbClr val="00BBEB"/>
                </a:solidFill>
                <a:effectLst/>
                <a:uLnTx/>
                <a:uFillTx/>
                <a:latin typeface="Arial"/>
                <a:ea typeface="+mn-ea"/>
                <a:cs typeface="Arial"/>
              </a:rPr>
              <a:t>the module </a:t>
            </a:r>
            <a:r>
              <a:rPr kumimoji="0" sz="2250" b="0" i="0" u="none" strike="noStrike" kern="1200" cap="none" spc="25" normalizeH="0" baseline="0" noProof="0" dirty="0">
                <a:ln>
                  <a:noFill/>
                </a:ln>
                <a:solidFill>
                  <a:srgbClr val="282828"/>
                </a:solidFill>
                <a:effectLst/>
                <a:uLnTx/>
                <a:uFillTx/>
                <a:latin typeface="Arial"/>
                <a:ea typeface="+mn-ea"/>
                <a:cs typeface="Arial"/>
              </a:rPr>
              <a:t>with </a:t>
            </a:r>
            <a:r>
              <a:rPr kumimoji="0" sz="2250" b="0" i="0" u="none" strike="noStrike" kern="1200" cap="none" spc="-5" normalizeH="0" baseline="0" noProof="0" dirty="0">
                <a:ln>
                  <a:noFill/>
                </a:ln>
                <a:solidFill>
                  <a:srgbClr val="282828"/>
                </a:solidFill>
                <a:effectLst/>
                <a:uLnTx/>
                <a:uFillTx/>
                <a:latin typeface="Courier New"/>
                <a:ea typeface="+mn-ea"/>
                <a:cs typeface="Courier New"/>
              </a:rPr>
              <a:t>–m</a:t>
            </a:r>
            <a:r>
              <a:rPr kumimoji="0" sz="2250" b="0" i="0" u="none" strike="noStrike" kern="1200" cap="none" spc="200" normalizeH="0" baseline="0" noProof="0" dirty="0">
                <a:ln>
                  <a:noFill/>
                </a:ln>
                <a:solidFill>
                  <a:srgbClr val="282828"/>
                </a:solidFill>
                <a:effectLst/>
                <a:uLnTx/>
                <a:uFillTx/>
                <a:latin typeface="Courier New"/>
                <a:ea typeface="+mn-ea"/>
                <a:cs typeface="Courier New"/>
              </a:rPr>
              <a:t> </a:t>
            </a:r>
            <a:r>
              <a:rPr kumimoji="0" sz="2250" b="0" i="0" u="none" strike="noStrike" kern="1200" cap="none" spc="-5" normalizeH="0" baseline="0" noProof="0" dirty="0">
                <a:ln>
                  <a:noFill/>
                </a:ln>
                <a:solidFill>
                  <a:srgbClr val="282828"/>
                </a:solidFill>
                <a:effectLst/>
                <a:uLnTx/>
                <a:uFillTx/>
                <a:latin typeface="Courier New"/>
                <a:ea typeface="+mn-ea"/>
                <a:cs typeface="Courier New"/>
              </a:rPr>
              <a:t>module</a:t>
            </a:r>
            <a:endParaRPr kumimoji="0" sz="2250" b="0" i="0" u="none" strike="noStrike" kern="1200" cap="none" spc="0" normalizeH="0" baseline="0" noProof="0">
              <a:ln>
                <a:noFill/>
              </a:ln>
              <a:solidFill>
                <a:prstClr val="black"/>
              </a:solidFill>
              <a:effectLst/>
              <a:uLnTx/>
              <a:uFillTx/>
              <a:latin typeface="Courier New"/>
              <a:ea typeface="+mn-ea"/>
              <a:cs typeface="Courier New"/>
            </a:endParaRPr>
          </a:p>
          <a:p>
            <a:pPr marL="167640" marR="0" lvl="0" indent="-154940" algn="l" defTabSz="914400" rtl="0" eaLnBrk="1" fontAlgn="auto" latinLnBrk="0" hangingPunct="1">
              <a:lnSpc>
                <a:spcPts val="2525"/>
              </a:lnSpc>
              <a:spcBef>
                <a:spcPts val="1570"/>
              </a:spcBef>
              <a:spcAft>
                <a:spcPts val="0"/>
              </a:spcAft>
              <a:buClr>
                <a:srgbClr val="282828"/>
              </a:buClr>
              <a:buSzPct val="60000"/>
              <a:buFontTx/>
              <a:buChar char="•"/>
              <a:tabLst>
                <a:tab pos="168275" algn="l"/>
              </a:tabLst>
              <a:defRPr/>
            </a:pPr>
            <a:r>
              <a:rPr kumimoji="0" sz="2250" b="0" i="0" u="none" strike="noStrike" kern="1200" cap="none" spc="15" normalizeH="0" baseline="0" noProof="0" dirty="0">
                <a:ln>
                  <a:noFill/>
                </a:ln>
                <a:solidFill>
                  <a:srgbClr val="FAAB17"/>
                </a:solidFill>
                <a:effectLst/>
                <a:uLnTx/>
                <a:uFillTx/>
                <a:latin typeface="Arial"/>
                <a:ea typeface="+mn-ea"/>
                <a:cs typeface="Arial"/>
              </a:rPr>
              <a:t>Specfiy </a:t>
            </a:r>
            <a:r>
              <a:rPr kumimoji="0" sz="2250" b="0" i="0" u="none" strike="noStrike" kern="1200" cap="none" spc="25" normalizeH="0" baseline="0" noProof="0" dirty="0">
                <a:ln>
                  <a:noFill/>
                </a:ln>
                <a:solidFill>
                  <a:srgbClr val="FAAB17"/>
                </a:solidFill>
                <a:effectLst/>
                <a:uLnTx/>
                <a:uFillTx/>
                <a:latin typeface="Arial"/>
                <a:ea typeface="+mn-ea"/>
                <a:cs typeface="Arial"/>
              </a:rPr>
              <a:t>the </a:t>
            </a:r>
            <a:r>
              <a:rPr kumimoji="0" sz="2250" b="0" i="0" u="none" strike="noStrike" kern="1200" cap="none" spc="0" normalizeH="0" baseline="0" noProof="0" dirty="0">
                <a:ln>
                  <a:noFill/>
                </a:ln>
                <a:solidFill>
                  <a:srgbClr val="FAAB17"/>
                </a:solidFill>
                <a:effectLst/>
                <a:uLnTx/>
                <a:uFillTx/>
                <a:latin typeface="Arial"/>
                <a:ea typeface="+mn-ea"/>
                <a:cs typeface="Arial"/>
              </a:rPr>
              <a:t>username </a:t>
            </a:r>
            <a:r>
              <a:rPr kumimoji="0" sz="2250" b="0" i="0" u="none" strike="noStrike" kern="1200" cap="none" spc="35" normalizeH="0" baseline="0" noProof="0" dirty="0">
                <a:ln>
                  <a:noFill/>
                </a:ln>
                <a:solidFill>
                  <a:srgbClr val="282828"/>
                </a:solidFill>
                <a:effectLst/>
                <a:uLnTx/>
                <a:uFillTx/>
                <a:latin typeface="Arial"/>
                <a:ea typeface="+mn-ea"/>
                <a:cs typeface="Arial"/>
              </a:rPr>
              <a:t>to </a:t>
            </a:r>
            <a:r>
              <a:rPr kumimoji="0" sz="2250" b="0" i="0" u="none" strike="noStrike" kern="1200" cap="none" spc="0" normalizeH="0" baseline="0" noProof="0" dirty="0">
                <a:ln>
                  <a:noFill/>
                </a:ln>
                <a:solidFill>
                  <a:srgbClr val="282828"/>
                </a:solidFill>
                <a:effectLst/>
                <a:uLnTx/>
                <a:uFillTx/>
                <a:latin typeface="Arial"/>
                <a:ea typeface="+mn-ea"/>
                <a:cs typeface="Arial"/>
              </a:rPr>
              <a:t>use</a:t>
            </a:r>
            <a:r>
              <a:rPr kumimoji="0" sz="2250" b="0" i="0" u="none" strike="noStrike" kern="1200" cap="none" spc="250" normalizeH="0" baseline="0" noProof="0" dirty="0">
                <a:ln>
                  <a:noFill/>
                </a:ln>
                <a:solidFill>
                  <a:srgbClr val="282828"/>
                </a:solidFill>
                <a:effectLst/>
                <a:uLnTx/>
                <a:uFillTx/>
                <a:latin typeface="Arial"/>
                <a:ea typeface="+mn-ea"/>
                <a:cs typeface="Arial"/>
              </a:rPr>
              <a:t> </a:t>
            </a:r>
            <a:r>
              <a:rPr kumimoji="0" sz="2250" b="0" i="0" u="none" strike="noStrike" kern="1200" cap="none" spc="25" normalizeH="0" baseline="0" noProof="0" dirty="0">
                <a:ln>
                  <a:noFill/>
                </a:ln>
                <a:solidFill>
                  <a:srgbClr val="282828"/>
                </a:solidFill>
                <a:effectLst/>
                <a:uLnTx/>
                <a:uFillTx/>
                <a:latin typeface="Arial"/>
                <a:ea typeface="+mn-ea"/>
                <a:cs typeface="Arial"/>
              </a:rPr>
              <a:t>with</a:t>
            </a:r>
            <a:endParaRPr kumimoji="0" sz="22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2525"/>
              </a:lnSpc>
              <a:spcBef>
                <a:spcPts val="0"/>
              </a:spcBef>
              <a:spcAft>
                <a:spcPts val="0"/>
              </a:spcAft>
              <a:buClrTx/>
              <a:buSzTx/>
              <a:buFontTx/>
              <a:buNone/>
              <a:tabLst/>
              <a:defRPr/>
            </a:pPr>
            <a:r>
              <a:rPr kumimoji="0" sz="2250" b="0" i="0" u="none" strike="noStrike" kern="1200" cap="none" spc="0" normalizeH="0" baseline="0" noProof="0" dirty="0">
                <a:ln>
                  <a:noFill/>
                </a:ln>
                <a:solidFill>
                  <a:srgbClr val="282828"/>
                </a:solidFill>
                <a:effectLst/>
                <a:uLnTx/>
                <a:uFillTx/>
                <a:latin typeface="Courier New"/>
                <a:ea typeface="+mn-ea"/>
                <a:cs typeface="Courier New"/>
              </a:rPr>
              <a:t>–u</a:t>
            </a:r>
            <a:r>
              <a:rPr kumimoji="0" sz="2250" b="0" i="0" u="none" strike="noStrike" kern="1200" cap="none" spc="-65" normalizeH="0" baseline="0" noProof="0" dirty="0">
                <a:ln>
                  <a:noFill/>
                </a:ln>
                <a:solidFill>
                  <a:srgbClr val="282828"/>
                </a:solidFill>
                <a:effectLst/>
                <a:uLnTx/>
                <a:uFillTx/>
                <a:latin typeface="Courier New"/>
                <a:ea typeface="+mn-ea"/>
                <a:cs typeface="Courier New"/>
              </a:rPr>
              <a:t> </a:t>
            </a:r>
            <a:r>
              <a:rPr kumimoji="0" sz="2250" b="0" i="0" u="none" strike="noStrike" kern="1200" cap="none" spc="0" normalizeH="0" baseline="0" noProof="0" dirty="0">
                <a:ln>
                  <a:noFill/>
                </a:ln>
                <a:solidFill>
                  <a:srgbClr val="282828"/>
                </a:solidFill>
                <a:effectLst/>
                <a:uLnTx/>
                <a:uFillTx/>
                <a:latin typeface="Courier New"/>
                <a:ea typeface="+mn-ea"/>
                <a:cs typeface="Courier New"/>
              </a:rPr>
              <a:t>user</a:t>
            </a:r>
            <a:endParaRPr kumimoji="0" sz="2250" b="0" i="0" u="none" strike="noStrike" kern="1200" cap="none" spc="0" normalizeH="0" baseline="0" noProof="0">
              <a:ln>
                <a:noFill/>
              </a:ln>
              <a:solidFill>
                <a:prstClr val="black"/>
              </a:solidFill>
              <a:effectLst/>
              <a:uLnTx/>
              <a:uFillTx/>
              <a:latin typeface="Courier New"/>
              <a:ea typeface="+mn-ea"/>
              <a:cs typeface="Courier New"/>
            </a:endParaRPr>
          </a:p>
          <a:p>
            <a:pPr marL="320040" marR="0" lvl="1" indent="-152400" algn="l" defTabSz="914400" rtl="0" eaLnBrk="1" fontAlgn="auto" latinLnBrk="0" hangingPunct="1">
              <a:lnSpc>
                <a:spcPct val="100000"/>
              </a:lnSpc>
              <a:spcBef>
                <a:spcPts val="720"/>
              </a:spcBef>
              <a:spcAft>
                <a:spcPts val="0"/>
              </a:spcAft>
              <a:buClrTx/>
              <a:buSzPct val="60000"/>
              <a:buFontTx/>
              <a:buChar char="•"/>
              <a:tabLst>
                <a:tab pos="320675" algn="l"/>
              </a:tabLst>
              <a:defRPr/>
            </a:pPr>
            <a:r>
              <a:rPr kumimoji="0" sz="2000" b="0" i="0" u="none" strike="noStrike" kern="1200" cap="none" spc="-15" normalizeH="0" baseline="0" noProof="0" dirty="0">
                <a:ln>
                  <a:noFill/>
                </a:ln>
                <a:solidFill>
                  <a:srgbClr val="282828"/>
                </a:solidFill>
                <a:effectLst/>
                <a:uLnTx/>
                <a:uFillTx/>
                <a:latin typeface="Arial"/>
                <a:ea typeface="+mn-ea"/>
                <a:cs typeface="Arial"/>
              </a:rPr>
              <a:t>Default </a:t>
            </a:r>
            <a:r>
              <a:rPr kumimoji="0" sz="2000" b="0" i="0" u="none" strike="noStrike" kern="1200" cap="none" spc="-25" normalizeH="0" baseline="0" noProof="0" dirty="0">
                <a:ln>
                  <a:noFill/>
                </a:ln>
                <a:solidFill>
                  <a:srgbClr val="282828"/>
                </a:solidFill>
                <a:effectLst/>
                <a:uLnTx/>
                <a:uFillTx/>
                <a:latin typeface="Arial"/>
                <a:ea typeface="+mn-ea"/>
                <a:cs typeface="Arial"/>
              </a:rPr>
              <a:t>is </a:t>
            </a:r>
            <a:r>
              <a:rPr kumimoji="0" sz="2000" b="0" i="0" u="none" strike="noStrike" kern="1200" cap="none" spc="30" normalizeH="0" baseline="0" noProof="0" dirty="0">
                <a:ln>
                  <a:noFill/>
                </a:ln>
                <a:solidFill>
                  <a:srgbClr val="282828"/>
                </a:solidFill>
                <a:effectLst/>
                <a:uLnTx/>
                <a:uFillTx/>
                <a:latin typeface="Arial"/>
                <a:ea typeface="+mn-ea"/>
                <a:cs typeface="Arial"/>
              </a:rPr>
              <a:t>to </a:t>
            </a:r>
            <a:r>
              <a:rPr kumimoji="0" sz="2000" b="0" i="0" u="none" strike="noStrike" kern="1200" cap="none" spc="-10" normalizeH="0" baseline="0" noProof="0" dirty="0">
                <a:ln>
                  <a:noFill/>
                </a:ln>
                <a:solidFill>
                  <a:srgbClr val="282828"/>
                </a:solidFill>
                <a:effectLst/>
                <a:uLnTx/>
                <a:uFillTx/>
                <a:latin typeface="Arial"/>
                <a:ea typeface="+mn-ea"/>
                <a:cs typeface="Arial"/>
              </a:rPr>
              <a:t>use </a:t>
            </a:r>
            <a:r>
              <a:rPr kumimoji="0" sz="2000" b="0" i="0" u="none" strike="noStrike" kern="1200" cap="none" spc="-5" normalizeH="0" baseline="0" noProof="0" dirty="0">
                <a:ln>
                  <a:noFill/>
                </a:ln>
                <a:solidFill>
                  <a:srgbClr val="282828"/>
                </a:solidFill>
                <a:effectLst/>
                <a:uLnTx/>
                <a:uFillTx/>
                <a:latin typeface="Arial"/>
                <a:ea typeface="+mn-ea"/>
                <a:cs typeface="Arial"/>
              </a:rPr>
              <a:t>local</a:t>
            </a:r>
            <a:r>
              <a:rPr kumimoji="0" sz="2000" b="0" i="0" u="none" strike="noStrike" kern="1200" cap="none" spc="240" normalizeH="0" baseline="0" noProof="0" dirty="0">
                <a:ln>
                  <a:noFill/>
                </a:ln>
                <a:solidFill>
                  <a:srgbClr val="282828"/>
                </a:solidFill>
                <a:effectLst/>
                <a:uLnTx/>
                <a:uFillTx/>
                <a:latin typeface="Arial"/>
                <a:ea typeface="+mn-ea"/>
                <a:cs typeface="Arial"/>
              </a:rPr>
              <a:t> </a:t>
            </a:r>
            <a:r>
              <a:rPr kumimoji="0" sz="2000" b="0" i="0" u="none" strike="noStrike" kern="1200" cap="none" spc="-10" normalizeH="0" baseline="0" noProof="0" dirty="0">
                <a:ln>
                  <a:noFill/>
                </a:ln>
                <a:solidFill>
                  <a:srgbClr val="282828"/>
                </a:solidFill>
                <a:effectLst/>
                <a:uLnTx/>
                <a:uFillTx/>
                <a:latin typeface="Arial"/>
                <a:ea typeface="+mn-ea"/>
                <a:cs typeface="Arial"/>
              </a:rPr>
              <a:t>username</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80"/>
              </a:spcBef>
              <a:spcAft>
                <a:spcPts val="0"/>
              </a:spcAft>
              <a:buClr>
                <a:srgbClr val="282828"/>
              </a:buClr>
              <a:buSzPct val="60000"/>
              <a:buFontTx/>
              <a:buChar char="•"/>
              <a:tabLst>
                <a:tab pos="168275" algn="l"/>
              </a:tabLst>
              <a:defRPr/>
            </a:pPr>
            <a:r>
              <a:rPr kumimoji="0" sz="2250" b="0" i="0" u="none" strike="noStrike" kern="1200" cap="none" spc="15" normalizeH="0" baseline="0" noProof="0" dirty="0">
                <a:ln>
                  <a:noFill/>
                </a:ln>
                <a:solidFill>
                  <a:srgbClr val="E2231B"/>
                </a:solidFill>
                <a:effectLst/>
                <a:uLnTx/>
                <a:uFillTx/>
                <a:latin typeface="Arial"/>
                <a:ea typeface="+mn-ea"/>
                <a:cs typeface="Arial"/>
              </a:rPr>
              <a:t>Specify the </a:t>
            </a:r>
            <a:r>
              <a:rPr kumimoji="0" sz="2250" b="0" i="0" u="none" strike="noStrike" kern="1200" cap="none" spc="10" normalizeH="0" baseline="0" noProof="0" dirty="0">
                <a:ln>
                  <a:noFill/>
                </a:ln>
                <a:solidFill>
                  <a:srgbClr val="E2231B"/>
                </a:solidFill>
                <a:effectLst/>
                <a:uLnTx/>
                <a:uFillTx/>
                <a:latin typeface="Arial"/>
                <a:ea typeface="+mn-ea"/>
                <a:cs typeface="Arial"/>
              </a:rPr>
              <a:t>server </a:t>
            </a:r>
            <a:r>
              <a:rPr kumimoji="0" sz="2250" b="0" i="0" u="none" strike="noStrike" kern="1200" cap="none" spc="25" normalizeH="0" baseline="0" noProof="0" dirty="0">
                <a:ln>
                  <a:noFill/>
                </a:ln>
                <a:solidFill>
                  <a:srgbClr val="E2231B"/>
                </a:solidFill>
                <a:effectLst/>
                <a:uLnTx/>
                <a:uFillTx/>
                <a:latin typeface="Arial"/>
                <a:ea typeface="+mn-ea"/>
                <a:cs typeface="Arial"/>
              </a:rPr>
              <a:t>or group </a:t>
            </a:r>
            <a:r>
              <a:rPr kumimoji="0" sz="2250" b="0" i="0" u="none" strike="noStrike" kern="1200" cap="none" spc="35" normalizeH="0" baseline="0" noProof="0" dirty="0">
                <a:ln>
                  <a:noFill/>
                </a:ln>
                <a:solidFill>
                  <a:srgbClr val="282828"/>
                </a:solidFill>
                <a:effectLst/>
                <a:uLnTx/>
                <a:uFillTx/>
                <a:latin typeface="Arial"/>
                <a:ea typeface="+mn-ea"/>
                <a:cs typeface="Arial"/>
              </a:rPr>
              <a:t>to</a:t>
            </a:r>
            <a:r>
              <a:rPr kumimoji="0" sz="2250" b="0" i="0" u="none" strike="noStrike" kern="1200" cap="none" spc="325" normalizeH="0" baseline="0" noProof="0" dirty="0">
                <a:ln>
                  <a:noFill/>
                </a:ln>
                <a:solidFill>
                  <a:srgbClr val="282828"/>
                </a:solidFill>
                <a:effectLst/>
                <a:uLnTx/>
                <a:uFillTx/>
                <a:latin typeface="Arial"/>
                <a:ea typeface="+mn-ea"/>
                <a:cs typeface="Arial"/>
              </a:rPr>
              <a:t> </a:t>
            </a:r>
            <a:r>
              <a:rPr kumimoji="0" sz="2250" b="0" i="0" u="none" strike="noStrike" kern="1200" cap="none" spc="25" normalizeH="0" baseline="0" noProof="0" dirty="0">
                <a:ln>
                  <a:noFill/>
                </a:ln>
                <a:solidFill>
                  <a:srgbClr val="282828"/>
                </a:solidFill>
                <a:effectLst/>
                <a:uLnTx/>
                <a:uFillTx/>
                <a:latin typeface="Arial"/>
                <a:ea typeface="+mn-ea"/>
                <a:cs typeface="Arial"/>
              </a:rPr>
              <a:t>target</a:t>
            </a:r>
            <a:endParaRPr kumimoji="0" sz="225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ts val="2525"/>
              </a:lnSpc>
              <a:spcBef>
                <a:spcPts val="1380"/>
              </a:spcBef>
              <a:spcAft>
                <a:spcPts val="0"/>
              </a:spcAft>
              <a:buClrTx/>
              <a:buSzPct val="60000"/>
              <a:buFontTx/>
              <a:buChar char="•"/>
              <a:tabLst>
                <a:tab pos="168275" algn="l"/>
              </a:tabLst>
              <a:defRPr/>
            </a:pPr>
            <a:r>
              <a:rPr kumimoji="0" sz="2250" b="0" i="0" u="none" strike="noStrike" kern="1200" cap="none" spc="0" normalizeH="0" baseline="0" noProof="0" dirty="0">
                <a:ln>
                  <a:noFill/>
                </a:ln>
                <a:solidFill>
                  <a:srgbClr val="282828"/>
                </a:solidFill>
                <a:effectLst/>
                <a:uLnTx/>
                <a:uFillTx/>
                <a:latin typeface="Arial"/>
                <a:ea typeface="+mn-ea"/>
                <a:cs typeface="Arial"/>
              </a:rPr>
              <a:t>Provide </a:t>
            </a:r>
            <a:r>
              <a:rPr kumimoji="0" sz="2250" b="0" i="0" u="none" strike="noStrike" kern="1200" cap="none" spc="15" normalizeH="0" baseline="0" noProof="0" dirty="0">
                <a:ln>
                  <a:noFill/>
                </a:ln>
                <a:solidFill>
                  <a:srgbClr val="282828"/>
                </a:solidFill>
                <a:effectLst/>
                <a:uLnTx/>
                <a:uFillTx/>
                <a:latin typeface="Arial"/>
                <a:ea typeface="+mn-ea"/>
                <a:cs typeface="Arial"/>
              </a:rPr>
              <a:t>module </a:t>
            </a:r>
            <a:r>
              <a:rPr kumimoji="0" sz="2250" b="0" i="0" u="none" strike="noStrike" kern="1200" cap="none" spc="10" normalizeH="0" baseline="0" noProof="0" dirty="0">
                <a:ln>
                  <a:noFill/>
                </a:ln>
                <a:solidFill>
                  <a:srgbClr val="282828"/>
                </a:solidFill>
                <a:effectLst/>
                <a:uLnTx/>
                <a:uFillTx/>
                <a:latin typeface="Arial"/>
                <a:ea typeface="+mn-ea"/>
                <a:cs typeface="Arial"/>
              </a:rPr>
              <a:t>arguments</a:t>
            </a:r>
            <a:r>
              <a:rPr kumimoji="0" sz="2250" b="0" i="0" u="none" strike="noStrike" kern="1200" cap="none" spc="140" normalizeH="0" baseline="0" noProof="0" dirty="0">
                <a:ln>
                  <a:noFill/>
                </a:ln>
                <a:solidFill>
                  <a:srgbClr val="282828"/>
                </a:solidFill>
                <a:effectLst/>
                <a:uLnTx/>
                <a:uFillTx/>
                <a:latin typeface="Arial"/>
                <a:ea typeface="+mn-ea"/>
                <a:cs typeface="Arial"/>
              </a:rPr>
              <a:t> </a:t>
            </a:r>
            <a:r>
              <a:rPr kumimoji="0" sz="2250" b="0" i="0" u="none" strike="noStrike" kern="1200" cap="none" spc="25" normalizeH="0" baseline="0" noProof="0" dirty="0">
                <a:ln>
                  <a:noFill/>
                </a:ln>
                <a:solidFill>
                  <a:srgbClr val="282828"/>
                </a:solidFill>
                <a:effectLst/>
                <a:uLnTx/>
                <a:uFillTx/>
                <a:latin typeface="Arial"/>
                <a:ea typeface="+mn-ea"/>
                <a:cs typeface="Arial"/>
              </a:rPr>
              <a:t>with</a:t>
            </a:r>
            <a:endParaRPr kumimoji="0" sz="22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2525"/>
              </a:lnSpc>
              <a:spcBef>
                <a:spcPts val="0"/>
              </a:spcBef>
              <a:spcAft>
                <a:spcPts val="0"/>
              </a:spcAft>
              <a:buClrTx/>
              <a:buSzTx/>
              <a:buFontTx/>
              <a:buNone/>
              <a:tabLst/>
              <a:defRPr/>
            </a:pPr>
            <a:r>
              <a:rPr kumimoji="0" sz="2250" b="0" i="0" u="none" strike="noStrike" kern="1200" cap="none" spc="0" normalizeH="0" baseline="0" noProof="0" dirty="0">
                <a:ln>
                  <a:noFill/>
                </a:ln>
                <a:solidFill>
                  <a:srgbClr val="282828"/>
                </a:solidFill>
                <a:effectLst/>
                <a:uLnTx/>
                <a:uFillTx/>
                <a:latin typeface="Courier New"/>
                <a:ea typeface="+mn-ea"/>
                <a:cs typeface="Courier New"/>
              </a:rPr>
              <a:t>–a</a:t>
            </a:r>
            <a:r>
              <a:rPr kumimoji="0" sz="2250" b="0" i="0" u="none" strike="noStrike" kern="1200" cap="none" spc="-30" normalizeH="0" baseline="0" noProof="0" dirty="0">
                <a:ln>
                  <a:noFill/>
                </a:ln>
                <a:solidFill>
                  <a:srgbClr val="282828"/>
                </a:solidFill>
                <a:effectLst/>
                <a:uLnTx/>
                <a:uFillTx/>
                <a:latin typeface="Courier New"/>
                <a:ea typeface="+mn-ea"/>
                <a:cs typeface="Courier New"/>
              </a:rPr>
              <a:t> </a:t>
            </a:r>
            <a:r>
              <a:rPr kumimoji="0" sz="2250" b="0" i="0" u="none" strike="noStrike" kern="1200" cap="none" spc="0" normalizeH="0" baseline="0" noProof="0" dirty="0">
                <a:ln>
                  <a:noFill/>
                </a:ln>
                <a:solidFill>
                  <a:srgbClr val="282828"/>
                </a:solidFill>
                <a:effectLst/>
                <a:uLnTx/>
                <a:uFillTx/>
                <a:latin typeface="Courier New"/>
                <a:ea typeface="+mn-ea"/>
                <a:cs typeface="Courier New"/>
              </a:rPr>
              <a:t>argument</a:t>
            </a:r>
            <a:endParaRPr kumimoji="0" sz="225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4" name="object 4"/>
          <p:cNvSpPr/>
          <p:nvPr/>
        </p:nvSpPr>
        <p:spPr>
          <a:xfrm>
            <a:off x="5891784" y="1429511"/>
            <a:ext cx="5819140" cy="4693920"/>
          </a:xfrm>
          <a:custGeom>
            <a:avLst/>
            <a:gdLst/>
            <a:ahLst/>
            <a:cxnLst/>
            <a:rect l="l" t="t" r="r" b="b"/>
            <a:pathLst>
              <a:path w="5819140" h="4693920">
                <a:moveTo>
                  <a:pt x="0" y="4693920"/>
                </a:moveTo>
                <a:lnTo>
                  <a:pt x="5818632" y="4693920"/>
                </a:lnTo>
                <a:lnTo>
                  <a:pt x="5818632" y="0"/>
                </a:lnTo>
                <a:lnTo>
                  <a:pt x="0" y="0"/>
                </a:lnTo>
                <a:lnTo>
                  <a:pt x="0" y="4693920"/>
                </a:lnTo>
                <a:close/>
              </a:path>
            </a:pathLst>
          </a:custGeom>
          <a:solidFill>
            <a:srgbClr val="28282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txBox="1">
            <a:spLocks noGrp="1"/>
          </p:cNvSpPr>
          <p:nvPr>
            <p:ph type="title"/>
          </p:nvPr>
        </p:nvSpPr>
        <p:spPr>
          <a:xfrm>
            <a:off x="662736" y="587501"/>
            <a:ext cx="8798560" cy="596265"/>
          </a:xfrm>
          <a:prstGeom prst="rect">
            <a:avLst/>
          </a:prstGeom>
        </p:spPr>
        <p:txBody>
          <a:bodyPr vert="horz" wrap="square" lIns="0" tIns="12065" rIns="0" bIns="0" rtlCol="0">
            <a:spAutoFit/>
          </a:bodyPr>
          <a:lstStyle/>
          <a:p>
            <a:pPr marL="12700">
              <a:lnSpc>
                <a:spcPct val="100000"/>
              </a:lnSpc>
              <a:spcBef>
                <a:spcPts val="95"/>
              </a:spcBef>
            </a:pPr>
            <a:r>
              <a:rPr spc="-20" dirty="0">
                <a:solidFill>
                  <a:srgbClr val="005073"/>
                </a:solidFill>
              </a:rPr>
              <a:t>Using </a:t>
            </a:r>
            <a:r>
              <a:rPr spc="-10" dirty="0">
                <a:solidFill>
                  <a:srgbClr val="005073"/>
                </a:solidFill>
              </a:rPr>
              <a:t>Ansible </a:t>
            </a:r>
            <a:r>
              <a:rPr spc="-95" dirty="0">
                <a:solidFill>
                  <a:srgbClr val="005073"/>
                </a:solidFill>
              </a:rPr>
              <a:t>CLI </a:t>
            </a:r>
            <a:r>
              <a:rPr spc="50" dirty="0">
                <a:solidFill>
                  <a:srgbClr val="005073"/>
                </a:solidFill>
              </a:rPr>
              <a:t>for </a:t>
            </a:r>
            <a:r>
              <a:rPr spc="150" dirty="0">
                <a:solidFill>
                  <a:srgbClr val="005073"/>
                </a:solidFill>
              </a:rPr>
              <a:t>ad-hoc</a:t>
            </a:r>
            <a:r>
              <a:rPr spc="385" dirty="0">
                <a:solidFill>
                  <a:srgbClr val="005073"/>
                </a:solidFill>
              </a:rPr>
              <a:t> </a:t>
            </a:r>
            <a:r>
              <a:rPr spc="5" dirty="0">
                <a:solidFill>
                  <a:srgbClr val="005073"/>
                </a:solidFill>
              </a:rPr>
              <a:t>Commands</a:t>
            </a:r>
          </a:p>
        </p:txBody>
      </p:sp>
      <p:sp>
        <p:nvSpPr>
          <p:cNvPr id="6" name="object 6"/>
          <p:cNvSpPr txBox="1"/>
          <p:nvPr/>
        </p:nvSpPr>
        <p:spPr>
          <a:xfrm>
            <a:off x="5957696" y="1428114"/>
            <a:ext cx="5673090" cy="50298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DevNe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ansible </a:t>
            </a:r>
            <a:r>
              <a:rPr kumimoji="0" sz="1800" b="0" i="0" u="none" strike="noStrike" kern="1200" cap="none" spc="-15" normalizeH="0" baseline="0" noProof="0" dirty="0">
                <a:ln>
                  <a:noFill/>
                </a:ln>
                <a:solidFill>
                  <a:srgbClr val="00BBEB"/>
                </a:solidFill>
                <a:effectLst/>
                <a:uLnTx/>
                <a:uFillTx/>
                <a:latin typeface="Courier New"/>
                <a:ea typeface="+mn-ea"/>
                <a:cs typeface="Courier New"/>
              </a:rPr>
              <a:t>-m </a:t>
            </a:r>
            <a:r>
              <a:rPr kumimoji="0" sz="1800" b="0" i="0" u="none" strike="noStrike" kern="1200" cap="none" spc="-10" normalizeH="0" baseline="0" noProof="0" dirty="0">
                <a:ln>
                  <a:noFill/>
                </a:ln>
                <a:solidFill>
                  <a:srgbClr val="00BBEB"/>
                </a:solidFill>
                <a:effectLst/>
                <a:uLnTx/>
                <a:uFillTx/>
                <a:latin typeface="Courier New"/>
                <a:ea typeface="+mn-ea"/>
                <a:cs typeface="Courier New"/>
              </a:rPr>
              <a:t>setup </a:t>
            </a:r>
            <a:r>
              <a:rPr kumimoji="0" sz="1800" b="0" i="0" u="none" strike="noStrike" kern="1200" cap="none" spc="-15" normalizeH="0" baseline="0" noProof="0" dirty="0">
                <a:ln>
                  <a:noFill/>
                </a:ln>
                <a:solidFill>
                  <a:srgbClr val="FAAB17"/>
                </a:solidFill>
                <a:effectLst/>
                <a:uLnTx/>
                <a:uFillTx/>
                <a:latin typeface="Courier New"/>
                <a:ea typeface="+mn-ea"/>
                <a:cs typeface="Courier New"/>
              </a:rPr>
              <a:t>-u </a:t>
            </a:r>
            <a:r>
              <a:rPr kumimoji="0" sz="1800" b="0" i="0" u="none" strike="noStrike" kern="1200" cap="none" spc="0" normalizeH="0" baseline="0" noProof="0" dirty="0">
                <a:ln>
                  <a:noFill/>
                </a:ln>
                <a:solidFill>
                  <a:srgbClr val="FAAB17"/>
                </a:solidFill>
                <a:effectLst/>
                <a:uLnTx/>
                <a:uFillTx/>
                <a:latin typeface="Courier New"/>
                <a:ea typeface="+mn-ea"/>
                <a:cs typeface="Courier New"/>
              </a:rPr>
              <a:t>root</a:t>
            </a:r>
            <a:r>
              <a:rPr kumimoji="0" sz="1800" b="0" i="0" u="none" strike="noStrike" kern="1200" cap="none" spc="-80" normalizeH="0" baseline="0" noProof="0" dirty="0">
                <a:ln>
                  <a:noFill/>
                </a:ln>
                <a:solidFill>
                  <a:srgbClr val="FAAB17"/>
                </a:solidFill>
                <a:effectLst/>
                <a:uLnTx/>
                <a:uFillTx/>
                <a:latin typeface="Courier New"/>
                <a:ea typeface="+mn-ea"/>
                <a:cs typeface="Courier New"/>
              </a:rPr>
              <a:t> </a:t>
            </a:r>
            <a:r>
              <a:rPr kumimoji="0" sz="1800" b="0" i="0" u="none" strike="noStrike" kern="1200" cap="none" spc="-10" normalizeH="0" baseline="0" noProof="0" dirty="0">
                <a:ln>
                  <a:noFill/>
                </a:ln>
                <a:solidFill>
                  <a:srgbClr val="EE7A76"/>
                </a:solidFill>
                <a:effectLst/>
                <a:uLnTx/>
                <a:uFillTx/>
                <a:latin typeface="Courier New"/>
                <a:ea typeface="+mn-ea"/>
                <a:cs typeface="Courier New"/>
              </a:rPr>
              <a:t>servers</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45"/>
              </a:spcBef>
              <a:spcAft>
                <a:spcPts val="0"/>
              </a:spcAft>
              <a:buClrTx/>
              <a:buSzTx/>
              <a:buFontTx/>
              <a:buNone/>
              <a:tabLst/>
              <a:defRPr/>
            </a:pPr>
            <a:endParaRPr kumimoji="0" sz="165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ts val="2100"/>
              </a:lnSpc>
              <a:spcBef>
                <a:spcPts val="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10.10.20.20 </a:t>
            </a:r>
            <a:r>
              <a:rPr kumimoji="0" sz="1800" b="0" i="0" u="none" strike="noStrike" kern="1200" cap="none" spc="0" normalizeH="0" baseline="0" noProof="0" dirty="0">
                <a:ln>
                  <a:noFill/>
                </a:ln>
                <a:solidFill>
                  <a:srgbClr val="FFFFFF"/>
                </a:solidFill>
                <a:effectLst/>
                <a:uLnTx/>
                <a:uFillTx/>
                <a:latin typeface="Courier New"/>
                <a:ea typeface="+mn-ea"/>
                <a:cs typeface="Courier New"/>
              </a:rPr>
              <a: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SUCCESS </a:t>
            </a:r>
            <a:r>
              <a:rPr kumimoji="0" sz="1800" b="0" i="0" u="none" strike="noStrike" kern="1200" cap="none" spc="-5" normalizeH="0" baseline="0" noProof="0" dirty="0">
                <a:ln>
                  <a:noFill/>
                </a:ln>
                <a:solidFill>
                  <a:srgbClr val="FFFFFF"/>
                </a:solidFill>
                <a:effectLst/>
                <a:uLnTx/>
                <a:uFillTx/>
                <a:latin typeface="Courier New"/>
                <a:ea typeface="+mn-ea"/>
                <a:cs typeface="Courier New"/>
              </a:rPr>
              <a:t>=&gt;</a:t>
            </a:r>
            <a:r>
              <a:rPr kumimoji="0" sz="1800" b="0" i="0" u="none" strike="noStrike" kern="1200" cap="none" spc="-135" normalizeH="0" baseline="0" noProof="0" dirty="0">
                <a:ln>
                  <a:noFill/>
                </a:ln>
                <a:solidFill>
                  <a:srgbClr val="FFFFFF"/>
                </a:solidFill>
                <a:effectLst/>
                <a:uLnTx/>
                <a:uFillTx/>
                <a:latin typeface="Courier New"/>
                <a:ea typeface="+mn-ea"/>
                <a:cs typeface="Courier New"/>
              </a:rPr>
              <a:t> </a:t>
            </a:r>
            <a:r>
              <a:rPr kumimoji="0" sz="1800" b="0" i="0" u="none" strike="noStrike" kern="1200" cap="none" spc="0"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0" marR="2084070" lvl="0" indent="0" algn="ctr" defTabSz="914400" rtl="0" eaLnBrk="1" fontAlgn="auto" latinLnBrk="0" hangingPunct="1">
              <a:lnSpc>
                <a:spcPts val="2055"/>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ansible_facts":</a:t>
            </a:r>
            <a:r>
              <a:rPr kumimoji="0" sz="1800" b="0" i="0" u="none" strike="noStrike" kern="1200" cap="none" spc="-95" normalizeH="0" baseline="0" noProof="0" dirty="0">
                <a:ln>
                  <a:noFill/>
                </a:ln>
                <a:solidFill>
                  <a:srgbClr val="FFFFFF"/>
                </a:solidFill>
                <a:effectLst/>
                <a:uLnTx/>
                <a:uFillTx/>
                <a:latin typeface="Courier New"/>
                <a:ea typeface="+mn-ea"/>
                <a:cs typeface="Courier New"/>
              </a:rPr>
              <a:t> </a:t>
            </a:r>
            <a:r>
              <a:rPr kumimoji="0" sz="1800" b="0" i="0" u="none" strike="noStrike" kern="1200" cap="none" spc="0"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106805" marR="0" lvl="0" indent="0" algn="l" defTabSz="914400" rtl="0" eaLnBrk="1" fontAlgn="auto" latinLnBrk="0" hangingPunct="1">
              <a:lnSpc>
                <a:spcPts val="2055"/>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ansible_all_ipv4_addresses":</a:t>
            </a:r>
            <a:r>
              <a:rPr kumimoji="0" sz="1800" b="0" i="0" u="none" strike="noStrike" kern="1200" cap="none" spc="-95" normalizeH="0" baseline="0" noProof="0" dirty="0">
                <a:ln>
                  <a:noFill/>
                </a:ln>
                <a:solidFill>
                  <a:srgbClr val="FFFFFF"/>
                </a:solidFill>
                <a:effectLst/>
                <a:uLnTx/>
                <a:uFillTx/>
                <a:latin typeface="Courier New"/>
                <a:ea typeface="+mn-ea"/>
                <a:cs typeface="Courier New"/>
              </a:rPr>
              <a:t> </a:t>
            </a:r>
            <a:r>
              <a:rPr kumimoji="0" sz="1800" b="0" i="0" u="none" strike="noStrike" kern="1200" cap="none" spc="0"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652905" marR="0" lvl="0" indent="0" algn="l" defTabSz="914400" rtl="0" eaLnBrk="1" fontAlgn="auto" latinLnBrk="0" hangingPunct="1">
              <a:lnSpc>
                <a:spcPts val="2055"/>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10.10.20.20",</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652905" marR="0" lvl="0" indent="0" algn="l" defTabSz="914400" rtl="0" eaLnBrk="1" fontAlgn="auto" latinLnBrk="0" hangingPunct="1">
              <a:lnSpc>
                <a:spcPts val="2050"/>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172.17.0.1"</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106805" marR="0" lvl="0" indent="0" algn="l" defTabSz="914400" rtl="0" eaLnBrk="1" fontAlgn="auto" latinLnBrk="0" hangingPunct="1">
              <a:lnSpc>
                <a:spcPts val="2055"/>
              </a:lnSpc>
              <a:spcBef>
                <a:spcPts val="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652905" marR="326390" lvl="0" indent="-546100" algn="l" defTabSz="914400" rtl="0" eaLnBrk="1" fontAlgn="auto" latinLnBrk="0" hangingPunct="1">
              <a:lnSpc>
                <a:spcPts val="2039"/>
              </a:lnSpc>
              <a:spcBef>
                <a:spcPts val="12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ansible_all_ipv6_addresses": </a:t>
            </a:r>
            <a:r>
              <a:rPr kumimoji="0" sz="1800" b="0" i="0" u="none" strike="noStrike" kern="1200" cap="none" spc="0" normalizeH="0" baseline="0" noProof="0" dirty="0">
                <a:ln>
                  <a:noFill/>
                </a:ln>
                <a:solidFill>
                  <a:srgbClr val="FFFFFF"/>
                </a:solidFill>
                <a:effectLst/>
                <a:uLnTx/>
                <a:uFillTx/>
                <a:latin typeface="Courier New"/>
                <a:ea typeface="+mn-ea"/>
                <a:cs typeface="Courier New"/>
              </a:rPr>
              <a: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fe80::250:56ff:febb:3a3f"</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106805" marR="0" lvl="0" indent="0" algn="l" defTabSz="914400" rtl="0" eaLnBrk="1" fontAlgn="auto" latinLnBrk="0" hangingPunct="1">
              <a:lnSpc>
                <a:spcPts val="1955"/>
              </a:lnSpc>
              <a:spcBef>
                <a:spcPts val="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652905" marR="1283335" lvl="0" indent="-546100" algn="l" defTabSz="914400" rtl="0" eaLnBrk="1" fontAlgn="auto" latinLnBrk="0" hangingPunct="1">
              <a:lnSpc>
                <a:spcPts val="2060"/>
              </a:lnSpc>
              <a:spcBef>
                <a:spcPts val="95"/>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ansible_apparmor": </a:t>
            </a:r>
            <a:r>
              <a:rPr kumimoji="0" sz="1800" b="0" i="0" u="none" strike="noStrike" kern="1200" cap="none" spc="0" normalizeH="0" baseline="0" noProof="0" dirty="0">
                <a:ln>
                  <a:noFill/>
                </a:ln>
                <a:solidFill>
                  <a:srgbClr val="FFFFFF"/>
                </a:solidFill>
                <a:effectLst/>
                <a:uLnTx/>
                <a:uFillTx/>
                <a:latin typeface="Courier New"/>
                <a:ea typeface="+mn-ea"/>
                <a:cs typeface="Courier New"/>
              </a:rPr>
              <a: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status":</a:t>
            </a:r>
            <a:r>
              <a:rPr kumimoji="0" sz="1800" b="0" i="0" u="none" strike="noStrike" kern="1200" cap="none" spc="-100" normalizeH="0" baseline="0" noProof="0" dirty="0">
                <a:ln>
                  <a:noFill/>
                </a:ln>
                <a:solidFill>
                  <a:srgbClr val="FFFFFF"/>
                </a:solidFill>
                <a:effectLst/>
                <a:uLnTx/>
                <a:uFillTx/>
                <a:latin typeface="Courier New"/>
                <a:ea typeface="+mn-ea"/>
                <a:cs typeface="Courier New"/>
              </a:rPr>
              <a: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disabled"</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106805" marR="0" lvl="0" indent="0" algn="l" defTabSz="914400" rtl="0" eaLnBrk="1" fontAlgn="auto" latinLnBrk="0" hangingPunct="1">
              <a:lnSpc>
                <a:spcPts val="1939"/>
              </a:lnSpc>
              <a:spcBef>
                <a:spcPts val="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106805" marR="0" lvl="0" indent="0" algn="l" defTabSz="914400" rtl="0" eaLnBrk="1" fontAlgn="auto" latinLnBrk="0" hangingPunct="1">
              <a:lnSpc>
                <a:spcPts val="2055"/>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ansible_architecture":</a:t>
            </a:r>
            <a:r>
              <a:rPr kumimoji="0" sz="1800" b="0" i="0" u="none" strike="noStrike" kern="1200" cap="none" spc="-45" normalizeH="0" baseline="0" noProof="0" dirty="0">
                <a:ln>
                  <a:noFill/>
                </a:ln>
                <a:solidFill>
                  <a:srgbClr val="FFFFFF"/>
                </a:solidFill>
                <a:effectLst/>
                <a:uLnTx/>
                <a:uFillTx/>
                <a:latin typeface="Courier New"/>
                <a:ea typeface="+mn-ea"/>
                <a:cs typeface="Courier New"/>
              </a:rPr>
              <a:t> </a:t>
            </a:r>
            <a:r>
              <a:rPr kumimoji="0" sz="1800" b="0" i="0" u="none" strike="noStrike" kern="1200" cap="none" spc="-15" normalizeH="0" baseline="0" noProof="0" dirty="0">
                <a:ln>
                  <a:noFill/>
                </a:ln>
                <a:solidFill>
                  <a:srgbClr val="FFFFFF"/>
                </a:solidFill>
                <a:effectLst/>
                <a:uLnTx/>
                <a:uFillTx/>
                <a:latin typeface="Courier New"/>
                <a:ea typeface="+mn-ea"/>
                <a:cs typeface="Courier New"/>
              </a:rPr>
              <a:t>"x86_64",</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2050"/>
              </a:lnSpc>
              <a:spcBef>
                <a:spcPts val="0"/>
              </a:spcBef>
              <a:spcAft>
                <a:spcPts val="0"/>
              </a:spcAft>
              <a:buClrTx/>
              <a:buSzTx/>
              <a:buFontTx/>
              <a:buNone/>
              <a:tabLst/>
              <a:defRPr/>
            </a:pPr>
            <a:r>
              <a:rPr kumimoji="0" sz="1800" b="0" i="0" u="none" strike="noStrike" kern="1200" cap="none" spc="0"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2110"/>
              </a:lnSpc>
              <a:spcBef>
                <a:spcPts val="0"/>
              </a:spcBef>
              <a:spcAft>
                <a:spcPts val="0"/>
              </a:spcAft>
              <a:buClrTx/>
              <a:buSzTx/>
              <a:buFontTx/>
              <a:buNone/>
              <a:tabLst/>
              <a:defRPr/>
            </a:pPr>
            <a:r>
              <a:rPr kumimoji="0" sz="1800" b="0" i="0" u="none" strike="noStrike" kern="1200" cap="none" spc="0"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50"/>
              </a:spcBef>
              <a:spcAft>
                <a:spcPts val="0"/>
              </a:spcAft>
              <a:buClrTx/>
              <a:buSzTx/>
              <a:buFontTx/>
              <a:buNone/>
              <a:tabLst/>
              <a:defRPr/>
            </a:pPr>
            <a:endParaRPr kumimoji="0" sz="1900" b="0" i="0" u="none" strike="noStrike" kern="1200" cap="none" spc="0" normalizeH="0" baseline="0" noProof="0">
              <a:ln>
                <a:noFill/>
              </a:ln>
              <a:solidFill>
                <a:prstClr val="black"/>
              </a:solidFill>
              <a:effectLst/>
              <a:uLnTx/>
              <a:uFillTx/>
              <a:latin typeface="Times New Roman"/>
              <a:ea typeface="+mn-ea"/>
              <a:cs typeface="Times New Roman"/>
            </a:endParaRPr>
          </a:p>
          <a:p>
            <a:pPr marL="2038350" marR="0" lvl="0" indent="0" algn="l" defTabSz="914400" rtl="0" eaLnBrk="1" fontAlgn="auto" latinLnBrk="0" hangingPunct="1">
              <a:lnSpc>
                <a:spcPct val="100000"/>
              </a:lnSpc>
              <a:spcBef>
                <a:spcPts val="0"/>
              </a:spcBef>
              <a:spcAft>
                <a:spcPts val="0"/>
              </a:spcAft>
              <a:buClrTx/>
              <a:buSzTx/>
              <a:buFontTx/>
              <a:buNone/>
              <a:tabLst/>
              <a:defRPr/>
            </a:pPr>
            <a:r>
              <a:rPr kumimoji="0" sz="1800" b="0" i="1" u="none" strike="noStrike" kern="1200" cap="none" spc="0" normalizeH="0" baseline="0" noProof="0" dirty="0">
                <a:ln>
                  <a:noFill/>
                </a:ln>
                <a:solidFill>
                  <a:srgbClr val="282828"/>
                </a:solidFill>
                <a:effectLst/>
                <a:uLnTx/>
                <a:uFillTx/>
                <a:latin typeface="Arial"/>
                <a:ea typeface="+mn-ea"/>
                <a:cs typeface="Arial"/>
              </a:rPr>
              <a:t>Output </a:t>
            </a:r>
            <a:r>
              <a:rPr kumimoji="0" sz="1800" b="0" i="1" u="none" strike="noStrike" kern="1200" cap="none" spc="15" normalizeH="0" baseline="0" noProof="0" dirty="0">
                <a:ln>
                  <a:noFill/>
                </a:ln>
                <a:solidFill>
                  <a:srgbClr val="282828"/>
                </a:solidFill>
                <a:effectLst/>
                <a:uLnTx/>
                <a:uFillTx/>
                <a:latin typeface="Arial"/>
                <a:ea typeface="+mn-ea"/>
                <a:cs typeface="Arial"/>
              </a:rPr>
              <a:t>edited for </a:t>
            </a:r>
            <a:r>
              <a:rPr kumimoji="0" sz="1800" b="0" i="1" u="none" strike="noStrike" kern="1200" cap="none" spc="5" normalizeH="0" baseline="0" noProof="0" dirty="0">
                <a:ln>
                  <a:noFill/>
                </a:ln>
                <a:solidFill>
                  <a:srgbClr val="282828"/>
                </a:solidFill>
                <a:effectLst/>
                <a:uLnTx/>
                <a:uFillTx/>
                <a:latin typeface="Arial"/>
                <a:ea typeface="+mn-ea"/>
                <a:cs typeface="Arial"/>
              </a:rPr>
              <a:t>brevity </a:t>
            </a:r>
            <a:r>
              <a:rPr kumimoji="0" sz="1800" b="0" i="1" u="none" strike="noStrike" kern="1200" cap="none" spc="-10" normalizeH="0" baseline="0" noProof="0" dirty="0">
                <a:ln>
                  <a:noFill/>
                </a:ln>
                <a:solidFill>
                  <a:srgbClr val="282828"/>
                </a:solidFill>
                <a:effectLst/>
                <a:uLnTx/>
                <a:uFillTx/>
                <a:latin typeface="Arial"/>
                <a:ea typeface="+mn-ea"/>
                <a:cs typeface="Arial"/>
              </a:rPr>
              <a:t>and</a:t>
            </a:r>
            <a:r>
              <a:rPr kumimoji="0" sz="1800" b="0" i="1" u="none" strike="noStrike" kern="1200" cap="none" spc="150" normalizeH="0" baseline="0" noProof="0" dirty="0">
                <a:ln>
                  <a:noFill/>
                </a:ln>
                <a:solidFill>
                  <a:srgbClr val="282828"/>
                </a:solidFill>
                <a:effectLst/>
                <a:uLnTx/>
                <a:uFillTx/>
                <a:latin typeface="Arial"/>
                <a:ea typeface="+mn-ea"/>
                <a:cs typeface="Arial"/>
              </a:rPr>
              <a:t> </a:t>
            </a:r>
            <a:r>
              <a:rPr kumimoji="0" sz="1800" b="0" i="1" u="none" strike="noStrike" kern="1200" cap="none" spc="0" normalizeH="0" baseline="0" noProof="0" dirty="0">
                <a:ln>
                  <a:noFill/>
                </a:ln>
                <a:solidFill>
                  <a:srgbClr val="282828"/>
                </a:solidFill>
                <a:effectLst/>
                <a:uLnTx/>
                <a:uFillTx/>
                <a:latin typeface="Arial"/>
                <a:ea typeface="+mn-ea"/>
                <a:cs typeface="Arial"/>
              </a:rPr>
              <a:t>clarity</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7160312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9327" y="6367881"/>
            <a:ext cx="3615690" cy="137160"/>
          </a:xfrm>
          <a:prstGeom prst="rect">
            <a:avLst/>
          </a:prstGeom>
        </p:spPr>
        <p:txBody>
          <a:bodyPr vert="horz" wrap="square" lIns="0" tIns="0" rIns="0" bIns="0" rtlCol="0">
            <a:spAutoFit/>
          </a:bodyPr>
          <a:lstStyle/>
          <a:p>
            <a:pPr marL="0" marR="0" lvl="0" indent="0" algn="l" defTabSz="457200" rtl="0" eaLnBrk="1" fontAlgn="base" latinLnBrk="0" hangingPunct="1">
              <a:lnSpc>
                <a:spcPts val="950"/>
              </a:lnSpc>
              <a:spcBef>
                <a:spcPct val="0"/>
              </a:spcBef>
              <a:spcAft>
                <a:spcPct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40" normalizeH="0" baseline="0" noProof="0" dirty="0">
                <a:ln>
                  <a:noFill/>
                </a:ln>
                <a:solidFill>
                  <a:srgbClr val="A6A6A6"/>
                </a:solidFill>
                <a:effectLst/>
                <a:uLnTx/>
                <a:uFillTx/>
                <a:latin typeface="Arial"/>
                <a:ea typeface="ＭＳ Ｐゴシック" charset="0"/>
                <a:cs typeface="Arial"/>
              </a:rPr>
              <a:t>2017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Cisco </a:t>
            </a:r>
            <a:r>
              <a:rPr kumimoji="0" sz="800" b="0" i="0" u="none" strike="noStrike" kern="1200" cap="none" spc="15" normalizeH="0" baseline="0" noProof="0" dirty="0">
                <a:ln>
                  <a:noFill/>
                </a:ln>
                <a:solidFill>
                  <a:srgbClr val="A6A6A6"/>
                </a:solidFill>
                <a:effectLst/>
                <a:uLnTx/>
                <a:uFillTx/>
                <a:latin typeface="Arial"/>
                <a:ea typeface="ＭＳ Ｐゴシック" charset="0"/>
                <a:cs typeface="Arial"/>
              </a:rPr>
              <a:t>and/or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its affiliates.  </a:t>
            </a:r>
            <a:r>
              <a:rPr kumimoji="0" sz="800" b="0" i="0" u="none" strike="noStrike" kern="1200" cap="none" spc="0" normalizeH="0" baseline="0" noProof="0" dirty="0">
                <a:ln>
                  <a:noFill/>
                </a:ln>
                <a:solidFill>
                  <a:srgbClr val="A6A6A6"/>
                </a:solidFill>
                <a:effectLst/>
                <a:uLnTx/>
                <a:uFillTx/>
                <a:latin typeface="Arial"/>
                <a:ea typeface="ＭＳ Ｐゴシック" charset="0"/>
                <a:cs typeface="Arial"/>
              </a:rPr>
              <a:t>All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rights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reserved.    Cisco</a:t>
            </a:r>
            <a:r>
              <a:rPr kumimoji="0" sz="800" b="0" i="0" u="none" strike="noStrike" kern="1200" cap="none" spc="10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Confidential</a:t>
            </a:r>
            <a:endParaRPr kumimoji="0" sz="800" b="0" i="0" u="none" strike="noStrike" kern="1200" cap="none" spc="0" normalizeH="0" baseline="0" noProof="0">
              <a:ln>
                <a:noFill/>
              </a:ln>
              <a:solidFill>
                <a:srgbClr val="282828"/>
              </a:solidFill>
              <a:effectLst/>
              <a:uLnTx/>
              <a:uFillTx/>
              <a:latin typeface="Arial"/>
              <a:ea typeface="ＭＳ Ｐゴシック" charset="0"/>
              <a:cs typeface="Arial"/>
            </a:endParaRPr>
          </a:p>
        </p:txBody>
      </p:sp>
      <p:sp>
        <p:nvSpPr>
          <p:cNvPr id="4" name="object 4"/>
          <p:cNvSpPr txBox="1"/>
          <p:nvPr/>
        </p:nvSpPr>
        <p:spPr>
          <a:xfrm>
            <a:off x="634085" y="3654628"/>
            <a:ext cx="4272915" cy="962660"/>
          </a:xfrm>
          <a:prstGeom prst="rect">
            <a:avLst/>
          </a:prstGeom>
        </p:spPr>
        <p:txBody>
          <a:bodyPr vert="horz" wrap="square" lIns="0" tIns="12065" rIns="0" bIns="0" rtlCol="0">
            <a:spAutoFit/>
          </a:bodyPr>
          <a:lstStyle/>
          <a:p>
            <a:pPr marL="12700" marR="0" lvl="0" indent="0" algn="l" defTabSz="457200" rtl="0" eaLnBrk="1" fontAlgn="base" latinLnBrk="0" hangingPunct="1">
              <a:lnSpc>
                <a:spcPct val="100000"/>
              </a:lnSpc>
              <a:spcBef>
                <a:spcPts val="95"/>
              </a:spcBef>
              <a:spcAft>
                <a:spcPct val="0"/>
              </a:spcAft>
              <a:buClrTx/>
              <a:buSzTx/>
              <a:buFontTx/>
              <a:buNone/>
              <a:tabLst/>
              <a:defRPr/>
            </a:pPr>
            <a:r>
              <a:rPr kumimoji="0" sz="6150" b="0" i="0" u="none" strike="noStrike" kern="1200" cap="none" spc="10" normalizeH="0" baseline="0" noProof="0" dirty="0">
                <a:ln>
                  <a:noFill/>
                </a:ln>
                <a:solidFill>
                  <a:srgbClr val="005073"/>
                </a:solidFill>
                <a:effectLst/>
                <a:uLnTx/>
                <a:uFillTx/>
                <a:latin typeface="CiscoSansTT ExtraLight"/>
                <a:ea typeface="ＭＳ Ｐゴシック" charset="0"/>
                <a:cs typeface="Arial"/>
              </a:rPr>
              <a:t>Demo</a:t>
            </a:r>
            <a:r>
              <a:rPr kumimoji="0" sz="6150" b="0" i="0" u="none" strike="noStrike" kern="1200" cap="none" spc="35" normalizeH="0" baseline="0" noProof="0" dirty="0">
                <a:ln>
                  <a:noFill/>
                </a:ln>
                <a:solidFill>
                  <a:srgbClr val="005073"/>
                </a:solidFill>
                <a:effectLst/>
                <a:uLnTx/>
                <a:uFillTx/>
                <a:latin typeface="CiscoSansTT ExtraLight"/>
                <a:ea typeface="ＭＳ Ｐゴシック" charset="0"/>
                <a:cs typeface="Arial"/>
              </a:rPr>
              <a:t> </a:t>
            </a:r>
            <a:r>
              <a:rPr kumimoji="0" sz="6150" b="0" i="0" u="none" strike="noStrike" kern="1200" cap="none" spc="-50" normalizeH="0" baseline="0" noProof="0" dirty="0">
                <a:ln>
                  <a:noFill/>
                </a:ln>
                <a:solidFill>
                  <a:srgbClr val="005073"/>
                </a:solidFill>
                <a:effectLst/>
                <a:uLnTx/>
                <a:uFillTx/>
                <a:latin typeface="CiscoSansTT ExtraLight"/>
                <a:ea typeface="ＭＳ Ｐゴシック" charset="0"/>
                <a:cs typeface="Arial"/>
              </a:rPr>
              <a:t>Time!</a:t>
            </a:r>
            <a:endParaRPr kumimoji="0" sz="6150" b="0" i="0" u="none" strike="noStrike" kern="1200" cap="none" spc="0" normalizeH="0" baseline="0" noProof="0" dirty="0">
              <a:ln>
                <a:noFill/>
              </a:ln>
              <a:solidFill>
                <a:srgbClr val="282828"/>
              </a:solidFill>
              <a:effectLst/>
              <a:uLnTx/>
              <a:uFillTx/>
              <a:latin typeface="CiscoSansTT ExtraLight"/>
              <a:ea typeface="ＭＳ Ｐゴシック" charset="0"/>
              <a:cs typeface="Arial"/>
            </a:endParaRPr>
          </a:p>
        </p:txBody>
      </p:sp>
      <p:sp>
        <p:nvSpPr>
          <p:cNvPr id="5" name="object 5"/>
          <p:cNvSpPr/>
          <p:nvPr/>
        </p:nvSpPr>
        <p:spPr>
          <a:xfrm>
            <a:off x="5678423" y="1438655"/>
            <a:ext cx="5007864" cy="3883152"/>
          </a:xfrm>
          <a:prstGeom prst="rect">
            <a:avLst/>
          </a:prstGeom>
          <a:blipFill>
            <a:blip r:embed="rId2" cstate="print"/>
            <a:stretch>
              <a:fillRect/>
            </a:stretch>
          </a:blip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 name="TextBox 5">
            <a:extLst>
              <a:ext uri="{FF2B5EF4-FFF2-40B4-BE49-F238E27FC236}">
                <a16:creationId xmlns:a16="http://schemas.microsoft.com/office/drawing/2014/main" id="{6DFBF00C-4ECF-1248-84F2-0D8BC21D4FC5}"/>
              </a:ext>
            </a:extLst>
          </p:cNvPr>
          <p:cNvSpPr txBox="1"/>
          <p:nvPr/>
        </p:nvSpPr>
        <p:spPr>
          <a:xfrm>
            <a:off x="634085" y="5137141"/>
            <a:ext cx="2058577"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zh-CN" sz="1800" b="0" i="0" u="none" strike="noStrike" kern="1200" cap="none" spc="0" normalizeH="0" baseline="0" noProof="0" dirty="0">
                <a:ln>
                  <a:noFill/>
                </a:ln>
                <a:solidFill>
                  <a:srgbClr val="282828"/>
                </a:solidFill>
                <a:effectLst/>
                <a:uLnTx/>
                <a:uFillTx/>
                <a:latin typeface="CiscoSansTT ExtraLight"/>
                <a:ea typeface="ＭＳ Ｐゴシック" charset="0"/>
              </a:rPr>
              <a:t>ad-hoc</a:t>
            </a:r>
            <a:r>
              <a:rPr kumimoji="0" lang="zh-CN" altLang="en-US" sz="1800" b="0" i="0" u="none" strike="noStrike" kern="1200" cap="none" spc="0" normalizeH="0" baseline="0" noProof="0" dirty="0">
                <a:ln>
                  <a:noFill/>
                </a:ln>
                <a:solidFill>
                  <a:srgbClr val="282828"/>
                </a:solidFill>
                <a:effectLst/>
                <a:uLnTx/>
                <a:uFillTx/>
                <a:latin typeface="CiscoSansTT ExtraLight"/>
                <a:ea typeface="ＭＳ Ｐゴシック" charset="0"/>
              </a:rPr>
              <a:t> </a:t>
            </a:r>
            <a:r>
              <a:rPr kumimoji="0" lang="en-US" altLang="zh-CN" sz="1800" b="0" i="0" u="none" strike="noStrike" kern="1200" cap="none" spc="0" normalizeH="0" baseline="0" noProof="0" dirty="0">
                <a:ln>
                  <a:noFill/>
                </a:ln>
                <a:solidFill>
                  <a:srgbClr val="282828"/>
                </a:solidFill>
                <a:effectLst/>
                <a:uLnTx/>
                <a:uFillTx/>
                <a:latin typeface="CiscoSansTT ExtraLight"/>
                <a:ea typeface="ＭＳ Ｐゴシック" charset="0"/>
              </a:rPr>
              <a:t>command</a:t>
            </a:r>
            <a:endParaRPr kumimoji="0" lang="en-CN"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Tree>
    <p:extLst>
      <p:ext uri="{BB962C8B-B14F-4D97-AF65-F5344CB8AC3E}">
        <p14:creationId xmlns:p14="http://schemas.microsoft.com/office/powerpoint/2010/main" val="4059555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3"/>
          <p:cNvGraphicFramePr>
            <a:graphicFrameLocks noGrp="1"/>
          </p:cNvGraphicFramePr>
          <p:nvPr/>
        </p:nvGraphicFramePr>
        <p:xfrm>
          <a:off x="627062" y="1424558"/>
          <a:ext cx="11039538" cy="3962400"/>
        </p:xfrm>
        <a:graphic>
          <a:graphicData uri="http://schemas.openxmlformats.org/drawingml/2006/table">
            <a:tbl>
              <a:tblPr firstRow="1" bandRow="1">
                <a:tableStyleId>{2D5ABB26-0587-4C30-8999-92F81FD0307C}</a:tableStyleId>
              </a:tblPr>
              <a:tblGrid>
                <a:gridCol w="2135949">
                  <a:extLst>
                    <a:ext uri="{9D8B030D-6E8A-4147-A177-3AD203B41FA5}">
                      <a16:colId xmlns:a16="http://schemas.microsoft.com/office/drawing/2014/main" val="20000"/>
                    </a:ext>
                  </a:extLst>
                </a:gridCol>
                <a:gridCol w="8903589">
                  <a:extLst>
                    <a:ext uri="{9D8B030D-6E8A-4147-A177-3AD203B41FA5}">
                      <a16:colId xmlns:a16="http://schemas.microsoft.com/office/drawing/2014/main" val="20001"/>
                    </a:ext>
                  </a:extLst>
                </a:gridCol>
              </a:tblGrid>
              <a:tr h="342900">
                <a:tc>
                  <a:txBody>
                    <a:bodyPr/>
                    <a:lstStyle/>
                    <a:p>
                      <a:pPr marL="85090">
                        <a:lnSpc>
                          <a:spcPct val="100000"/>
                        </a:lnSpc>
                        <a:spcBef>
                          <a:spcPts val="335"/>
                        </a:spcBef>
                      </a:pPr>
                      <a:r>
                        <a:rPr sz="1850" spc="-80" dirty="0">
                          <a:solidFill>
                            <a:srgbClr val="005073"/>
                          </a:solidFill>
                          <a:latin typeface="Lucida Sans Unicode"/>
                          <a:cs typeface="Lucida Sans Unicode"/>
                        </a:rPr>
                        <a:t>Tool</a:t>
                      </a:r>
                      <a:endParaRPr sz="1850">
                        <a:latin typeface="Lucida Sans Unicode"/>
                        <a:cs typeface="Lucida Sans Unicode"/>
                      </a:endParaRPr>
                    </a:p>
                  </a:txBody>
                  <a:tcPr marL="0" marR="0" marT="42545" marB="0">
                    <a:lnL w="12700">
                      <a:solidFill>
                        <a:srgbClr val="005073"/>
                      </a:solidFill>
                      <a:prstDash val="solid"/>
                    </a:lnL>
                    <a:lnR w="12700">
                      <a:solidFill>
                        <a:srgbClr val="005073"/>
                      </a:solidFill>
                      <a:prstDash val="solid"/>
                    </a:lnR>
                    <a:lnT w="12700">
                      <a:solidFill>
                        <a:srgbClr val="005073"/>
                      </a:solidFill>
                      <a:prstDash val="solid"/>
                    </a:lnT>
                    <a:lnB w="38100">
                      <a:solidFill>
                        <a:srgbClr val="005073"/>
                      </a:solidFill>
                      <a:prstDash val="solid"/>
                    </a:lnB>
                    <a:solidFill>
                      <a:srgbClr val="00BBEB"/>
                    </a:solidFill>
                  </a:tcPr>
                </a:tc>
                <a:tc>
                  <a:txBody>
                    <a:bodyPr/>
                    <a:lstStyle/>
                    <a:p>
                      <a:pPr marL="85725">
                        <a:lnSpc>
                          <a:spcPct val="100000"/>
                        </a:lnSpc>
                        <a:spcBef>
                          <a:spcPts val="335"/>
                        </a:spcBef>
                      </a:pPr>
                      <a:r>
                        <a:rPr sz="1850" spc="-75" dirty="0">
                          <a:solidFill>
                            <a:srgbClr val="005073"/>
                          </a:solidFill>
                          <a:latin typeface="Lucida Sans Unicode"/>
                          <a:cs typeface="Lucida Sans Unicode"/>
                        </a:rPr>
                        <a:t>Description</a:t>
                      </a:r>
                      <a:endParaRPr sz="1850">
                        <a:latin typeface="Lucida Sans Unicode"/>
                        <a:cs typeface="Lucida Sans Unicode"/>
                      </a:endParaRPr>
                    </a:p>
                  </a:txBody>
                  <a:tcPr marL="0" marR="0" marT="42545" marB="0">
                    <a:lnL w="12700">
                      <a:solidFill>
                        <a:srgbClr val="005073"/>
                      </a:solidFill>
                      <a:prstDash val="solid"/>
                    </a:lnL>
                    <a:lnR w="12700">
                      <a:solidFill>
                        <a:srgbClr val="005073"/>
                      </a:solidFill>
                      <a:prstDash val="solid"/>
                    </a:lnR>
                    <a:lnT w="12700">
                      <a:solidFill>
                        <a:srgbClr val="005073"/>
                      </a:solidFill>
                      <a:prstDash val="solid"/>
                    </a:lnT>
                    <a:lnB w="38100">
                      <a:solidFill>
                        <a:srgbClr val="005073"/>
                      </a:solidFill>
                      <a:prstDash val="solid"/>
                    </a:lnB>
                    <a:solidFill>
                      <a:srgbClr val="00BBEB"/>
                    </a:solidFill>
                  </a:tcPr>
                </a:tc>
                <a:extLst>
                  <a:ext uri="{0D108BD9-81ED-4DB2-BD59-A6C34878D82A}">
                    <a16:rowId xmlns:a16="http://schemas.microsoft.com/office/drawing/2014/main" val="10000"/>
                  </a:ext>
                </a:extLst>
              </a:tr>
              <a:tr h="635000">
                <a:tc>
                  <a:txBody>
                    <a:bodyPr/>
                    <a:lstStyle/>
                    <a:p>
                      <a:pPr marL="85090">
                        <a:lnSpc>
                          <a:spcPct val="100000"/>
                        </a:lnSpc>
                        <a:spcBef>
                          <a:spcPts val="40"/>
                        </a:spcBef>
                      </a:pPr>
                      <a:r>
                        <a:rPr sz="2000" spc="-5" dirty="0">
                          <a:solidFill>
                            <a:srgbClr val="003B55"/>
                          </a:solidFill>
                          <a:latin typeface="Courier New"/>
                          <a:cs typeface="Courier New"/>
                        </a:rPr>
                        <a:t>module</a:t>
                      </a:r>
                      <a:endParaRPr sz="2000">
                        <a:latin typeface="Courier New"/>
                        <a:cs typeface="Courier New"/>
                      </a:endParaRPr>
                    </a:p>
                  </a:txBody>
                  <a:tcPr marL="0" marR="0" marT="5080" marB="0">
                    <a:lnL w="12700">
                      <a:solidFill>
                        <a:srgbClr val="005073"/>
                      </a:solidFill>
                      <a:prstDash val="solid"/>
                    </a:lnL>
                    <a:lnR w="12700">
                      <a:solidFill>
                        <a:srgbClr val="005073"/>
                      </a:solidFill>
                      <a:prstDash val="solid"/>
                    </a:lnR>
                    <a:lnT w="38100">
                      <a:solidFill>
                        <a:srgbClr val="005073"/>
                      </a:solidFill>
                      <a:prstDash val="solid"/>
                    </a:lnT>
                    <a:lnB w="12700">
                      <a:solidFill>
                        <a:srgbClr val="005073"/>
                      </a:solidFill>
                      <a:prstDash val="solid"/>
                    </a:lnB>
                    <a:solidFill>
                      <a:srgbClr val="CAE7F7"/>
                    </a:solidFill>
                  </a:tcPr>
                </a:tc>
                <a:tc>
                  <a:txBody>
                    <a:bodyPr/>
                    <a:lstStyle/>
                    <a:p>
                      <a:pPr marL="85725">
                        <a:lnSpc>
                          <a:spcPct val="100000"/>
                        </a:lnSpc>
                        <a:spcBef>
                          <a:spcPts val="204"/>
                        </a:spcBef>
                      </a:pPr>
                      <a:r>
                        <a:rPr sz="2000" spc="5" dirty="0">
                          <a:solidFill>
                            <a:srgbClr val="003B55"/>
                          </a:solidFill>
                          <a:latin typeface="Arial"/>
                          <a:cs typeface="Arial"/>
                        </a:rPr>
                        <a:t>Code,</a:t>
                      </a:r>
                      <a:r>
                        <a:rPr sz="2000" spc="75" dirty="0">
                          <a:solidFill>
                            <a:srgbClr val="003B55"/>
                          </a:solidFill>
                          <a:latin typeface="Arial"/>
                          <a:cs typeface="Arial"/>
                        </a:rPr>
                        <a:t> </a:t>
                      </a:r>
                      <a:r>
                        <a:rPr sz="2000" spc="-5" dirty="0">
                          <a:solidFill>
                            <a:srgbClr val="003B55"/>
                          </a:solidFill>
                          <a:latin typeface="Arial"/>
                          <a:cs typeface="Arial"/>
                        </a:rPr>
                        <a:t>typically</a:t>
                      </a:r>
                      <a:r>
                        <a:rPr sz="2000" spc="80" dirty="0">
                          <a:solidFill>
                            <a:srgbClr val="003B55"/>
                          </a:solidFill>
                          <a:latin typeface="Arial"/>
                          <a:cs typeface="Arial"/>
                        </a:rPr>
                        <a:t> </a:t>
                      </a:r>
                      <a:r>
                        <a:rPr sz="2000" spc="15" dirty="0">
                          <a:solidFill>
                            <a:srgbClr val="003B55"/>
                          </a:solidFill>
                          <a:latin typeface="Arial"/>
                          <a:cs typeface="Arial"/>
                        </a:rPr>
                        <a:t>written</a:t>
                      </a:r>
                      <a:r>
                        <a:rPr sz="2000" spc="90" dirty="0">
                          <a:solidFill>
                            <a:srgbClr val="003B55"/>
                          </a:solidFill>
                          <a:latin typeface="Arial"/>
                          <a:cs typeface="Arial"/>
                        </a:rPr>
                        <a:t> </a:t>
                      </a:r>
                      <a:r>
                        <a:rPr sz="2000" spc="-30" dirty="0">
                          <a:solidFill>
                            <a:srgbClr val="003B55"/>
                          </a:solidFill>
                          <a:latin typeface="Arial"/>
                          <a:cs typeface="Arial"/>
                        </a:rPr>
                        <a:t>in</a:t>
                      </a:r>
                      <a:r>
                        <a:rPr sz="2000" spc="40" dirty="0">
                          <a:solidFill>
                            <a:srgbClr val="003B55"/>
                          </a:solidFill>
                          <a:latin typeface="Arial"/>
                          <a:cs typeface="Arial"/>
                        </a:rPr>
                        <a:t> </a:t>
                      </a:r>
                      <a:r>
                        <a:rPr sz="2000" spc="-10" dirty="0">
                          <a:solidFill>
                            <a:srgbClr val="003B55"/>
                          </a:solidFill>
                          <a:latin typeface="Arial"/>
                          <a:cs typeface="Arial"/>
                        </a:rPr>
                        <a:t>Python,</a:t>
                      </a:r>
                      <a:r>
                        <a:rPr sz="2000" spc="40" dirty="0">
                          <a:solidFill>
                            <a:srgbClr val="003B55"/>
                          </a:solidFill>
                          <a:latin typeface="Arial"/>
                          <a:cs typeface="Arial"/>
                        </a:rPr>
                        <a:t> </a:t>
                      </a:r>
                      <a:r>
                        <a:rPr sz="2000" spc="0" dirty="0">
                          <a:solidFill>
                            <a:srgbClr val="003B55"/>
                          </a:solidFill>
                          <a:latin typeface="Arial"/>
                          <a:cs typeface="Arial"/>
                        </a:rPr>
                        <a:t>that</a:t>
                      </a:r>
                      <a:r>
                        <a:rPr sz="2000" spc="65" dirty="0">
                          <a:solidFill>
                            <a:srgbClr val="003B55"/>
                          </a:solidFill>
                          <a:latin typeface="Arial"/>
                          <a:cs typeface="Arial"/>
                        </a:rPr>
                        <a:t> </a:t>
                      </a:r>
                      <a:r>
                        <a:rPr sz="2000" spc="-5" dirty="0">
                          <a:solidFill>
                            <a:srgbClr val="003B55"/>
                          </a:solidFill>
                          <a:latin typeface="Arial"/>
                          <a:cs typeface="Arial"/>
                        </a:rPr>
                        <a:t>will</a:t>
                      </a:r>
                      <a:r>
                        <a:rPr sz="2000" spc="35" dirty="0">
                          <a:solidFill>
                            <a:srgbClr val="003B55"/>
                          </a:solidFill>
                          <a:latin typeface="Arial"/>
                          <a:cs typeface="Arial"/>
                        </a:rPr>
                        <a:t> </a:t>
                      </a:r>
                      <a:r>
                        <a:rPr sz="2000" spc="15" dirty="0">
                          <a:solidFill>
                            <a:srgbClr val="003B55"/>
                          </a:solidFill>
                          <a:latin typeface="Arial"/>
                          <a:cs typeface="Arial"/>
                        </a:rPr>
                        <a:t>perform</a:t>
                      </a:r>
                      <a:r>
                        <a:rPr sz="2000" spc="100" dirty="0">
                          <a:solidFill>
                            <a:srgbClr val="003B55"/>
                          </a:solidFill>
                          <a:latin typeface="Arial"/>
                          <a:cs typeface="Arial"/>
                        </a:rPr>
                        <a:t> </a:t>
                      </a:r>
                      <a:r>
                        <a:rPr sz="2000" spc="10" dirty="0">
                          <a:solidFill>
                            <a:srgbClr val="003B55"/>
                          </a:solidFill>
                          <a:latin typeface="Arial"/>
                          <a:cs typeface="Arial"/>
                        </a:rPr>
                        <a:t>some</a:t>
                      </a:r>
                      <a:r>
                        <a:rPr sz="2000" spc="60" dirty="0">
                          <a:solidFill>
                            <a:srgbClr val="003B55"/>
                          </a:solidFill>
                          <a:latin typeface="Arial"/>
                          <a:cs typeface="Arial"/>
                        </a:rPr>
                        <a:t> </a:t>
                      </a:r>
                      <a:r>
                        <a:rPr sz="2000" spc="0" dirty="0">
                          <a:solidFill>
                            <a:srgbClr val="003B55"/>
                          </a:solidFill>
                          <a:latin typeface="Arial"/>
                          <a:cs typeface="Arial"/>
                        </a:rPr>
                        <a:t>action</a:t>
                      </a:r>
                      <a:r>
                        <a:rPr sz="2000" spc="40" dirty="0">
                          <a:solidFill>
                            <a:srgbClr val="003B55"/>
                          </a:solidFill>
                          <a:latin typeface="Arial"/>
                          <a:cs typeface="Arial"/>
                        </a:rPr>
                        <a:t> </a:t>
                      </a:r>
                      <a:r>
                        <a:rPr sz="2000" spc="5" dirty="0">
                          <a:solidFill>
                            <a:srgbClr val="003B55"/>
                          </a:solidFill>
                          <a:latin typeface="Arial"/>
                          <a:cs typeface="Arial"/>
                        </a:rPr>
                        <a:t>on</a:t>
                      </a:r>
                      <a:r>
                        <a:rPr sz="2000" spc="40" dirty="0">
                          <a:solidFill>
                            <a:srgbClr val="003B55"/>
                          </a:solidFill>
                          <a:latin typeface="Arial"/>
                          <a:cs typeface="Arial"/>
                        </a:rPr>
                        <a:t> </a:t>
                      </a:r>
                      <a:r>
                        <a:rPr sz="2000" spc="-60" dirty="0">
                          <a:solidFill>
                            <a:srgbClr val="003B55"/>
                          </a:solidFill>
                          <a:latin typeface="Arial"/>
                          <a:cs typeface="Arial"/>
                        </a:rPr>
                        <a:t>a</a:t>
                      </a:r>
                      <a:r>
                        <a:rPr sz="2000" spc="50" dirty="0">
                          <a:solidFill>
                            <a:srgbClr val="003B55"/>
                          </a:solidFill>
                          <a:latin typeface="Arial"/>
                          <a:cs typeface="Arial"/>
                        </a:rPr>
                        <a:t> </a:t>
                      </a:r>
                      <a:r>
                        <a:rPr sz="2000" spc="5" dirty="0">
                          <a:solidFill>
                            <a:srgbClr val="003B55"/>
                          </a:solidFill>
                          <a:latin typeface="Arial"/>
                          <a:cs typeface="Arial"/>
                        </a:rPr>
                        <a:t>host.</a:t>
                      </a:r>
                      <a:endParaRPr sz="2000">
                        <a:latin typeface="Arial"/>
                        <a:cs typeface="Arial"/>
                      </a:endParaRPr>
                    </a:p>
                    <a:p>
                      <a:pPr marL="85725">
                        <a:lnSpc>
                          <a:spcPct val="100000"/>
                        </a:lnSpc>
                        <a:spcBef>
                          <a:spcPts val="5"/>
                        </a:spcBef>
                      </a:pPr>
                      <a:r>
                        <a:rPr sz="1800" i="1" spc="-20" dirty="0">
                          <a:solidFill>
                            <a:srgbClr val="003B55"/>
                          </a:solidFill>
                          <a:latin typeface="Arial"/>
                          <a:cs typeface="Arial"/>
                        </a:rPr>
                        <a:t>Example: </a:t>
                      </a:r>
                      <a:r>
                        <a:rPr sz="1800" i="1" dirty="0">
                          <a:solidFill>
                            <a:srgbClr val="003B55"/>
                          </a:solidFill>
                          <a:latin typeface="Arial"/>
                          <a:cs typeface="Arial"/>
                        </a:rPr>
                        <a:t>yum </a:t>
                      </a:r>
                      <a:r>
                        <a:rPr sz="1800" i="1" spc="365" dirty="0">
                          <a:solidFill>
                            <a:srgbClr val="003B55"/>
                          </a:solidFill>
                          <a:latin typeface="Arial"/>
                          <a:cs typeface="Arial"/>
                        </a:rPr>
                        <a:t>- </a:t>
                      </a:r>
                      <a:r>
                        <a:rPr sz="1800" i="1" spc="-10" dirty="0">
                          <a:solidFill>
                            <a:srgbClr val="003B55"/>
                          </a:solidFill>
                          <a:latin typeface="Arial"/>
                          <a:cs typeface="Arial"/>
                        </a:rPr>
                        <a:t>Manages </a:t>
                      </a:r>
                      <a:r>
                        <a:rPr sz="1800" i="1" dirty="0">
                          <a:solidFill>
                            <a:srgbClr val="003B55"/>
                          </a:solidFill>
                          <a:latin typeface="Arial"/>
                          <a:cs typeface="Arial"/>
                        </a:rPr>
                        <a:t>packages </a:t>
                      </a:r>
                      <a:r>
                        <a:rPr sz="1800" i="1" spc="15" dirty="0">
                          <a:solidFill>
                            <a:srgbClr val="003B55"/>
                          </a:solidFill>
                          <a:latin typeface="Arial"/>
                          <a:cs typeface="Arial"/>
                        </a:rPr>
                        <a:t>with </a:t>
                      </a:r>
                      <a:r>
                        <a:rPr sz="1800" i="1" spc="10" dirty="0">
                          <a:solidFill>
                            <a:srgbClr val="003B55"/>
                          </a:solidFill>
                          <a:latin typeface="Arial"/>
                          <a:cs typeface="Arial"/>
                        </a:rPr>
                        <a:t>the </a:t>
                      </a:r>
                      <a:r>
                        <a:rPr sz="1800" i="1" dirty="0">
                          <a:solidFill>
                            <a:srgbClr val="003B55"/>
                          </a:solidFill>
                          <a:latin typeface="Arial"/>
                          <a:cs typeface="Arial"/>
                        </a:rPr>
                        <a:t>yum package</a:t>
                      </a:r>
                      <a:r>
                        <a:rPr sz="1800" i="1" spc="130" dirty="0">
                          <a:solidFill>
                            <a:srgbClr val="003B55"/>
                          </a:solidFill>
                          <a:latin typeface="Arial"/>
                          <a:cs typeface="Arial"/>
                        </a:rPr>
                        <a:t> </a:t>
                      </a:r>
                      <a:r>
                        <a:rPr sz="1800" i="1" spc="-5" dirty="0">
                          <a:solidFill>
                            <a:srgbClr val="003B55"/>
                          </a:solidFill>
                          <a:latin typeface="Arial"/>
                          <a:cs typeface="Arial"/>
                        </a:rPr>
                        <a:t>manager</a:t>
                      </a:r>
                      <a:endParaRPr sz="1800">
                        <a:latin typeface="Arial"/>
                        <a:cs typeface="Arial"/>
                      </a:endParaRPr>
                    </a:p>
                  </a:txBody>
                  <a:tcPr marL="0" marR="0" marT="26034" marB="0">
                    <a:lnL w="12700">
                      <a:solidFill>
                        <a:srgbClr val="005073"/>
                      </a:solidFill>
                      <a:prstDash val="solid"/>
                    </a:lnL>
                    <a:lnR w="12700">
                      <a:solidFill>
                        <a:srgbClr val="005073"/>
                      </a:solidFill>
                      <a:prstDash val="solid"/>
                    </a:lnR>
                    <a:lnT w="38100">
                      <a:solidFill>
                        <a:srgbClr val="005073"/>
                      </a:solidFill>
                      <a:prstDash val="solid"/>
                    </a:lnT>
                    <a:lnB w="12700">
                      <a:solidFill>
                        <a:srgbClr val="005073"/>
                      </a:solidFill>
                      <a:prstDash val="solid"/>
                    </a:lnB>
                    <a:solidFill>
                      <a:srgbClr val="CAE7F7"/>
                    </a:solidFill>
                  </a:tcPr>
                </a:tc>
                <a:extLst>
                  <a:ext uri="{0D108BD9-81ED-4DB2-BD59-A6C34878D82A}">
                    <a16:rowId xmlns:a16="http://schemas.microsoft.com/office/drawing/2014/main" val="10001"/>
                  </a:ext>
                </a:extLst>
              </a:tr>
              <a:tr h="685800">
                <a:tc>
                  <a:txBody>
                    <a:bodyPr/>
                    <a:lstStyle/>
                    <a:p>
                      <a:pPr marL="85090">
                        <a:lnSpc>
                          <a:spcPct val="100000"/>
                        </a:lnSpc>
                        <a:spcBef>
                          <a:spcPts val="145"/>
                        </a:spcBef>
                      </a:pPr>
                      <a:r>
                        <a:rPr sz="2000" spc="-5" dirty="0">
                          <a:solidFill>
                            <a:srgbClr val="003B55"/>
                          </a:solidFill>
                          <a:latin typeface="Courier New"/>
                          <a:cs typeface="Courier New"/>
                        </a:rPr>
                        <a:t>task</a:t>
                      </a:r>
                      <a:endParaRPr sz="2000">
                        <a:latin typeface="Courier New"/>
                        <a:cs typeface="Courier New"/>
                      </a:endParaRPr>
                    </a:p>
                  </a:txBody>
                  <a:tcPr marL="0" marR="0" marT="184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5725">
                        <a:lnSpc>
                          <a:spcPct val="100000"/>
                        </a:lnSpc>
                        <a:spcBef>
                          <a:spcPts val="310"/>
                        </a:spcBef>
                      </a:pPr>
                      <a:r>
                        <a:rPr sz="2000" spc="-20" dirty="0">
                          <a:solidFill>
                            <a:srgbClr val="003B55"/>
                          </a:solidFill>
                          <a:latin typeface="Arial"/>
                          <a:cs typeface="Arial"/>
                        </a:rPr>
                        <a:t>A</a:t>
                      </a:r>
                      <a:r>
                        <a:rPr sz="2000" spc="35" dirty="0">
                          <a:solidFill>
                            <a:srgbClr val="003B55"/>
                          </a:solidFill>
                          <a:latin typeface="Arial"/>
                          <a:cs typeface="Arial"/>
                        </a:rPr>
                        <a:t> </a:t>
                      </a:r>
                      <a:r>
                        <a:rPr sz="2000" spc="-10" dirty="0">
                          <a:solidFill>
                            <a:srgbClr val="003B55"/>
                          </a:solidFill>
                          <a:latin typeface="Arial"/>
                          <a:cs typeface="Arial"/>
                        </a:rPr>
                        <a:t>single</a:t>
                      </a:r>
                      <a:r>
                        <a:rPr sz="2000" spc="75" dirty="0">
                          <a:solidFill>
                            <a:srgbClr val="003B55"/>
                          </a:solidFill>
                          <a:latin typeface="Arial"/>
                          <a:cs typeface="Arial"/>
                        </a:rPr>
                        <a:t> </a:t>
                      </a:r>
                      <a:r>
                        <a:rPr sz="2000" spc="0" dirty="0">
                          <a:solidFill>
                            <a:srgbClr val="003B55"/>
                          </a:solidFill>
                          <a:latin typeface="Arial"/>
                          <a:cs typeface="Arial"/>
                        </a:rPr>
                        <a:t>action</a:t>
                      </a:r>
                      <a:r>
                        <a:rPr sz="2000" spc="35" dirty="0">
                          <a:solidFill>
                            <a:srgbClr val="003B55"/>
                          </a:solidFill>
                          <a:latin typeface="Arial"/>
                          <a:cs typeface="Arial"/>
                        </a:rPr>
                        <a:t> </a:t>
                      </a:r>
                      <a:r>
                        <a:rPr sz="2000" spc="0" dirty="0">
                          <a:solidFill>
                            <a:srgbClr val="003B55"/>
                          </a:solidFill>
                          <a:latin typeface="Arial"/>
                          <a:cs typeface="Arial"/>
                        </a:rPr>
                        <a:t>that</a:t>
                      </a:r>
                      <a:r>
                        <a:rPr sz="2000" spc="35" dirty="0">
                          <a:solidFill>
                            <a:srgbClr val="003B55"/>
                          </a:solidFill>
                          <a:latin typeface="Arial"/>
                          <a:cs typeface="Arial"/>
                        </a:rPr>
                        <a:t> </a:t>
                      </a:r>
                      <a:r>
                        <a:rPr sz="2000" spc="10" dirty="0">
                          <a:solidFill>
                            <a:srgbClr val="003B55"/>
                          </a:solidFill>
                          <a:latin typeface="Arial"/>
                          <a:cs typeface="Arial"/>
                        </a:rPr>
                        <a:t>references</a:t>
                      </a:r>
                      <a:r>
                        <a:rPr sz="2000" spc="100" dirty="0">
                          <a:solidFill>
                            <a:srgbClr val="003B55"/>
                          </a:solidFill>
                          <a:latin typeface="Arial"/>
                          <a:cs typeface="Arial"/>
                        </a:rPr>
                        <a:t> </a:t>
                      </a:r>
                      <a:r>
                        <a:rPr sz="2000" spc="-60" dirty="0">
                          <a:solidFill>
                            <a:srgbClr val="003B55"/>
                          </a:solidFill>
                          <a:latin typeface="Arial"/>
                          <a:cs typeface="Arial"/>
                        </a:rPr>
                        <a:t>a</a:t>
                      </a:r>
                      <a:r>
                        <a:rPr sz="2000" spc="35" dirty="0">
                          <a:solidFill>
                            <a:srgbClr val="003B55"/>
                          </a:solidFill>
                          <a:latin typeface="Arial"/>
                          <a:cs typeface="Arial"/>
                        </a:rPr>
                        <a:t> </a:t>
                      </a:r>
                      <a:r>
                        <a:rPr sz="2000" spc="0" dirty="0">
                          <a:solidFill>
                            <a:srgbClr val="003B55"/>
                          </a:solidFill>
                          <a:latin typeface="Arial"/>
                          <a:cs typeface="Arial"/>
                        </a:rPr>
                        <a:t>module</a:t>
                      </a:r>
                      <a:r>
                        <a:rPr sz="2000" spc="75" dirty="0">
                          <a:solidFill>
                            <a:srgbClr val="003B55"/>
                          </a:solidFill>
                          <a:latin typeface="Arial"/>
                          <a:cs typeface="Arial"/>
                        </a:rPr>
                        <a:t> </a:t>
                      </a:r>
                      <a:r>
                        <a:rPr sz="2000" spc="30" dirty="0">
                          <a:solidFill>
                            <a:srgbClr val="003B55"/>
                          </a:solidFill>
                          <a:latin typeface="Arial"/>
                          <a:cs typeface="Arial"/>
                        </a:rPr>
                        <a:t>to</a:t>
                      </a:r>
                      <a:r>
                        <a:rPr sz="2000" spc="80" dirty="0">
                          <a:solidFill>
                            <a:srgbClr val="003B55"/>
                          </a:solidFill>
                          <a:latin typeface="Arial"/>
                          <a:cs typeface="Arial"/>
                        </a:rPr>
                        <a:t> </a:t>
                      </a:r>
                      <a:r>
                        <a:rPr sz="2000" spc="-15" dirty="0">
                          <a:solidFill>
                            <a:srgbClr val="003B55"/>
                          </a:solidFill>
                          <a:latin typeface="Arial"/>
                          <a:cs typeface="Arial"/>
                        </a:rPr>
                        <a:t>run</a:t>
                      </a:r>
                      <a:r>
                        <a:rPr sz="2000" spc="60" dirty="0">
                          <a:solidFill>
                            <a:srgbClr val="003B55"/>
                          </a:solidFill>
                          <a:latin typeface="Arial"/>
                          <a:cs typeface="Arial"/>
                        </a:rPr>
                        <a:t> </a:t>
                      </a:r>
                      <a:r>
                        <a:rPr sz="2000" spc="-10" dirty="0">
                          <a:solidFill>
                            <a:srgbClr val="003B55"/>
                          </a:solidFill>
                          <a:latin typeface="Arial"/>
                          <a:cs typeface="Arial"/>
                        </a:rPr>
                        <a:t>along</a:t>
                      </a:r>
                      <a:r>
                        <a:rPr sz="2000" spc="60" dirty="0">
                          <a:solidFill>
                            <a:srgbClr val="003B55"/>
                          </a:solidFill>
                          <a:latin typeface="Arial"/>
                          <a:cs typeface="Arial"/>
                        </a:rPr>
                        <a:t> </a:t>
                      </a:r>
                      <a:r>
                        <a:rPr sz="2000" spc="15" dirty="0">
                          <a:solidFill>
                            <a:srgbClr val="003B55"/>
                          </a:solidFill>
                          <a:latin typeface="Arial"/>
                          <a:cs typeface="Arial"/>
                        </a:rPr>
                        <a:t>with</a:t>
                      </a:r>
                      <a:r>
                        <a:rPr sz="2000" spc="35" dirty="0">
                          <a:solidFill>
                            <a:srgbClr val="003B55"/>
                          </a:solidFill>
                          <a:latin typeface="Arial"/>
                          <a:cs typeface="Arial"/>
                        </a:rPr>
                        <a:t> </a:t>
                      </a:r>
                      <a:r>
                        <a:rPr sz="2000" spc="-30" dirty="0">
                          <a:solidFill>
                            <a:srgbClr val="003B55"/>
                          </a:solidFill>
                          <a:latin typeface="Arial"/>
                          <a:cs typeface="Arial"/>
                        </a:rPr>
                        <a:t>any</a:t>
                      </a:r>
                      <a:r>
                        <a:rPr sz="2000" spc="60" dirty="0">
                          <a:solidFill>
                            <a:srgbClr val="003B55"/>
                          </a:solidFill>
                          <a:latin typeface="Arial"/>
                          <a:cs typeface="Arial"/>
                        </a:rPr>
                        <a:t> </a:t>
                      </a:r>
                      <a:r>
                        <a:rPr sz="2000" dirty="0">
                          <a:solidFill>
                            <a:srgbClr val="003B55"/>
                          </a:solidFill>
                          <a:latin typeface="Arial"/>
                          <a:cs typeface="Arial"/>
                        </a:rPr>
                        <a:t>input</a:t>
                      </a:r>
                      <a:endParaRPr sz="2000">
                        <a:latin typeface="Arial"/>
                        <a:cs typeface="Arial"/>
                      </a:endParaRPr>
                    </a:p>
                    <a:p>
                      <a:pPr marL="85725">
                        <a:lnSpc>
                          <a:spcPct val="100000"/>
                        </a:lnSpc>
                      </a:pPr>
                      <a:r>
                        <a:rPr sz="2000" dirty="0">
                          <a:solidFill>
                            <a:srgbClr val="003B55"/>
                          </a:solidFill>
                          <a:latin typeface="Arial"/>
                          <a:cs typeface="Arial"/>
                        </a:rPr>
                        <a:t>arguments </a:t>
                      </a:r>
                      <a:r>
                        <a:rPr sz="2000" spc="-10" dirty="0">
                          <a:solidFill>
                            <a:srgbClr val="003B55"/>
                          </a:solidFill>
                          <a:latin typeface="Arial"/>
                          <a:cs typeface="Arial"/>
                        </a:rPr>
                        <a:t>and</a:t>
                      </a:r>
                      <a:r>
                        <a:rPr sz="2000" spc="85" dirty="0">
                          <a:solidFill>
                            <a:srgbClr val="003B55"/>
                          </a:solidFill>
                          <a:latin typeface="Arial"/>
                          <a:cs typeface="Arial"/>
                        </a:rPr>
                        <a:t> </a:t>
                      </a:r>
                      <a:r>
                        <a:rPr sz="2000" spc="0" dirty="0">
                          <a:solidFill>
                            <a:srgbClr val="003B55"/>
                          </a:solidFill>
                          <a:latin typeface="Arial"/>
                          <a:cs typeface="Arial"/>
                        </a:rPr>
                        <a:t>actions</a:t>
                      </a:r>
                      <a:endParaRPr sz="2000">
                        <a:latin typeface="Arial"/>
                        <a:cs typeface="Arial"/>
                      </a:endParaRPr>
                    </a:p>
                  </a:txBody>
                  <a:tcPr marL="0" marR="0" marT="3937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extLst>
                  <a:ext uri="{0D108BD9-81ED-4DB2-BD59-A6C34878D82A}">
                    <a16:rowId xmlns:a16="http://schemas.microsoft.com/office/drawing/2014/main" val="10002"/>
                  </a:ext>
                </a:extLst>
              </a:tr>
              <a:tr h="381000">
                <a:tc>
                  <a:txBody>
                    <a:bodyPr/>
                    <a:lstStyle/>
                    <a:p>
                      <a:pPr marL="85090">
                        <a:lnSpc>
                          <a:spcPct val="100000"/>
                        </a:lnSpc>
                        <a:spcBef>
                          <a:spcPts val="145"/>
                        </a:spcBef>
                      </a:pPr>
                      <a:r>
                        <a:rPr sz="2000" spc="-5" dirty="0">
                          <a:solidFill>
                            <a:srgbClr val="003B55"/>
                          </a:solidFill>
                          <a:latin typeface="Courier New"/>
                          <a:cs typeface="Courier New"/>
                        </a:rPr>
                        <a:t>play</a:t>
                      </a:r>
                      <a:endParaRPr sz="2000">
                        <a:latin typeface="Courier New"/>
                        <a:cs typeface="Courier New"/>
                      </a:endParaRPr>
                    </a:p>
                  </a:txBody>
                  <a:tcPr marL="0" marR="0" marT="184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tc>
                  <a:txBody>
                    <a:bodyPr/>
                    <a:lstStyle/>
                    <a:p>
                      <a:pPr marL="85725">
                        <a:lnSpc>
                          <a:spcPct val="100000"/>
                        </a:lnSpc>
                        <a:spcBef>
                          <a:spcPts val="315"/>
                        </a:spcBef>
                      </a:pPr>
                      <a:r>
                        <a:rPr sz="2000" spc="0" dirty="0">
                          <a:solidFill>
                            <a:srgbClr val="003B55"/>
                          </a:solidFill>
                          <a:latin typeface="Arial"/>
                          <a:cs typeface="Arial"/>
                        </a:rPr>
                        <a:t>Matching </a:t>
                      </a:r>
                      <a:r>
                        <a:rPr sz="2000" spc="-60" dirty="0">
                          <a:solidFill>
                            <a:srgbClr val="003B55"/>
                          </a:solidFill>
                          <a:latin typeface="Arial"/>
                          <a:cs typeface="Arial"/>
                        </a:rPr>
                        <a:t>a </a:t>
                      </a:r>
                      <a:r>
                        <a:rPr sz="2000" spc="10" dirty="0">
                          <a:solidFill>
                            <a:srgbClr val="003B55"/>
                          </a:solidFill>
                          <a:latin typeface="Arial"/>
                          <a:cs typeface="Arial"/>
                        </a:rPr>
                        <a:t>set </a:t>
                      </a:r>
                      <a:r>
                        <a:rPr sz="2000" spc="30" dirty="0">
                          <a:solidFill>
                            <a:srgbClr val="003B55"/>
                          </a:solidFill>
                          <a:latin typeface="Arial"/>
                          <a:cs typeface="Arial"/>
                        </a:rPr>
                        <a:t>of </a:t>
                      </a:r>
                      <a:r>
                        <a:rPr sz="2000" spc="-15" dirty="0">
                          <a:solidFill>
                            <a:srgbClr val="003B55"/>
                          </a:solidFill>
                          <a:latin typeface="Arial"/>
                          <a:cs typeface="Arial"/>
                        </a:rPr>
                        <a:t>tasks </a:t>
                      </a:r>
                      <a:r>
                        <a:rPr sz="2000" spc="30" dirty="0">
                          <a:solidFill>
                            <a:srgbClr val="003B55"/>
                          </a:solidFill>
                          <a:latin typeface="Arial"/>
                          <a:cs typeface="Arial"/>
                        </a:rPr>
                        <a:t>to </a:t>
                      </a:r>
                      <a:r>
                        <a:rPr sz="2000" spc="-60" dirty="0">
                          <a:solidFill>
                            <a:srgbClr val="003B55"/>
                          </a:solidFill>
                          <a:latin typeface="Arial"/>
                          <a:cs typeface="Arial"/>
                        </a:rPr>
                        <a:t>a </a:t>
                      </a:r>
                      <a:r>
                        <a:rPr sz="2000" spc="5" dirty="0">
                          <a:solidFill>
                            <a:srgbClr val="003B55"/>
                          </a:solidFill>
                          <a:latin typeface="Arial"/>
                          <a:cs typeface="Arial"/>
                        </a:rPr>
                        <a:t>host </a:t>
                      </a:r>
                      <a:r>
                        <a:rPr sz="2000" spc="15" dirty="0">
                          <a:solidFill>
                            <a:srgbClr val="003B55"/>
                          </a:solidFill>
                          <a:latin typeface="Arial"/>
                          <a:cs typeface="Arial"/>
                        </a:rPr>
                        <a:t>or </a:t>
                      </a:r>
                      <a:r>
                        <a:rPr sz="2000" spc="10" dirty="0">
                          <a:solidFill>
                            <a:srgbClr val="003B55"/>
                          </a:solidFill>
                          <a:latin typeface="Arial"/>
                          <a:cs typeface="Arial"/>
                        </a:rPr>
                        <a:t>group </a:t>
                      </a:r>
                      <a:r>
                        <a:rPr sz="2000" spc="30" dirty="0">
                          <a:solidFill>
                            <a:srgbClr val="003B55"/>
                          </a:solidFill>
                          <a:latin typeface="Arial"/>
                          <a:cs typeface="Arial"/>
                        </a:rPr>
                        <a:t>of </a:t>
                      </a:r>
                      <a:r>
                        <a:rPr sz="2000" spc="35" dirty="0">
                          <a:solidFill>
                            <a:srgbClr val="003B55"/>
                          </a:solidFill>
                          <a:latin typeface="Arial"/>
                          <a:cs typeface="Arial"/>
                        </a:rPr>
                        <a:t> </a:t>
                      </a:r>
                      <a:r>
                        <a:rPr sz="2000" spc="0" dirty="0">
                          <a:solidFill>
                            <a:srgbClr val="003B55"/>
                          </a:solidFill>
                          <a:latin typeface="Arial"/>
                          <a:cs typeface="Arial"/>
                        </a:rPr>
                        <a:t>hosts</a:t>
                      </a:r>
                      <a:endParaRPr sz="2000">
                        <a:latin typeface="Arial"/>
                        <a:cs typeface="Arial"/>
                      </a:endParaRPr>
                    </a:p>
                  </a:txBody>
                  <a:tcPr marL="0" marR="0" marT="4000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extLst>
                  <a:ext uri="{0D108BD9-81ED-4DB2-BD59-A6C34878D82A}">
                    <a16:rowId xmlns:a16="http://schemas.microsoft.com/office/drawing/2014/main" val="10003"/>
                  </a:ext>
                </a:extLst>
              </a:tr>
              <a:tr h="381000">
                <a:tc>
                  <a:txBody>
                    <a:bodyPr/>
                    <a:lstStyle/>
                    <a:p>
                      <a:pPr marL="85090">
                        <a:lnSpc>
                          <a:spcPct val="100000"/>
                        </a:lnSpc>
                        <a:spcBef>
                          <a:spcPts val="145"/>
                        </a:spcBef>
                      </a:pPr>
                      <a:r>
                        <a:rPr sz="2000" spc="-5" dirty="0">
                          <a:solidFill>
                            <a:srgbClr val="003B55"/>
                          </a:solidFill>
                          <a:latin typeface="Courier New"/>
                          <a:cs typeface="Courier New"/>
                        </a:rPr>
                        <a:t>playbook</a:t>
                      </a:r>
                      <a:endParaRPr sz="2000">
                        <a:latin typeface="Courier New"/>
                        <a:cs typeface="Courier New"/>
                      </a:endParaRPr>
                    </a:p>
                  </a:txBody>
                  <a:tcPr marL="0" marR="0" marT="1841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tc>
                  <a:txBody>
                    <a:bodyPr/>
                    <a:lstStyle/>
                    <a:p>
                      <a:pPr marL="85725">
                        <a:lnSpc>
                          <a:spcPct val="100000"/>
                        </a:lnSpc>
                        <a:spcBef>
                          <a:spcPts val="315"/>
                        </a:spcBef>
                      </a:pPr>
                      <a:r>
                        <a:rPr sz="2000" spc="-20" dirty="0">
                          <a:solidFill>
                            <a:srgbClr val="003B55"/>
                          </a:solidFill>
                          <a:latin typeface="Arial"/>
                          <a:cs typeface="Arial"/>
                        </a:rPr>
                        <a:t>A </a:t>
                      </a:r>
                      <a:r>
                        <a:rPr sz="2000" spc="-30" dirty="0">
                          <a:solidFill>
                            <a:srgbClr val="003B55"/>
                          </a:solidFill>
                          <a:latin typeface="Arial"/>
                          <a:cs typeface="Arial"/>
                        </a:rPr>
                        <a:t>YAML </a:t>
                      </a:r>
                      <a:r>
                        <a:rPr sz="2000" spc="-5" dirty="0">
                          <a:solidFill>
                            <a:srgbClr val="003B55"/>
                          </a:solidFill>
                          <a:latin typeface="Arial"/>
                          <a:cs typeface="Arial"/>
                        </a:rPr>
                        <a:t>file </a:t>
                      </a:r>
                      <a:r>
                        <a:rPr sz="2000" spc="0" dirty="0">
                          <a:solidFill>
                            <a:srgbClr val="003B55"/>
                          </a:solidFill>
                          <a:latin typeface="Arial"/>
                          <a:cs typeface="Arial"/>
                        </a:rPr>
                        <a:t>that </a:t>
                      </a:r>
                      <a:r>
                        <a:rPr sz="2000" dirty="0">
                          <a:solidFill>
                            <a:srgbClr val="003B55"/>
                          </a:solidFill>
                          <a:latin typeface="Arial"/>
                          <a:cs typeface="Arial"/>
                        </a:rPr>
                        <a:t>includes </a:t>
                      </a:r>
                      <a:r>
                        <a:rPr sz="2000" spc="10" dirty="0">
                          <a:solidFill>
                            <a:srgbClr val="003B55"/>
                          </a:solidFill>
                          <a:latin typeface="Arial"/>
                          <a:cs typeface="Arial"/>
                        </a:rPr>
                        <a:t>one </a:t>
                      </a:r>
                      <a:r>
                        <a:rPr sz="2000" spc="15" dirty="0">
                          <a:solidFill>
                            <a:srgbClr val="003B55"/>
                          </a:solidFill>
                          <a:latin typeface="Arial"/>
                          <a:cs typeface="Arial"/>
                        </a:rPr>
                        <a:t>or more</a:t>
                      </a:r>
                      <a:r>
                        <a:rPr sz="2000" spc="409" dirty="0">
                          <a:solidFill>
                            <a:srgbClr val="003B55"/>
                          </a:solidFill>
                          <a:latin typeface="Arial"/>
                          <a:cs typeface="Arial"/>
                        </a:rPr>
                        <a:t> </a:t>
                      </a:r>
                      <a:r>
                        <a:rPr sz="2000" spc="-20" dirty="0">
                          <a:solidFill>
                            <a:srgbClr val="003B55"/>
                          </a:solidFill>
                          <a:latin typeface="Arial"/>
                          <a:cs typeface="Arial"/>
                        </a:rPr>
                        <a:t>play</a:t>
                      </a:r>
                      <a:endParaRPr sz="2000">
                        <a:latin typeface="Arial"/>
                        <a:cs typeface="Arial"/>
                      </a:endParaRPr>
                    </a:p>
                  </a:txBody>
                  <a:tcPr marL="0" marR="0" marT="4000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E7F4FA"/>
                    </a:solidFill>
                  </a:tcPr>
                </a:tc>
                <a:extLst>
                  <a:ext uri="{0D108BD9-81ED-4DB2-BD59-A6C34878D82A}">
                    <a16:rowId xmlns:a16="http://schemas.microsoft.com/office/drawing/2014/main" val="10004"/>
                  </a:ext>
                </a:extLst>
              </a:tr>
              <a:tr h="1536700">
                <a:tc>
                  <a:txBody>
                    <a:bodyPr/>
                    <a:lstStyle/>
                    <a:p>
                      <a:pPr marL="85090">
                        <a:lnSpc>
                          <a:spcPct val="100000"/>
                        </a:lnSpc>
                        <a:spcBef>
                          <a:spcPts val="150"/>
                        </a:spcBef>
                      </a:pPr>
                      <a:r>
                        <a:rPr sz="2000" spc="-5" dirty="0">
                          <a:solidFill>
                            <a:srgbClr val="003B55"/>
                          </a:solidFill>
                          <a:latin typeface="Courier New"/>
                          <a:cs typeface="Courier New"/>
                        </a:rPr>
                        <a:t>role</a:t>
                      </a:r>
                      <a:endParaRPr sz="2000">
                        <a:latin typeface="Courier New"/>
                        <a:cs typeface="Courier New"/>
                      </a:endParaRPr>
                    </a:p>
                  </a:txBody>
                  <a:tcPr marL="0" marR="0" marT="19050"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tc>
                  <a:txBody>
                    <a:bodyPr/>
                    <a:lstStyle/>
                    <a:p>
                      <a:pPr marL="85725" marR="514350">
                        <a:lnSpc>
                          <a:spcPct val="100000"/>
                        </a:lnSpc>
                        <a:spcBef>
                          <a:spcPts val="315"/>
                        </a:spcBef>
                        <a:tabLst>
                          <a:tab pos="4445635" algn="l"/>
                        </a:tabLst>
                      </a:pPr>
                      <a:r>
                        <a:rPr sz="2000" spc="-20" dirty="0">
                          <a:solidFill>
                            <a:srgbClr val="003B55"/>
                          </a:solidFill>
                          <a:latin typeface="Arial"/>
                          <a:cs typeface="Arial"/>
                        </a:rPr>
                        <a:t>A </a:t>
                      </a:r>
                      <a:r>
                        <a:rPr sz="2000" spc="40" dirty="0">
                          <a:solidFill>
                            <a:srgbClr val="003B55"/>
                          </a:solidFill>
                          <a:latin typeface="Arial"/>
                          <a:cs typeface="Arial"/>
                        </a:rPr>
                        <a:t>pre-built </a:t>
                      </a:r>
                      <a:r>
                        <a:rPr sz="2000" spc="5" dirty="0">
                          <a:solidFill>
                            <a:srgbClr val="003B55"/>
                          </a:solidFill>
                          <a:latin typeface="Arial"/>
                          <a:cs typeface="Arial"/>
                        </a:rPr>
                        <a:t>set </a:t>
                      </a:r>
                      <a:r>
                        <a:rPr sz="2000" spc="30" dirty="0">
                          <a:solidFill>
                            <a:srgbClr val="003B55"/>
                          </a:solidFill>
                          <a:latin typeface="Arial"/>
                          <a:cs typeface="Arial"/>
                        </a:rPr>
                        <a:t>of </a:t>
                      </a:r>
                      <a:r>
                        <a:rPr sz="2000" spc="-5" dirty="0">
                          <a:solidFill>
                            <a:srgbClr val="003B55"/>
                          </a:solidFill>
                          <a:latin typeface="Arial"/>
                          <a:cs typeface="Arial"/>
                        </a:rPr>
                        <a:t>playbooks </a:t>
                      </a:r>
                      <a:r>
                        <a:rPr sz="2000" spc="5" dirty="0">
                          <a:solidFill>
                            <a:srgbClr val="003B55"/>
                          </a:solidFill>
                          <a:latin typeface="Arial"/>
                          <a:cs typeface="Arial"/>
                        </a:rPr>
                        <a:t>designed </a:t>
                      </a:r>
                      <a:r>
                        <a:rPr sz="2000" spc="30" dirty="0">
                          <a:solidFill>
                            <a:srgbClr val="003B55"/>
                          </a:solidFill>
                          <a:latin typeface="Arial"/>
                          <a:cs typeface="Arial"/>
                        </a:rPr>
                        <a:t>to </a:t>
                      </a:r>
                      <a:r>
                        <a:rPr sz="2000" spc="15" dirty="0">
                          <a:solidFill>
                            <a:srgbClr val="003B55"/>
                          </a:solidFill>
                          <a:latin typeface="Arial"/>
                          <a:cs typeface="Arial"/>
                        </a:rPr>
                        <a:t>perform </a:t>
                      </a:r>
                      <a:r>
                        <a:rPr sz="2000" spc="10" dirty="0">
                          <a:solidFill>
                            <a:srgbClr val="003B55"/>
                          </a:solidFill>
                          <a:latin typeface="Arial"/>
                          <a:cs typeface="Arial"/>
                        </a:rPr>
                        <a:t>some </a:t>
                      </a:r>
                      <a:r>
                        <a:rPr sz="2000" spc="-5" dirty="0">
                          <a:solidFill>
                            <a:srgbClr val="003B55"/>
                          </a:solidFill>
                          <a:latin typeface="Arial"/>
                          <a:cs typeface="Arial"/>
                        </a:rPr>
                        <a:t>standard  </a:t>
                      </a:r>
                      <a:r>
                        <a:rPr sz="2000" spc="0" dirty="0">
                          <a:solidFill>
                            <a:srgbClr val="003B55"/>
                          </a:solidFill>
                          <a:latin typeface="Arial"/>
                          <a:cs typeface="Arial"/>
                        </a:rPr>
                        <a:t>configuration </a:t>
                      </a:r>
                      <a:r>
                        <a:rPr sz="2000" spc="-25" dirty="0">
                          <a:solidFill>
                            <a:srgbClr val="003B55"/>
                          </a:solidFill>
                          <a:latin typeface="Arial"/>
                          <a:cs typeface="Arial"/>
                        </a:rPr>
                        <a:t>in </a:t>
                      </a:r>
                      <a:r>
                        <a:rPr sz="2000" spc="-60" dirty="0">
                          <a:solidFill>
                            <a:srgbClr val="003B55"/>
                          </a:solidFill>
                          <a:latin typeface="Arial"/>
                          <a:cs typeface="Arial"/>
                        </a:rPr>
                        <a:t>a</a:t>
                      </a:r>
                      <a:r>
                        <a:rPr sz="2000" spc="225" dirty="0">
                          <a:solidFill>
                            <a:srgbClr val="003B55"/>
                          </a:solidFill>
                          <a:latin typeface="Arial"/>
                          <a:cs typeface="Arial"/>
                        </a:rPr>
                        <a:t> </a:t>
                      </a:r>
                      <a:r>
                        <a:rPr sz="2000" dirty="0">
                          <a:solidFill>
                            <a:srgbClr val="003B55"/>
                          </a:solidFill>
                          <a:latin typeface="Arial"/>
                          <a:cs typeface="Arial"/>
                        </a:rPr>
                        <a:t>repeatable</a:t>
                      </a:r>
                      <a:r>
                        <a:rPr sz="2000" spc="130" dirty="0">
                          <a:solidFill>
                            <a:srgbClr val="003B55"/>
                          </a:solidFill>
                          <a:latin typeface="Arial"/>
                          <a:cs typeface="Arial"/>
                        </a:rPr>
                        <a:t> </a:t>
                      </a:r>
                      <a:r>
                        <a:rPr sz="2000" spc="-5" dirty="0">
                          <a:solidFill>
                            <a:srgbClr val="003B55"/>
                          </a:solidFill>
                          <a:latin typeface="Arial"/>
                          <a:cs typeface="Arial"/>
                        </a:rPr>
                        <a:t>fashion.	</a:t>
                      </a:r>
                      <a:r>
                        <a:rPr sz="2000" spc="-20" dirty="0">
                          <a:solidFill>
                            <a:srgbClr val="003B55"/>
                          </a:solidFill>
                          <a:latin typeface="Arial"/>
                          <a:cs typeface="Arial"/>
                        </a:rPr>
                        <a:t>A play </a:t>
                      </a:r>
                      <a:r>
                        <a:rPr sz="2000" spc="10" dirty="0">
                          <a:solidFill>
                            <a:srgbClr val="003B55"/>
                          </a:solidFill>
                          <a:latin typeface="Arial"/>
                          <a:cs typeface="Arial"/>
                        </a:rPr>
                        <a:t>could </a:t>
                      </a:r>
                      <a:r>
                        <a:rPr sz="2000" spc="-5" dirty="0">
                          <a:solidFill>
                            <a:srgbClr val="003B55"/>
                          </a:solidFill>
                          <a:latin typeface="Arial"/>
                          <a:cs typeface="Arial"/>
                        </a:rPr>
                        <a:t>leverage </a:t>
                      </a:r>
                      <a:r>
                        <a:rPr sz="2000" spc="-60" dirty="0">
                          <a:solidFill>
                            <a:srgbClr val="003B55"/>
                          </a:solidFill>
                          <a:latin typeface="Arial"/>
                          <a:cs typeface="Arial"/>
                        </a:rPr>
                        <a:t>a</a:t>
                      </a:r>
                      <a:r>
                        <a:rPr sz="2000" spc="350" dirty="0">
                          <a:solidFill>
                            <a:srgbClr val="003B55"/>
                          </a:solidFill>
                          <a:latin typeface="Arial"/>
                          <a:cs typeface="Arial"/>
                        </a:rPr>
                        <a:t> </a:t>
                      </a:r>
                      <a:r>
                        <a:rPr sz="2000" spc="5" dirty="0">
                          <a:solidFill>
                            <a:srgbClr val="003B55"/>
                          </a:solidFill>
                          <a:latin typeface="Arial"/>
                          <a:cs typeface="Arial"/>
                        </a:rPr>
                        <a:t>role</a:t>
                      </a:r>
                      <a:r>
                        <a:rPr sz="2000" spc="40" dirty="0">
                          <a:solidFill>
                            <a:srgbClr val="003B55"/>
                          </a:solidFill>
                          <a:latin typeface="Arial"/>
                          <a:cs typeface="Arial"/>
                        </a:rPr>
                        <a:t> </a:t>
                      </a:r>
                      <a:r>
                        <a:rPr sz="2000" dirty="0">
                          <a:solidFill>
                            <a:srgbClr val="003B55"/>
                          </a:solidFill>
                          <a:latin typeface="Arial"/>
                          <a:cs typeface="Arial"/>
                        </a:rPr>
                        <a:t>rather  </a:t>
                      </a:r>
                      <a:r>
                        <a:rPr sz="2000" spc="-10" dirty="0">
                          <a:solidFill>
                            <a:srgbClr val="003B55"/>
                          </a:solidFill>
                          <a:latin typeface="Arial"/>
                          <a:cs typeface="Arial"/>
                        </a:rPr>
                        <a:t>than</a:t>
                      </a:r>
                      <a:r>
                        <a:rPr sz="2000" spc="-50" dirty="0">
                          <a:solidFill>
                            <a:srgbClr val="003B55"/>
                          </a:solidFill>
                          <a:latin typeface="Arial"/>
                          <a:cs typeface="Arial"/>
                        </a:rPr>
                        <a:t> </a:t>
                      </a:r>
                      <a:r>
                        <a:rPr sz="2000" spc="-10" dirty="0">
                          <a:solidFill>
                            <a:srgbClr val="003B55"/>
                          </a:solidFill>
                          <a:latin typeface="Arial"/>
                          <a:cs typeface="Arial"/>
                        </a:rPr>
                        <a:t>tasks.</a:t>
                      </a:r>
                      <a:endParaRPr sz="2000">
                        <a:latin typeface="Arial"/>
                        <a:cs typeface="Arial"/>
                      </a:endParaRPr>
                    </a:p>
                    <a:p>
                      <a:pPr marL="85725" marR="814069">
                        <a:lnSpc>
                          <a:spcPct val="100000"/>
                        </a:lnSpc>
                        <a:spcBef>
                          <a:spcPts val="5"/>
                        </a:spcBef>
                      </a:pPr>
                      <a:r>
                        <a:rPr sz="1800" i="1" spc="-20" dirty="0">
                          <a:solidFill>
                            <a:srgbClr val="003B55"/>
                          </a:solidFill>
                          <a:latin typeface="Arial"/>
                          <a:cs typeface="Arial"/>
                        </a:rPr>
                        <a:t>Example: </a:t>
                      </a:r>
                      <a:r>
                        <a:rPr sz="1800" i="1" spc="-15" dirty="0">
                          <a:solidFill>
                            <a:srgbClr val="003B55"/>
                          </a:solidFill>
                          <a:latin typeface="Arial"/>
                          <a:cs typeface="Arial"/>
                        </a:rPr>
                        <a:t>A </a:t>
                      </a:r>
                      <a:r>
                        <a:rPr sz="1800" i="1" spc="5" dirty="0">
                          <a:solidFill>
                            <a:srgbClr val="003B55"/>
                          </a:solidFill>
                          <a:latin typeface="Arial"/>
                          <a:cs typeface="Arial"/>
                        </a:rPr>
                        <a:t>role </a:t>
                      </a:r>
                      <a:r>
                        <a:rPr sz="1800" i="1" spc="30" dirty="0">
                          <a:solidFill>
                            <a:srgbClr val="003B55"/>
                          </a:solidFill>
                          <a:latin typeface="Arial"/>
                          <a:cs typeface="Arial"/>
                        </a:rPr>
                        <a:t>to </a:t>
                      </a:r>
                      <a:r>
                        <a:rPr sz="1800" i="1" spc="5" dirty="0">
                          <a:solidFill>
                            <a:srgbClr val="003B55"/>
                          </a:solidFill>
                          <a:latin typeface="Arial"/>
                          <a:cs typeface="Arial"/>
                        </a:rPr>
                        <a:t>configure </a:t>
                      </a:r>
                      <a:r>
                        <a:rPr sz="1800" i="1" spc="-50" dirty="0">
                          <a:solidFill>
                            <a:srgbClr val="003B55"/>
                          </a:solidFill>
                          <a:latin typeface="Arial"/>
                          <a:cs typeface="Arial"/>
                        </a:rPr>
                        <a:t>a </a:t>
                      </a:r>
                      <a:r>
                        <a:rPr sz="1800" i="1" spc="50" dirty="0">
                          <a:solidFill>
                            <a:srgbClr val="003B55"/>
                          </a:solidFill>
                          <a:latin typeface="Arial"/>
                          <a:cs typeface="Arial"/>
                        </a:rPr>
                        <a:t>web </a:t>
                      </a:r>
                      <a:r>
                        <a:rPr sz="1800" i="1" spc="5" dirty="0">
                          <a:solidFill>
                            <a:srgbClr val="003B55"/>
                          </a:solidFill>
                          <a:latin typeface="Arial"/>
                          <a:cs typeface="Arial"/>
                        </a:rPr>
                        <a:t>server </a:t>
                      </a:r>
                      <a:r>
                        <a:rPr sz="1800" i="1" spc="15" dirty="0">
                          <a:solidFill>
                            <a:srgbClr val="003B55"/>
                          </a:solidFill>
                          <a:latin typeface="Arial"/>
                          <a:cs typeface="Arial"/>
                        </a:rPr>
                        <a:t>would </a:t>
                      </a:r>
                      <a:r>
                        <a:rPr sz="1800" i="1" spc="-20" dirty="0">
                          <a:solidFill>
                            <a:srgbClr val="003B55"/>
                          </a:solidFill>
                          <a:latin typeface="Arial"/>
                          <a:cs typeface="Arial"/>
                        </a:rPr>
                        <a:t>install </a:t>
                      </a:r>
                      <a:r>
                        <a:rPr sz="1800" i="1" dirty="0">
                          <a:solidFill>
                            <a:srgbClr val="003B55"/>
                          </a:solidFill>
                          <a:latin typeface="Arial"/>
                          <a:cs typeface="Arial"/>
                        </a:rPr>
                        <a:t>Apache, </a:t>
                      </a:r>
                      <a:r>
                        <a:rPr sz="1800" i="1" spc="5" dirty="0">
                          <a:solidFill>
                            <a:srgbClr val="003B55"/>
                          </a:solidFill>
                          <a:latin typeface="Arial"/>
                          <a:cs typeface="Arial"/>
                        </a:rPr>
                        <a:t>configure </a:t>
                      </a:r>
                      <a:r>
                        <a:rPr sz="1800" i="1" spc="10" dirty="0">
                          <a:solidFill>
                            <a:srgbClr val="003B55"/>
                          </a:solidFill>
                          <a:latin typeface="Arial"/>
                          <a:cs typeface="Arial"/>
                        </a:rPr>
                        <a:t>the  </a:t>
                      </a:r>
                      <a:r>
                        <a:rPr sz="1800" i="1" dirty="0">
                          <a:solidFill>
                            <a:srgbClr val="003B55"/>
                          </a:solidFill>
                          <a:latin typeface="Arial"/>
                          <a:cs typeface="Arial"/>
                        </a:rPr>
                        <a:t>firewall, </a:t>
                      </a:r>
                      <a:r>
                        <a:rPr sz="1800" i="1" spc="-10" dirty="0">
                          <a:solidFill>
                            <a:srgbClr val="003B55"/>
                          </a:solidFill>
                          <a:latin typeface="Arial"/>
                          <a:cs typeface="Arial"/>
                        </a:rPr>
                        <a:t>and </a:t>
                      </a:r>
                      <a:r>
                        <a:rPr sz="1800" i="1" spc="25" dirty="0">
                          <a:solidFill>
                            <a:srgbClr val="003B55"/>
                          </a:solidFill>
                          <a:latin typeface="Arial"/>
                          <a:cs typeface="Arial"/>
                        </a:rPr>
                        <a:t>copy </a:t>
                      </a:r>
                      <a:r>
                        <a:rPr sz="1800" i="1" dirty="0">
                          <a:solidFill>
                            <a:srgbClr val="003B55"/>
                          </a:solidFill>
                          <a:latin typeface="Arial"/>
                          <a:cs typeface="Arial"/>
                        </a:rPr>
                        <a:t>application</a:t>
                      </a:r>
                      <a:r>
                        <a:rPr sz="1800" i="1" spc="140" dirty="0">
                          <a:solidFill>
                            <a:srgbClr val="003B55"/>
                          </a:solidFill>
                          <a:latin typeface="Arial"/>
                          <a:cs typeface="Arial"/>
                        </a:rPr>
                        <a:t> </a:t>
                      </a:r>
                      <a:r>
                        <a:rPr sz="1800" i="1" dirty="0">
                          <a:solidFill>
                            <a:srgbClr val="003B55"/>
                          </a:solidFill>
                          <a:latin typeface="Arial"/>
                          <a:cs typeface="Arial"/>
                        </a:rPr>
                        <a:t>files.</a:t>
                      </a:r>
                      <a:endParaRPr sz="1800">
                        <a:latin typeface="Arial"/>
                        <a:cs typeface="Arial"/>
                      </a:endParaRPr>
                    </a:p>
                  </a:txBody>
                  <a:tcPr marL="0" marR="0" marT="40005" marB="0">
                    <a:lnL w="12700">
                      <a:solidFill>
                        <a:srgbClr val="005073"/>
                      </a:solidFill>
                      <a:prstDash val="solid"/>
                    </a:lnL>
                    <a:lnR w="12700">
                      <a:solidFill>
                        <a:srgbClr val="005073"/>
                      </a:solidFill>
                      <a:prstDash val="solid"/>
                    </a:lnR>
                    <a:lnT w="12700">
                      <a:solidFill>
                        <a:srgbClr val="005073"/>
                      </a:solidFill>
                      <a:prstDash val="solid"/>
                    </a:lnT>
                    <a:lnB w="12700">
                      <a:solidFill>
                        <a:srgbClr val="005073"/>
                      </a:solidFill>
                      <a:prstDash val="solid"/>
                    </a:lnB>
                    <a:solidFill>
                      <a:srgbClr val="CAE7F7"/>
                    </a:solidFill>
                  </a:tcPr>
                </a:tc>
                <a:extLst>
                  <a:ext uri="{0D108BD9-81ED-4DB2-BD59-A6C34878D82A}">
                    <a16:rowId xmlns:a16="http://schemas.microsoft.com/office/drawing/2014/main" val="10005"/>
                  </a:ext>
                </a:extLst>
              </a:tr>
            </a:tbl>
          </a:graphicData>
        </a:graphic>
      </p:graphicFrame>
      <p:sp>
        <p:nvSpPr>
          <p:cNvPr id="4" name="object 4"/>
          <p:cNvSpPr txBox="1">
            <a:spLocks noGrp="1"/>
          </p:cNvSpPr>
          <p:nvPr>
            <p:ph type="title"/>
          </p:nvPr>
        </p:nvSpPr>
        <p:spPr>
          <a:xfrm>
            <a:off x="662736" y="587501"/>
            <a:ext cx="3069590" cy="596265"/>
          </a:xfrm>
          <a:prstGeom prst="rect">
            <a:avLst/>
          </a:prstGeom>
        </p:spPr>
        <p:txBody>
          <a:bodyPr vert="horz" wrap="square" lIns="0" tIns="12065" rIns="0" bIns="0" rtlCol="0">
            <a:spAutoFit/>
          </a:bodyPr>
          <a:lstStyle/>
          <a:p>
            <a:pPr marL="12700">
              <a:lnSpc>
                <a:spcPct val="100000"/>
              </a:lnSpc>
              <a:spcBef>
                <a:spcPts val="95"/>
              </a:spcBef>
            </a:pPr>
            <a:r>
              <a:rPr spc="-10" dirty="0">
                <a:solidFill>
                  <a:srgbClr val="005073"/>
                </a:solidFill>
              </a:rPr>
              <a:t>Ansible</a:t>
            </a:r>
            <a:r>
              <a:rPr spc="-5" dirty="0">
                <a:solidFill>
                  <a:srgbClr val="005073"/>
                </a:solidFill>
              </a:rPr>
              <a:t> Terms</a:t>
            </a:r>
          </a:p>
        </p:txBody>
      </p:sp>
      <p:sp>
        <p:nvSpPr>
          <p:cNvPr id="5" name="object 5"/>
          <p:cNvSpPr txBox="1"/>
          <p:nvPr/>
        </p:nvSpPr>
        <p:spPr>
          <a:xfrm>
            <a:off x="5894578" y="6317691"/>
            <a:ext cx="5756910" cy="514350"/>
          </a:xfrm>
          <a:prstGeom prst="rect">
            <a:avLst/>
          </a:prstGeom>
        </p:spPr>
        <p:txBody>
          <a:bodyPr vert="horz" wrap="square" lIns="0" tIns="13335" rIns="0" bIns="0" rtlCol="0">
            <a:spAutoFit/>
          </a:bodyPr>
          <a:lstStyle/>
          <a:p>
            <a:pPr marL="854075" marR="5080" lvl="0" indent="-842010" algn="l" defTabSz="914400" rtl="0" eaLnBrk="1" fontAlgn="auto" latinLnBrk="0" hangingPunct="1">
              <a:lnSpc>
                <a:spcPct val="100000"/>
              </a:lnSpc>
              <a:spcBef>
                <a:spcPts val="105"/>
              </a:spcBef>
              <a:spcAft>
                <a:spcPts val="0"/>
              </a:spcAft>
              <a:buClrTx/>
              <a:buSzTx/>
              <a:buFontTx/>
              <a:buNone/>
              <a:tabLst/>
              <a:defRPr/>
            </a:pPr>
            <a:r>
              <a:rPr kumimoji="0" sz="1600" b="0" i="0" u="heavy" strike="noStrike" kern="1200" cap="none" spc="15" normalizeH="0" baseline="0" noProof="0" dirty="0">
                <a:ln>
                  <a:noFill/>
                </a:ln>
                <a:solidFill>
                  <a:srgbClr val="00BBEB"/>
                </a:solidFill>
                <a:effectLst/>
                <a:uLnTx/>
                <a:uFillTx/>
                <a:latin typeface="Arial"/>
                <a:ea typeface="+mn-ea"/>
                <a:cs typeface="Arial"/>
                <a:hlinkClick r:id="rId2"/>
              </a:rPr>
              <a:t>http://docs.ansible.com/ansible/latest/list_of_all_modules.htm</a:t>
            </a:r>
            <a:r>
              <a:rPr kumimoji="0" sz="1600" b="0" i="0" u="none" strike="noStrike" kern="1200" cap="none" spc="15" normalizeH="0" baseline="0" noProof="0" dirty="0">
                <a:ln>
                  <a:noFill/>
                </a:ln>
                <a:solidFill>
                  <a:srgbClr val="00BBEB"/>
                </a:solidFill>
                <a:effectLst/>
                <a:uLnTx/>
                <a:uFillTx/>
                <a:latin typeface="Arial"/>
                <a:ea typeface="+mn-ea"/>
                <a:cs typeface="Arial"/>
              </a:rPr>
              <a:t>l  </a:t>
            </a:r>
            <a:r>
              <a:rPr kumimoji="0" sz="1600" b="0" i="0" u="heavy" strike="noStrike" kern="1200" cap="none" spc="10" normalizeH="0" baseline="0" noProof="0" dirty="0">
                <a:ln>
                  <a:noFill/>
                </a:ln>
                <a:solidFill>
                  <a:srgbClr val="00BBEB"/>
                </a:solidFill>
                <a:effectLst/>
                <a:uLnTx/>
                <a:uFillTx/>
                <a:latin typeface="Arial"/>
                <a:ea typeface="+mn-ea"/>
                <a:cs typeface="Arial"/>
                <a:hlinkClick r:id="rId3"/>
              </a:rPr>
              <a:t>http://docs.ansible.com/ansible/latest/playbooks.html</a:t>
            </a:r>
            <a:endParaRPr kumimoji="0" sz="16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9498581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74903" y="1449323"/>
            <a:ext cx="5022850" cy="4086225"/>
          </a:xfrm>
          <a:prstGeom prst="rect">
            <a:avLst/>
          </a:prstGeom>
        </p:spPr>
        <p:txBody>
          <a:bodyPr vert="horz" wrap="square" lIns="0" tIns="186690" rIns="0" bIns="0" rtlCol="0">
            <a:spAutoFit/>
          </a:bodyPr>
          <a:lstStyle/>
          <a:p>
            <a:pPr marL="167640" marR="0" lvl="0" indent="-154940" algn="l" defTabSz="914400" rtl="0" eaLnBrk="1" fontAlgn="auto" latinLnBrk="0" hangingPunct="1">
              <a:lnSpc>
                <a:spcPct val="100000"/>
              </a:lnSpc>
              <a:spcBef>
                <a:spcPts val="1470"/>
              </a:spcBef>
              <a:spcAft>
                <a:spcPts val="0"/>
              </a:spcAft>
              <a:buClrTx/>
              <a:buSzPct val="58333"/>
              <a:buFontTx/>
              <a:buChar char="•"/>
              <a:tabLst>
                <a:tab pos="168275" algn="l"/>
              </a:tabLst>
              <a:defRPr/>
            </a:pPr>
            <a:r>
              <a:rPr kumimoji="0" sz="2400" b="0" i="0" u="none" strike="noStrike" kern="1200" cap="none" spc="10" normalizeH="0" baseline="0" noProof="0" dirty="0">
                <a:ln>
                  <a:noFill/>
                </a:ln>
                <a:solidFill>
                  <a:srgbClr val="282828"/>
                </a:solidFill>
                <a:effectLst/>
                <a:uLnTx/>
                <a:uFillTx/>
                <a:latin typeface="Arial"/>
                <a:ea typeface="+mn-ea"/>
                <a:cs typeface="Arial"/>
              </a:rPr>
              <a:t>Written </a:t>
            </a:r>
            <a:r>
              <a:rPr kumimoji="0" sz="2400" b="0" i="0" u="none" strike="noStrike" kern="1200" cap="none" spc="-25" normalizeH="0" baseline="0" noProof="0" dirty="0">
                <a:ln>
                  <a:noFill/>
                </a:ln>
                <a:solidFill>
                  <a:srgbClr val="282828"/>
                </a:solidFill>
                <a:effectLst/>
                <a:uLnTx/>
                <a:uFillTx/>
                <a:latin typeface="Arial"/>
                <a:ea typeface="+mn-ea"/>
                <a:cs typeface="Arial"/>
              </a:rPr>
              <a:t>in</a:t>
            </a:r>
            <a:r>
              <a:rPr kumimoji="0" sz="2400" b="0" i="0" u="none" strike="noStrike" kern="1200" cap="none" spc="30" normalizeH="0" baseline="0" noProof="0" dirty="0">
                <a:ln>
                  <a:noFill/>
                </a:ln>
                <a:solidFill>
                  <a:srgbClr val="282828"/>
                </a:solidFill>
                <a:effectLst/>
                <a:uLnTx/>
                <a:uFillTx/>
                <a:latin typeface="Arial"/>
                <a:ea typeface="+mn-ea"/>
                <a:cs typeface="Arial"/>
              </a:rPr>
              <a:t> </a:t>
            </a:r>
            <a:r>
              <a:rPr kumimoji="0" sz="2400" b="0" i="0" u="none" strike="noStrike" kern="1200" cap="none" spc="-35" normalizeH="0" baseline="0" noProof="0" dirty="0">
                <a:ln>
                  <a:noFill/>
                </a:ln>
                <a:solidFill>
                  <a:srgbClr val="282828"/>
                </a:solidFill>
                <a:effectLst/>
                <a:uLnTx/>
                <a:uFillTx/>
                <a:latin typeface="Arial"/>
                <a:ea typeface="+mn-ea"/>
                <a:cs typeface="Arial"/>
              </a:rPr>
              <a:t>YAML</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614680" lvl="0" indent="-154940" algn="l" defTabSz="914400" rtl="0" eaLnBrk="1" fontAlgn="auto" latinLnBrk="0" hangingPunct="1">
              <a:lnSpc>
                <a:spcPts val="2740"/>
              </a:lnSpc>
              <a:spcBef>
                <a:spcPts val="1575"/>
              </a:spcBef>
              <a:spcAft>
                <a:spcPts val="0"/>
              </a:spcAft>
              <a:buClr>
                <a:srgbClr val="282828"/>
              </a:buClr>
              <a:buSzPct val="58333"/>
              <a:buFontTx/>
              <a:buChar char="•"/>
              <a:tabLst>
                <a:tab pos="168275" algn="l"/>
              </a:tabLst>
              <a:defRPr/>
            </a:pPr>
            <a:r>
              <a:rPr kumimoji="0" sz="2400" b="0" i="0" u="none" strike="noStrike" kern="1200" cap="none" spc="-15" normalizeH="0" baseline="0" noProof="0" dirty="0">
                <a:ln>
                  <a:noFill/>
                </a:ln>
                <a:solidFill>
                  <a:srgbClr val="00BBEB"/>
                </a:solidFill>
                <a:effectLst/>
                <a:uLnTx/>
                <a:uFillTx/>
                <a:latin typeface="Arial"/>
                <a:ea typeface="+mn-ea"/>
                <a:cs typeface="Arial"/>
              </a:rPr>
              <a:t>One </a:t>
            </a:r>
            <a:r>
              <a:rPr kumimoji="0" sz="2400" b="0" i="0" u="none" strike="noStrike" kern="1200" cap="none" spc="15" normalizeH="0" baseline="0" noProof="0" dirty="0">
                <a:ln>
                  <a:noFill/>
                </a:ln>
                <a:solidFill>
                  <a:srgbClr val="00BBEB"/>
                </a:solidFill>
                <a:effectLst/>
                <a:uLnTx/>
                <a:uFillTx/>
                <a:latin typeface="Arial"/>
                <a:ea typeface="+mn-ea"/>
                <a:cs typeface="Arial"/>
              </a:rPr>
              <a:t>or </a:t>
            </a:r>
            <a:r>
              <a:rPr kumimoji="0" sz="2400" b="0" i="0" u="none" strike="noStrike" kern="1200" cap="none" spc="25" normalizeH="0" baseline="0" noProof="0" dirty="0">
                <a:ln>
                  <a:noFill/>
                </a:ln>
                <a:solidFill>
                  <a:srgbClr val="00BBEB"/>
                </a:solidFill>
                <a:effectLst/>
                <a:uLnTx/>
                <a:uFillTx/>
                <a:latin typeface="Arial"/>
                <a:ea typeface="+mn-ea"/>
                <a:cs typeface="Arial"/>
              </a:rPr>
              <a:t>more </a:t>
            </a:r>
            <a:r>
              <a:rPr kumimoji="0" sz="2400" b="0" i="0" u="none" strike="noStrike" kern="1200" cap="none" spc="-15" normalizeH="0" baseline="0" noProof="0" dirty="0">
                <a:ln>
                  <a:noFill/>
                </a:ln>
                <a:solidFill>
                  <a:srgbClr val="00BBEB"/>
                </a:solidFill>
                <a:effectLst/>
                <a:uLnTx/>
                <a:uFillTx/>
                <a:latin typeface="Arial"/>
                <a:ea typeface="+mn-ea"/>
                <a:cs typeface="Arial"/>
              </a:rPr>
              <a:t>plays </a:t>
            </a:r>
            <a:r>
              <a:rPr kumimoji="0" sz="2400" b="0" i="0" u="none" strike="noStrike" kern="1200" cap="none" spc="0" normalizeH="0" baseline="0" noProof="0" dirty="0">
                <a:ln>
                  <a:noFill/>
                </a:ln>
                <a:solidFill>
                  <a:srgbClr val="00BBEB"/>
                </a:solidFill>
                <a:effectLst/>
                <a:uLnTx/>
                <a:uFillTx/>
                <a:latin typeface="Arial"/>
                <a:ea typeface="+mn-ea"/>
                <a:cs typeface="Arial"/>
              </a:rPr>
              <a:t>that contain  </a:t>
            </a:r>
            <a:r>
              <a:rPr kumimoji="0" sz="2400" b="0" i="0" u="none" strike="noStrike" kern="1200" cap="none" spc="5" normalizeH="0" baseline="0" noProof="0" dirty="0">
                <a:ln>
                  <a:noFill/>
                </a:ln>
                <a:solidFill>
                  <a:srgbClr val="00BBEB"/>
                </a:solidFill>
                <a:effectLst/>
                <a:uLnTx/>
                <a:uFillTx/>
                <a:latin typeface="Arial"/>
                <a:ea typeface="+mn-ea"/>
                <a:cs typeface="Arial"/>
              </a:rPr>
              <a:t>hosts </a:t>
            </a:r>
            <a:r>
              <a:rPr kumimoji="0" sz="2400" b="0" i="0" u="none" strike="noStrike" kern="1200" cap="none" spc="-10" normalizeH="0" baseline="0" noProof="0" dirty="0">
                <a:ln>
                  <a:noFill/>
                </a:ln>
                <a:solidFill>
                  <a:srgbClr val="00BBEB"/>
                </a:solidFill>
                <a:effectLst/>
                <a:uLnTx/>
                <a:uFillTx/>
                <a:latin typeface="Arial"/>
                <a:ea typeface="+mn-ea"/>
                <a:cs typeface="Arial"/>
              </a:rPr>
              <a:t>and</a:t>
            </a:r>
            <a:r>
              <a:rPr kumimoji="0" sz="2400" b="0" i="0" u="none" strike="noStrike" kern="1200" cap="none" spc="40" normalizeH="0" baseline="0" noProof="0" dirty="0">
                <a:ln>
                  <a:noFill/>
                </a:ln>
                <a:solidFill>
                  <a:srgbClr val="00BBEB"/>
                </a:solidFill>
                <a:effectLst/>
                <a:uLnTx/>
                <a:uFillTx/>
                <a:latin typeface="Arial"/>
                <a:ea typeface="+mn-ea"/>
                <a:cs typeface="Arial"/>
              </a:rPr>
              <a:t> </a:t>
            </a:r>
            <a:r>
              <a:rPr kumimoji="0" sz="2400" b="0" i="0" u="none" strike="noStrike" kern="1200" cap="none" spc="-15" normalizeH="0" baseline="0" noProof="0" dirty="0">
                <a:ln>
                  <a:noFill/>
                </a:ln>
                <a:solidFill>
                  <a:srgbClr val="00BBEB"/>
                </a:solidFill>
                <a:effectLst/>
                <a:uLnTx/>
                <a:uFillTx/>
                <a:latin typeface="Arial"/>
                <a:ea typeface="+mn-ea"/>
                <a:cs typeface="Arial"/>
              </a:rPr>
              <a:t>tasks</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275"/>
              </a:spcBef>
              <a:spcAft>
                <a:spcPts val="0"/>
              </a:spcAft>
              <a:buClr>
                <a:srgbClr val="282828"/>
              </a:buClr>
              <a:buSzPct val="58333"/>
              <a:buFontTx/>
              <a:buChar char="•"/>
              <a:tabLst>
                <a:tab pos="168275" algn="l"/>
              </a:tabLst>
              <a:defRPr/>
            </a:pPr>
            <a:r>
              <a:rPr kumimoji="0" sz="2400" b="0" i="0" u="none" strike="noStrike" kern="1200" cap="none" spc="-40" normalizeH="0" baseline="0" noProof="0" dirty="0">
                <a:ln>
                  <a:noFill/>
                </a:ln>
                <a:solidFill>
                  <a:srgbClr val="FAAB17"/>
                </a:solidFill>
                <a:effectLst/>
                <a:uLnTx/>
                <a:uFillTx/>
                <a:latin typeface="Arial"/>
                <a:ea typeface="+mn-ea"/>
                <a:cs typeface="Arial"/>
              </a:rPr>
              <a:t>Tasks </a:t>
            </a:r>
            <a:r>
              <a:rPr kumimoji="0" sz="2400" b="0" i="0" u="none" strike="noStrike" kern="1200" cap="none" spc="-15" normalizeH="0" baseline="0" noProof="0" dirty="0">
                <a:ln>
                  <a:noFill/>
                </a:ln>
                <a:solidFill>
                  <a:srgbClr val="FAAB17"/>
                </a:solidFill>
                <a:effectLst/>
                <a:uLnTx/>
                <a:uFillTx/>
                <a:latin typeface="Arial"/>
                <a:ea typeface="+mn-ea"/>
                <a:cs typeface="Arial"/>
              </a:rPr>
              <a:t>have </a:t>
            </a:r>
            <a:r>
              <a:rPr kumimoji="0" sz="2400" b="0" i="0" u="none" strike="noStrike" kern="1200" cap="none" spc="-70" normalizeH="0" baseline="0" noProof="0" dirty="0">
                <a:ln>
                  <a:noFill/>
                </a:ln>
                <a:solidFill>
                  <a:srgbClr val="FAAB17"/>
                </a:solidFill>
                <a:effectLst/>
                <a:uLnTx/>
                <a:uFillTx/>
                <a:latin typeface="Arial"/>
                <a:ea typeface="+mn-ea"/>
                <a:cs typeface="Arial"/>
              </a:rPr>
              <a:t>a </a:t>
            </a:r>
            <a:r>
              <a:rPr kumimoji="0" sz="2400" b="0" i="0" u="none" strike="noStrike" kern="1200" cap="none" spc="0" normalizeH="0" baseline="0" noProof="0" dirty="0">
                <a:ln>
                  <a:noFill/>
                </a:ln>
                <a:solidFill>
                  <a:srgbClr val="FAAB17"/>
                </a:solidFill>
                <a:effectLst/>
                <a:uLnTx/>
                <a:uFillTx/>
                <a:latin typeface="Arial"/>
                <a:ea typeface="+mn-ea"/>
                <a:cs typeface="Arial"/>
              </a:rPr>
              <a:t>name </a:t>
            </a:r>
            <a:r>
              <a:rPr kumimoji="0" sz="2400" b="0" i="0" u="none" strike="noStrike" kern="1200" cap="none" spc="-95" normalizeH="0" baseline="0" noProof="0" dirty="0">
                <a:ln>
                  <a:noFill/>
                </a:ln>
                <a:solidFill>
                  <a:srgbClr val="FAAB17"/>
                </a:solidFill>
                <a:effectLst/>
                <a:uLnTx/>
                <a:uFillTx/>
                <a:latin typeface="Arial"/>
                <a:ea typeface="+mn-ea"/>
                <a:cs typeface="Arial"/>
              </a:rPr>
              <a:t>&amp; </a:t>
            </a:r>
            <a:r>
              <a:rPr kumimoji="0" sz="2400" b="0" i="0" u="none" strike="noStrike" kern="1200" cap="none" spc="10" normalizeH="0" baseline="0" noProof="0" dirty="0">
                <a:ln>
                  <a:noFill/>
                </a:ln>
                <a:solidFill>
                  <a:srgbClr val="FAAB17"/>
                </a:solidFill>
                <a:effectLst/>
                <a:uLnTx/>
                <a:uFillTx/>
                <a:latin typeface="Arial"/>
                <a:ea typeface="+mn-ea"/>
                <a:cs typeface="Arial"/>
              </a:rPr>
              <a:t>module</a:t>
            </a:r>
            <a:r>
              <a:rPr kumimoji="0" sz="2400" b="0" i="0" u="none" strike="noStrike" kern="1200" cap="none" spc="515" normalizeH="0" baseline="0" noProof="0" dirty="0">
                <a:ln>
                  <a:noFill/>
                </a:ln>
                <a:solidFill>
                  <a:srgbClr val="FAAB17"/>
                </a:solidFill>
                <a:effectLst/>
                <a:uLnTx/>
                <a:uFillTx/>
                <a:latin typeface="Arial"/>
                <a:ea typeface="+mn-ea"/>
                <a:cs typeface="Arial"/>
              </a:rPr>
              <a:t> </a:t>
            </a:r>
            <a:r>
              <a:rPr kumimoji="0" sz="2400" b="0" i="0" u="none" strike="noStrike" kern="1200" cap="none" spc="0" normalizeH="0" baseline="0" noProof="0" dirty="0">
                <a:ln>
                  <a:noFill/>
                </a:ln>
                <a:solidFill>
                  <a:srgbClr val="FAAB17"/>
                </a:solidFill>
                <a:effectLst/>
                <a:uLnTx/>
                <a:uFillTx/>
                <a:latin typeface="Arial"/>
                <a:ea typeface="+mn-ea"/>
                <a:cs typeface="Arial"/>
              </a:rPr>
              <a:t>keys.</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70"/>
              </a:spcBef>
              <a:spcAft>
                <a:spcPts val="0"/>
              </a:spcAft>
              <a:buClr>
                <a:srgbClr val="282828"/>
              </a:buClr>
              <a:buSzPct val="60416"/>
              <a:buFontTx/>
              <a:buChar char="•"/>
              <a:tabLst>
                <a:tab pos="168275" algn="l"/>
              </a:tabLst>
              <a:defRPr/>
            </a:pPr>
            <a:r>
              <a:rPr kumimoji="0" sz="2400" b="0" i="0" u="none" strike="noStrike" kern="1200" cap="none" spc="5" normalizeH="0" baseline="0" noProof="0" dirty="0">
                <a:ln>
                  <a:noFill/>
                </a:ln>
                <a:solidFill>
                  <a:srgbClr val="E2231B"/>
                </a:solidFill>
                <a:effectLst/>
                <a:uLnTx/>
                <a:uFillTx/>
                <a:latin typeface="Arial"/>
                <a:ea typeface="+mn-ea"/>
                <a:cs typeface="Arial"/>
              </a:rPr>
              <a:t>Modules </a:t>
            </a:r>
            <a:r>
              <a:rPr kumimoji="0" sz="2400" b="0" i="0" u="none" strike="noStrike" kern="1200" cap="none" spc="-15" normalizeH="0" baseline="0" noProof="0" dirty="0">
                <a:ln>
                  <a:noFill/>
                </a:ln>
                <a:solidFill>
                  <a:srgbClr val="E2231B"/>
                </a:solidFill>
                <a:effectLst/>
                <a:uLnTx/>
                <a:uFillTx/>
                <a:latin typeface="Arial"/>
                <a:ea typeface="+mn-ea"/>
                <a:cs typeface="Arial"/>
              </a:rPr>
              <a:t>have</a:t>
            </a:r>
            <a:r>
              <a:rPr kumimoji="0" sz="2400" b="0" i="0" u="none" strike="noStrike" kern="1200" cap="none" spc="40" normalizeH="0" baseline="0" noProof="0" dirty="0">
                <a:ln>
                  <a:noFill/>
                </a:ln>
                <a:solidFill>
                  <a:srgbClr val="E2231B"/>
                </a:solidFill>
                <a:effectLst/>
                <a:uLnTx/>
                <a:uFillTx/>
                <a:latin typeface="Arial"/>
                <a:ea typeface="+mn-ea"/>
                <a:cs typeface="Arial"/>
              </a:rPr>
              <a:t> </a:t>
            </a:r>
            <a:r>
              <a:rPr kumimoji="0" sz="2400" b="0" i="0" u="none" strike="noStrike" kern="1200" cap="none" spc="5" normalizeH="0" baseline="0" noProof="0" dirty="0">
                <a:ln>
                  <a:noFill/>
                </a:ln>
                <a:solidFill>
                  <a:srgbClr val="E2231B"/>
                </a:solidFill>
                <a:effectLst/>
                <a:uLnTx/>
                <a:uFillTx/>
                <a:latin typeface="Arial"/>
                <a:ea typeface="+mn-ea"/>
                <a:cs typeface="Arial"/>
              </a:rPr>
              <a:t>parameters</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40"/>
              </a:spcBef>
              <a:spcAft>
                <a:spcPts val="0"/>
              </a:spcAft>
              <a:buClr>
                <a:srgbClr val="282828"/>
              </a:buClr>
              <a:buSzPct val="60416"/>
              <a:buFontTx/>
              <a:buChar char="•"/>
              <a:tabLst>
                <a:tab pos="168275" algn="l"/>
              </a:tabLst>
              <a:defRPr/>
            </a:pPr>
            <a:r>
              <a:rPr kumimoji="0" sz="2400" b="0" i="0" u="none" strike="noStrike" kern="1200" cap="none" spc="-20" normalizeH="0" baseline="0" noProof="0" dirty="0">
                <a:ln>
                  <a:noFill/>
                </a:ln>
                <a:solidFill>
                  <a:srgbClr val="6DBD49"/>
                </a:solidFill>
                <a:effectLst/>
                <a:uLnTx/>
                <a:uFillTx/>
                <a:latin typeface="Arial"/>
                <a:ea typeface="+mn-ea"/>
                <a:cs typeface="Arial"/>
              </a:rPr>
              <a:t>Variables </a:t>
            </a:r>
            <a:r>
              <a:rPr kumimoji="0" sz="2400" b="0" i="0" u="none" strike="noStrike" kern="1200" cap="none" spc="30" normalizeH="0" baseline="0" noProof="0" dirty="0">
                <a:ln>
                  <a:noFill/>
                </a:ln>
                <a:solidFill>
                  <a:srgbClr val="6DBD49"/>
                </a:solidFill>
                <a:effectLst/>
                <a:uLnTx/>
                <a:uFillTx/>
                <a:latin typeface="Arial"/>
                <a:ea typeface="+mn-ea"/>
                <a:cs typeface="Arial"/>
              </a:rPr>
              <a:t>referenced </a:t>
            </a:r>
            <a:r>
              <a:rPr kumimoji="0" sz="2400" b="0" i="0" u="none" strike="noStrike" kern="1200" cap="none" spc="25" normalizeH="0" baseline="0" noProof="0" dirty="0">
                <a:ln>
                  <a:noFill/>
                </a:ln>
                <a:solidFill>
                  <a:srgbClr val="6DBD49"/>
                </a:solidFill>
                <a:effectLst/>
                <a:uLnTx/>
                <a:uFillTx/>
                <a:latin typeface="Arial"/>
                <a:ea typeface="+mn-ea"/>
                <a:cs typeface="Arial"/>
              </a:rPr>
              <a:t>with</a:t>
            </a:r>
            <a:r>
              <a:rPr kumimoji="0" sz="2400" b="0" i="0" u="none" strike="noStrike" kern="1200" cap="none" spc="75" normalizeH="0" baseline="0" noProof="0" dirty="0">
                <a:ln>
                  <a:noFill/>
                </a:ln>
                <a:solidFill>
                  <a:srgbClr val="6DBD49"/>
                </a:solidFill>
                <a:effectLst/>
                <a:uLnTx/>
                <a:uFillTx/>
                <a:latin typeface="Arial"/>
                <a:ea typeface="+mn-ea"/>
                <a:cs typeface="Arial"/>
              </a:rPr>
              <a:t> </a:t>
            </a:r>
            <a:r>
              <a:rPr kumimoji="0" sz="2400" b="0" i="0" u="none" strike="noStrike" kern="1200" cap="none" spc="0" normalizeH="0" baseline="0" noProof="0" dirty="0">
                <a:ln>
                  <a:noFill/>
                </a:ln>
                <a:solidFill>
                  <a:srgbClr val="6DBD49"/>
                </a:solidFill>
                <a:effectLst/>
                <a:uLnTx/>
                <a:uFillTx/>
                <a:latin typeface="Arial"/>
                <a:ea typeface="+mn-ea"/>
                <a:cs typeface="Arial"/>
              </a:rPr>
              <a:t>{{name}}</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70"/>
              </a:spcBef>
              <a:spcAft>
                <a:spcPts val="0"/>
              </a:spcAft>
              <a:buClrTx/>
              <a:buSzPct val="60000"/>
              <a:buFont typeface="Arial"/>
              <a:buChar char="•"/>
              <a:tabLst>
                <a:tab pos="320675" algn="l"/>
              </a:tabLst>
              <a:defRPr/>
            </a:pPr>
            <a:r>
              <a:rPr kumimoji="0" sz="2000" b="0" i="0" u="none" strike="noStrike" kern="1200" cap="none" spc="25" normalizeH="0" baseline="0" noProof="0" dirty="0">
                <a:ln>
                  <a:noFill/>
                </a:ln>
                <a:solidFill>
                  <a:srgbClr val="282828"/>
                </a:solidFill>
                <a:effectLst/>
                <a:uLnTx/>
                <a:uFillTx/>
                <a:latin typeface="Tahoma"/>
                <a:ea typeface="+mn-ea"/>
                <a:cs typeface="Tahoma"/>
              </a:rPr>
              <a:t>Ansible </a:t>
            </a:r>
            <a:r>
              <a:rPr kumimoji="0" sz="2000" b="0" i="0" u="none" strike="noStrike" kern="1200" cap="none" spc="5" normalizeH="0" baseline="0" noProof="0" dirty="0">
                <a:ln>
                  <a:noFill/>
                </a:ln>
                <a:solidFill>
                  <a:srgbClr val="282828"/>
                </a:solidFill>
                <a:effectLst/>
                <a:uLnTx/>
                <a:uFillTx/>
                <a:latin typeface="Tahoma"/>
                <a:ea typeface="+mn-ea"/>
                <a:cs typeface="Tahoma"/>
              </a:rPr>
              <a:t>gathers</a:t>
            </a:r>
            <a:r>
              <a:rPr kumimoji="0" sz="2000" b="0" i="0" u="none" strike="noStrike" kern="1200" cap="none" spc="-45" normalizeH="0" baseline="0" noProof="0" dirty="0">
                <a:ln>
                  <a:noFill/>
                </a:ln>
                <a:solidFill>
                  <a:srgbClr val="282828"/>
                </a:solidFill>
                <a:effectLst/>
                <a:uLnTx/>
                <a:uFillTx/>
                <a:latin typeface="Tahoma"/>
                <a:ea typeface="+mn-ea"/>
                <a:cs typeface="Tahoma"/>
              </a:rPr>
              <a:t> </a:t>
            </a:r>
            <a:r>
              <a:rPr kumimoji="0" sz="2000" b="0" i="0" u="none" strike="noStrike" kern="1200" cap="none" spc="25" normalizeH="0" baseline="0" noProof="0" dirty="0">
                <a:ln>
                  <a:noFill/>
                </a:ln>
                <a:solidFill>
                  <a:srgbClr val="282828"/>
                </a:solidFill>
                <a:effectLst/>
                <a:uLnTx/>
                <a:uFillTx/>
                <a:latin typeface="Tahoma"/>
                <a:ea typeface="+mn-ea"/>
                <a:cs typeface="Tahoma"/>
              </a:rPr>
              <a:t>“facts”</a:t>
            </a:r>
            <a:endParaRPr kumimoji="0" sz="2000" b="0" i="0" u="none" strike="noStrike" kern="1200" cap="none" spc="0" normalizeH="0" baseline="0" noProof="0">
              <a:ln>
                <a:noFill/>
              </a:ln>
              <a:solidFill>
                <a:prstClr val="black"/>
              </a:solidFill>
              <a:effectLst/>
              <a:uLnTx/>
              <a:uFillTx/>
              <a:latin typeface="Tahoma"/>
              <a:ea typeface="+mn-ea"/>
              <a:cs typeface="Tahoma"/>
            </a:endParaRPr>
          </a:p>
          <a:p>
            <a:pPr marL="320040" marR="0" lvl="1" indent="-152400" algn="l" defTabSz="914400" rtl="0" eaLnBrk="1" fontAlgn="auto" latinLnBrk="0" hangingPunct="1">
              <a:lnSpc>
                <a:spcPct val="100000"/>
              </a:lnSpc>
              <a:spcBef>
                <a:spcPts val="310"/>
              </a:spcBef>
              <a:spcAft>
                <a:spcPts val="0"/>
              </a:spcAft>
              <a:buClrTx/>
              <a:buSzPct val="60000"/>
              <a:buFontTx/>
              <a:buChar char="•"/>
              <a:tabLst>
                <a:tab pos="320675" algn="l"/>
              </a:tabLst>
              <a:defRPr/>
            </a:pPr>
            <a:r>
              <a:rPr kumimoji="0" sz="2000" b="0" i="0" u="none" strike="noStrike" kern="1200" cap="none" spc="0" normalizeH="0" baseline="0" noProof="0" dirty="0">
                <a:ln>
                  <a:noFill/>
                </a:ln>
                <a:solidFill>
                  <a:srgbClr val="282828"/>
                </a:solidFill>
                <a:effectLst/>
                <a:uLnTx/>
                <a:uFillTx/>
                <a:latin typeface="Arial"/>
                <a:ea typeface="+mn-ea"/>
                <a:cs typeface="Arial"/>
              </a:rPr>
              <a:t>Create </a:t>
            </a:r>
            <a:r>
              <a:rPr kumimoji="0" sz="2000" b="0" i="0" u="none" strike="noStrike" kern="1200" cap="none" spc="-5" normalizeH="0" baseline="0" noProof="0" dirty="0">
                <a:ln>
                  <a:noFill/>
                </a:ln>
                <a:solidFill>
                  <a:srgbClr val="282828"/>
                </a:solidFill>
                <a:effectLst/>
                <a:uLnTx/>
                <a:uFillTx/>
                <a:latin typeface="Arial"/>
                <a:ea typeface="+mn-ea"/>
                <a:cs typeface="Arial"/>
              </a:rPr>
              <a:t>your </a:t>
            </a:r>
            <a:r>
              <a:rPr kumimoji="0" sz="2000" b="0" i="0" u="none" strike="noStrike" kern="1200" cap="none" spc="30" normalizeH="0" baseline="0" noProof="0" dirty="0">
                <a:ln>
                  <a:noFill/>
                </a:ln>
                <a:solidFill>
                  <a:srgbClr val="282828"/>
                </a:solidFill>
                <a:effectLst/>
                <a:uLnTx/>
                <a:uFillTx/>
                <a:latin typeface="Arial"/>
                <a:ea typeface="+mn-ea"/>
                <a:cs typeface="Arial"/>
              </a:rPr>
              <a:t>own </a:t>
            </a:r>
            <a:r>
              <a:rPr kumimoji="0" sz="2000" b="0" i="0" u="none" strike="noStrike" kern="1200" cap="none" spc="10" normalizeH="0" baseline="0" noProof="0" dirty="0">
                <a:ln>
                  <a:noFill/>
                </a:ln>
                <a:solidFill>
                  <a:srgbClr val="282828"/>
                </a:solidFill>
                <a:effectLst/>
                <a:uLnTx/>
                <a:uFillTx/>
                <a:latin typeface="Arial"/>
                <a:ea typeface="+mn-ea"/>
                <a:cs typeface="Arial"/>
              </a:rPr>
              <a:t>by</a:t>
            </a:r>
            <a:r>
              <a:rPr kumimoji="0" sz="2000" b="0" i="0" u="none" strike="noStrike" kern="1200" cap="none" spc="210" normalizeH="0" baseline="0" noProof="0" dirty="0">
                <a:ln>
                  <a:noFill/>
                </a:ln>
                <a:solidFill>
                  <a:srgbClr val="282828"/>
                </a:solidFill>
                <a:effectLst/>
                <a:uLnTx/>
                <a:uFillTx/>
                <a:latin typeface="Arial"/>
                <a:ea typeface="+mn-ea"/>
                <a:cs typeface="Arial"/>
              </a:rPr>
              <a:t> </a:t>
            </a:r>
            <a:r>
              <a:rPr kumimoji="0" sz="2000" b="0" i="0" u="none" strike="noStrike" kern="1200" cap="none" spc="25" normalizeH="0" baseline="0" noProof="0" dirty="0">
                <a:ln>
                  <a:noFill/>
                </a:ln>
                <a:solidFill>
                  <a:srgbClr val="282828"/>
                </a:solidFill>
                <a:effectLst/>
                <a:uLnTx/>
                <a:uFillTx/>
                <a:latin typeface="Courier New"/>
                <a:ea typeface="+mn-ea"/>
                <a:cs typeface="Courier New"/>
              </a:rPr>
              <a:t>register</a:t>
            </a:r>
            <a:r>
              <a:rPr kumimoji="0" sz="2000" b="0" i="0" u="none" strike="noStrike" kern="1200" cap="none" spc="25" normalizeH="0" baseline="0" noProof="0" dirty="0">
                <a:ln>
                  <a:noFill/>
                </a:ln>
                <a:solidFill>
                  <a:srgbClr val="282828"/>
                </a:solidFill>
                <a:effectLst/>
                <a:uLnTx/>
                <a:uFillTx/>
                <a:latin typeface="Arial"/>
                <a:ea typeface="+mn-ea"/>
                <a:cs typeface="Arial"/>
              </a:rPr>
              <a:t>-ing</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320040" marR="0" lvl="0" indent="0" algn="l" defTabSz="914400" rtl="0" eaLnBrk="1" fontAlgn="auto" latinLnBrk="0" hangingPunct="1">
              <a:lnSpc>
                <a:spcPct val="100000"/>
              </a:lnSpc>
              <a:spcBef>
                <a:spcPts val="50"/>
              </a:spcBef>
              <a:spcAft>
                <a:spcPts val="0"/>
              </a:spcAft>
              <a:buClrTx/>
              <a:buSzTx/>
              <a:buFontTx/>
              <a:buNone/>
              <a:tabLst/>
              <a:defRPr/>
            </a:pPr>
            <a:r>
              <a:rPr kumimoji="0" sz="2000" b="0" i="0" u="none" strike="noStrike" kern="1200" cap="none" spc="5" normalizeH="0" baseline="0" noProof="0" dirty="0">
                <a:ln>
                  <a:noFill/>
                </a:ln>
                <a:solidFill>
                  <a:srgbClr val="282828"/>
                </a:solidFill>
                <a:effectLst/>
                <a:uLnTx/>
                <a:uFillTx/>
                <a:latin typeface="Arial"/>
                <a:ea typeface="+mn-ea"/>
                <a:cs typeface="Arial"/>
              </a:rPr>
              <a:t>output </a:t>
            </a:r>
            <a:r>
              <a:rPr kumimoji="0" sz="2000" b="0" i="0" u="none" strike="noStrike" kern="1200" cap="none" spc="25" normalizeH="0" baseline="0" noProof="0" dirty="0">
                <a:ln>
                  <a:noFill/>
                </a:ln>
                <a:solidFill>
                  <a:srgbClr val="282828"/>
                </a:solidFill>
                <a:effectLst/>
                <a:uLnTx/>
                <a:uFillTx/>
                <a:latin typeface="Arial"/>
                <a:ea typeface="+mn-ea"/>
                <a:cs typeface="Arial"/>
              </a:rPr>
              <a:t>from </a:t>
            </a:r>
            <a:r>
              <a:rPr kumimoji="0" sz="2000" b="0" i="0" u="none" strike="noStrike" kern="1200" cap="none" spc="0" normalizeH="0" baseline="0" noProof="0" dirty="0">
                <a:ln>
                  <a:noFill/>
                </a:ln>
                <a:solidFill>
                  <a:srgbClr val="282828"/>
                </a:solidFill>
                <a:effectLst/>
                <a:uLnTx/>
                <a:uFillTx/>
                <a:latin typeface="Arial"/>
                <a:ea typeface="+mn-ea"/>
                <a:cs typeface="Arial"/>
              </a:rPr>
              <a:t>another</a:t>
            </a:r>
            <a:r>
              <a:rPr kumimoji="0" sz="2000" b="0" i="0" u="none" strike="noStrike" kern="1200" cap="none" spc="135" normalizeH="0" baseline="0" noProof="0" dirty="0">
                <a:ln>
                  <a:noFill/>
                </a:ln>
                <a:solidFill>
                  <a:srgbClr val="282828"/>
                </a:solidFill>
                <a:effectLst/>
                <a:uLnTx/>
                <a:uFillTx/>
                <a:latin typeface="Arial"/>
                <a:ea typeface="+mn-ea"/>
                <a:cs typeface="Arial"/>
              </a:rPr>
              <a:t> </a:t>
            </a:r>
            <a:r>
              <a:rPr kumimoji="0" sz="2000" b="0" i="0" u="none" strike="noStrike" kern="1200" cap="none" spc="-15" normalizeH="0" baseline="0" noProof="0" dirty="0">
                <a:ln>
                  <a:noFill/>
                </a:ln>
                <a:solidFill>
                  <a:srgbClr val="282828"/>
                </a:solidFill>
                <a:effectLst/>
                <a:uLnTx/>
                <a:uFillTx/>
                <a:latin typeface="Arial"/>
                <a:ea typeface="+mn-ea"/>
                <a:cs typeface="Arial"/>
              </a:rPr>
              <a:t>task</a:t>
            </a:r>
            <a:endParaRPr kumimoji="0" sz="20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a:spLocks noGrp="1"/>
          </p:cNvSpPr>
          <p:nvPr>
            <p:ph type="title"/>
          </p:nvPr>
        </p:nvSpPr>
        <p:spPr>
          <a:xfrm>
            <a:off x="662736" y="587501"/>
            <a:ext cx="3892550" cy="596265"/>
          </a:xfrm>
          <a:prstGeom prst="rect">
            <a:avLst/>
          </a:prstGeom>
        </p:spPr>
        <p:txBody>
          <a:bodyPr vert="horz" wrap="square" lIns="0" tIns="12065" rIns="0" bIns="0" rtlCol="0">
            <a:spAutoFit/>
          </a:bodyPr>
          <a:lstStyle/>
          <a:p>
            <a:pPr marL="12700">
              <a:lnSpc>
                <a:spcPct val="100000"/>
              </a:lnSpc>
              <a:spcBef>
                <a:spcPts val="95"/>
              </a:spcBef>
            </a:pPr>
            <a:r>
              <a:rPr spc="-10" dirty="0">
                <a:solidFill>
                  <a:srgbClr val="005073"/>
                </a:solidFill>
              </a:rPr>
              <a:t>Ansible</a:t>
            </a:r>
            <a:r>
              <a:rPr spc="-15" dirty="0">
                <a:solidFill>
                  <a:srgbClr val="005073"/>
                </a:solidFill>
              </a:rPr>
              <a:t> </a:t>
            </a:r>
            <a:r>
              <a:rPr spc="-25" dirty="0">
                <a:solidFill>
                  <a:srgbClr val="005073"/>
                </a:solidFill>
              </a:rPr>
              <a:t>Playbooks</a:t>
            </a:r>
          </a:p>
        </p:txBody>
      </p:sp>
      <p:sp>
        <p:nvSpPr>
          <p:cNvPr id="4" name="object 4"/>
          <p:cNvSpPr/>
          <p:nvPr/>
        </p:nvSpPr>
        <p:spPr>
          <a:xfrm>
            <a:off x="6434328" y="1011936"/>
            <a:ext cx="4940808" cy="5282184"/>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txBox="1"/>
          <p:nvPr/>
        </p:nvSpPr>
        <p:spPr>
          <a:xfrm>
            <a:off x="6948296" y="6586219"/>
            <a:ext cx="4691380" cy="23812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srgbClr val="00BBEB"/>
                </a:solidFill>
                <a:effectLst/>
                <a:uLnTx/>
                <a:uFillTx/>
                <a:latin typeface="Arial"/>
                <a:ea typeface="+mn-ea"/>
                <a:cs typeface="Arial"/>
              </a:rPr>
              <a:t>netprog_basics/netdevops/ansible_part_1/example1.yaml</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6" name="object 6"/>
          <p:cNvSpPr/>
          <p:nvPr/>
        </p:nvSpPr>
        <p:spPr>
          <a:xfrm>
            <a:off x="6161532" y="1330452"/>
            <a:ext cx="155575" cy="1892935"/>
          </a:xfrm>
          <a:custGeom>
            <a:avLst/>
            <a:gdLst/>
            <a:ahLst/>
            <a:cxnLst/>
            <a:rect l="l" t="t" r="r" b="b"/>
            <a:pathLst>
              <a:path w="155575" h="1892935">
                <a:moveTo>
                  <a:pt x="155447" y="1892808"/>
                </a:moveTo>
                <a:lnTo>
                  <a:pt x="94940" y="1891784"/>
                </a:lnTo>
                <a:lnTo>
                  <a:pt x="45529" y="1888998"/>
                </a:lnTo>
                <a:lnTo>
                  <a:pt x="12215" y="1884878"/>
                </a:lnTo>
                <a:lnTo>
                  <a:pt x="0" y="1879853"/>
                </a:lnTo>
                <a:lnTo>
                  <a:pt x="0" y="12953"/>
                </a:lnTo>
                <a:lnTo>
                  <a:pt x="12215" y="7929"/>
                </a:lnTo>
                <a:lnTo>
                  <a:pt x="45529" y="3810"/>
                </a:lnTo>
                <a:lnTo>
                  <a:pt x="94940" y="1023"/>
                </a:lnTo>
                <a:lnTo>
                  <a:pt x="155447" y="0"/>
                </a:lnTo>
              </a:path>
            </a:pathLst>
          </a:custGeom>
          <a:ln w="39624">
            <a:solidFill>
              <a:srgbClr val="00BAE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6435852" y="1223772"/>
            <a:ext cx="5221605" cy="466725"/>
          </a:xfrm>
          <a:custGeom>
            <a:avLst/>
            <a:gdLst/>
            <a:ahLst/>
            <a:cxnLst/>
            <a:rect l="l" t="t" r="r" b="b"/>
            <a:pathLst>
              <a:path w="5221605" h="466725">
                <a:moveTo>
                  <a:pt x="0" y="466343"/>
                </a:moveTo>
                <a:lnTo>
                  <a:pt x="5221224" y="466343"/>
                </a:lnTo>
                <a:lnTo>
                  <a:pt x="5221224" y="0"/>
                </a:lnTo>
                <a:lnTo>
                  <a:pt x="0" y="0"/>
                </a:lnTo>
                <a:lnTo>
                  <a:pt x="0" y="466343"/>
                </a:lnTo>
                <a:close/>
              </a:path>
            </a:pathLst>
          </a:custGeom>
          <a:ln w="39624">
            <a:solidFill>
              <a:srgbClr val="00BBE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6396228" y="1976627"/>
            <a:ext cx="146685" cy="1137285"/>
          </a:xfrm>
          <a:custGeom>
            <a:avLst/>
            <a:gdLst/>
            <a:ahLst/>
            <a:cxnLst/>
            <a:rect l="l" t="t" r="r" b="b"/>
            <a:pathLst>
              <a:path w="146684" h="1137285">
                <a:moveTo>
                  <a:pt x="146303" y="1136904"/>
                </a:moveTo>
                <a:lnTo>
                  <a:pt x="89368" y="1135945"/>
                </a:lnTo>
                <a:lnTo>
                  <a:pt x="42862" y="1133332"/>
                </a:lnTo>
                <a:lnTo>
                  <a:pt x="11501" y="1129456"/>
                </a:lnTo>
                <a:lnTo>
                  <a:pt x="0" y="1124712"/>
                </a:lnTo>
                <a:lnTo>
                  <a:pt x="0" y="12192"/>
                </a:lnTo>
                <a:lnTo>
                  <a:pt x="11501" y="7447"/>
                </a:lnTo>
                <a:lnTo>
                  <a:pt x="42862" y="3571"/>
                </a:lnTo>
                <a:lnTo>
                  <a:pt x="89368" y="958"/>
                </a:lnTo>
                <a:lnTo>
                  <a:pt x="146303" y="0"/>
                </a:lnTo>
              </a:path>
            </a:pathLst>
          </a:custGeom>
          <a:ln w="39624">
            <a:solidFill>
              <a:srgbClr val="00BAE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6825995" y="4418076"/>
            <a:ext cx="4831080" cy="454659"/>
          </a:xfrm>
          <a:custGeom>
            <a:avLst/>
            <a:gdLst/>
            <a:ahLst/>
            <a:cxnLst/>
            <a:rect l="l" t="t" r="r" b="b"/>
            <a:pathLst>
              <a:path w="4831080" h="454660">
                <a:moveTo>
                  <a:pt x="0" y="454151"/>
                </a:moveTo>
                <a:lnTo>
                  <a:pt x="4831080" y="454151"/>
                </a:lnTo>
                <a:lnTo>
                  <a:pt x="4831080" y="0"/>
                </a:lnTo>
                <a:lnTo>
                  <a:pt x="0" y="0"/>
                </a:lnTo>
                <a:lnTo>
                  <a:pt x="0" y="454151"/>
                </a:lnTo>
                <a:close/>
              </a:path>
            </a:pathLst>
          </a:custGeom>
          <a:ln w="39624">
            <a:solidFill>
              <a:srgbClr val="FAAB1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6914388" y="2302764"/>
            <a:ext cx="4742815" cy="451484"/>
          </a:xfrm>
          <a:custGeom>
            <a:avLst/>
            <a:gdLst/>
            <a:ahLst/>
            <a:cxnLst/>
            <a:rect l="l" t="t" r="r" b="b"/>
            <a:pathLst>
              <a:path w="4742815" h="451485">
                <a:moveTo>
                  <a:pt x="0" y="451103"/>
                </a:moveTo>
                <a:lnTo>
                  <a:pt x="4742688" y="451103"/>
                </a:lnTo>
                <a:lnTo>
                  <a:pt x="4742688" y="0"/>
                </a:lnTo>
                <a:lnTo>
                  <a:pt x="0" y="0"/>
                </a:lnTo>
                <a:lnTo>
                  <a:pt x="0" y="451103"/>
                </a:lnTo>
                <a:close/>
              </a:path>
            </a:pathLst>
          </a:custGeom>
          <a:ln w="39624">
            <a:solidFill>
              <a:srgbClr val="E2231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8057388" y="3101339"/>
            <a:ext cx="2359660" cy="323215"/>
          </a:xfrm>
          <a:custGeom>
            <a:avLst/>
            <a:gdLst/>
            <a:ahLst/>
            <a:cxnLst/>
            <a:rect l="l" t="t" r="r" b="b"/>
            <a:pathLst>
              <a:path w="2359659" h="323214">
                <a:moveTo>
                  <a:pt x="0" y="323088"/>
                </a:moveTo>
                <a:lnTo>
                  <a:pt x="2359152" y="323088"/>
                </a:lnTo>
                <a:lnTo>
                  <a:pt x="2359152" y="0"/>
                </a:lnTo>
                <a:lnTo>
                  <a:pt x="0" y="0"/>
                </a:lnTo>
                <a:lnTo>
                  <a:pt x="0" y="323088"/>
                </a:lnTo>
                <a:close/>
              </a:path>
            </a:pathLst>
          </a:custGeom>
          <a:ln w="39624">
            <a:solidFill>
              <a:srgbClr val="6DBD4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7618476" y="6048755"/>
            <a:ext cx="1640205" cy="323215"/>
          </a:xfrm>
          <a:custGeom>
            <a:avLst/>
            <a:gdLst/>
            <a:ahLst/>
            <a:cxnLst/>
            <a:rect l="l" t="t" r="r" b="b"/>
            <a:pathLst>
              <a:path w="1640204" h="323214">
                <a:moveTo>
                  <a:pt x="0" y="323088"/>
                </a:moveTo>
                <a:lnTo>
                  <a:pt x="1639824" y="323088"/>
                </a:lnTo>
                <a:lnTo>
                  <a:pt x="1639824" y="0"/>
                </a:lnTo>
                <a:lnTo>
                  <a:pt x="0" y="0"/>
                </a:lnTo>
                <a:lnTo>
                  <a:pt x="0" y="323088"/>
                </a:lnTo>
                <a:close/>
              </a:path>
            </a:pathLst>
          </a:custGeom>
          <a:ln w="39624">
            <a:solidFill>
              <a:srgbClr val="6DBD4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7027164" y="5430011"/>
            <a:ext cx="1637030" cy="323215"/>
          </a:xfrm>
          <a:custGeom>
            <a:avLst/>
            <a:gdLst/>
            <a:ahLst/>
            <a:cxnLst/>
            <a:rect l="l" t="t" r="r" b="b"/>
            <a:pathLst>
              <a:path w="1637029" h="323214">
                <a:moveTo>
                  <a:pt x="0" y="323088"/>
                </a:moveTo>
                <a:lnTo>
                  <a:pt x="1636776" y="323088"/>
                </a:lnTo>
                <a:lnTo>
                  <a:pt x="1636776" y="0"/>
                </a:lnTo>
                <a:lnTo>
                  <a:pt x="0" y="0"/>
                </a:lnTo>
                <a:lnTo>
                  <a:pt x="0" y="323088"/>
                </a:lnTo>
                <a:close/>
              </a:path>
            </a:pathLst>
          </a:custGeom>
          <a:ln w="39624">
            <a:solidFill>
              <a:srgbClr val="6DBD4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6167628" y="3604259"/>
            <a:ext cx="116205" cy="2691765"/>
          </a:xfrm>
          <a:custGeom>
            <a:avLst/>
            <a:gdLst/>
            <a:ahLst/>
            <a:cxnLst/>
            <a:rect l="l" t="t" r="r" b="b"/>
            <a:pathLst>
              <a:path w="116204" h="2691765">
                <a:moveTo>
                  <a:pt x="115824" y="2691384"/>
                </a:moveTo>
                <a:lnTo>
                  <a:pt x="70723" y="2690625"/>
                </a:lnTo>
                <a:lnTo>
                  <a:pt x="33909" y="2688558"/>
                </a:lnTo>
                <a:lnTo>
                  <a:pt x="9096" y="2685490"/>
                </a:lnTo>
                <a:lnTo>
                  <a:pt x="0" y="2681732"/>
                </a:lnTo>
                <a:lnTo>
                  <a:pt x="0" y="9651"/>
                </a:lnTo>
                <a:lnTo>
                  <a:pt x="9096" y="5893"/>
                </a:lnTo>
                <a:lnTo>
                  <a:pt x="33909" y="2825"/>
                </a:lnTo>
                <a:lnTo>
                  <a:pt x="70723" y="758"/>
                </a:lnTo>
                <a:lnTo>
                  <a:pt x="115824" y="0"/>
                </a:lnTo>
              </a:path>
            </a:pathLst>
          </a:custGeom>
          <a:ln w="39624">
            <a:solidFill>
              <a:srgbClr val="00BAE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6402323" y="4250435"/>
            <a:ext cx="140335" cy="1941830"/>
          </a:xfrm>
          <a:custGeom>
            <a:avLst/>
            <a:gdLst/>
            <a:ahLst/>
            <a:cxnLst/>
            <a:rect l="l" t="t" r="r" b="b"/>
            <a:pathLst>
              <a:path w="140334" h="1941829">
                <a:moveTo>
                  <a:pt x="140207" y="1941576"/>
                </a:moveTo>
                <a:lnTo>
                  <a:pt x="85617" y="1940657"/>
                </a:lnTo>
                <a:lnTo>
                  <a:pt x="41052" y="1938153"/>
                </a:lnTo>
                <a:lnTo>
                  <a:pt x="11013" y="1934439"/>
                </a:lnTo>
                <a:lnTo>
                  <a:pt x="0" y="1929891"/>
                </a:lnTo>
                <a:lnTo>
                  <a:pt x="0" y="11683"/>
                </a:lnTo>
                <a:lnTo>
                  <a:pt x="11013" y="7125"/>
                </a:lnTo>
                <a:lnTo>
                  <a:pt x="41052" y="3413"/>
                </a:lnTo>
                <a:lnTo>
                  <a:pt x="85617" y="914"/>
                </a:lnTo>
                <a:lnTo>
                  <a:pt x="140207" y="0"/>
                </a:lnTo>
              </a:path>
            </a:pathLst>
          </a:custGeom>
          <a:ln w="39623">
            <a:solidFill>
              <a:srgbClr val="00BAE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txBox="1"/>
          <p:nvPr/>
        </p:nvSpPr>
        <p:spPr>
          <a:xfrm>
            <a:off x="662736" y="6021730"/>
            <a:ext cx="4487545" cy="480059"/>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heavy" strike="noStrike" kern="1200" cap="none" spc="0" normalizeH="0" baseline="0" noProof="0" dirty="0">
                <a:ln>
                  <a:noFill/>
                </a:ln>
                <a:solidFill>
                  <a:srgbClr val="00BBEB"/>
                </a:solidFill>
                <a:effectLst/>
                <a:uLnTx/>
                <a:uFillTx/>
                <a:latin typeface="Arial"/>
                <a:ea typeface="+mn-ea"/>
                <a:cs typeface="Arial"/>
                <a:hlinkClick r:id="rId3"/>
              </a:rPr>
              <a:t>http://docs.ansible.com/ansible/latest/YAMLSyntax.html</a:t>
            </a:r>
            <a:endParaRPr kumimoji="0" sz="1400" b="0" i="0" u="none" strike="noStrike" kern="1200" cap="none" spc="0" normalizeH="0" baseline="0" noProof="0" dirty="0">
              <a:ln>
                <a:noFill/>
              </a:ln>
              <a:solidFill>
                <a:prstClr val="black"/>
              </a:solidFill>
              <a:effectLst/>
              <a:uLnTx/>
              <a:uFillTx/>
              <a:latin typeface="Arial"/>
              <a:ea typeface="+mn-ea"/>
              <a:cs typeface="Arial"/>
            </a:endParaRPr>
          </a:p>
          <a:p>
            <a:pPr marL="56515" marR="0" lvl="0" indent="0" algn="l" defTabSz="914400" rtl="0" eaLnBrk="1" fontAlgn="auto" latinLnBrk="0" hangingPunct="1">
              <a:lnSpc>
                <a:spcPct val="100000"/>
              </a:lnSpc>
              <a:spcBef>
                <a:spcPts val="94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8369110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p:nvPr/>
        </p:nvSpPr>
        <p:spPr>
          <a:xfrm>
            <a:off x="615695" y="786383"/>
            <a:ext cx="11036935" cy="5560060"/>
          </a:xfrm>
          <a:custGeom>
            <a:avLst/>
            <a:gdLst/>
            <a:ahLst/>
            <a:cxnLst/>
            <a:rect l="l" t="t" r="r" b="b"/>
            <a:pathLst>
              <a:path w="11036935" h="5560060">
                <a:moveTo>
                  <a:pt x="0" y="5559552"/>
                </a:moveTo>
                <a:lnTo>
                  <a:pt x="11036808" y="5559552"/>
                </a:lnTo>
                <a:lnTo>
                  <a:pt x="11036808" y="0"/>
                </a:lnTo>
                <a:lnTo>
                  <a:pt x="0" y="0"/>
                </a:lnTo>
                <a:lnTo>
                  <a:pt x="0" y="5559552"/>
                </a:lnTo>
                <a:close/>
              </a:path>
            </a:pathLst>
          </a:custGeom>
          <a:solidFill>
            <a:srgbClr val="28282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771550" y="795655"/>
            <a:ext cx="9601835" cy="3684904"/>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DevNet$ ansible-playbook </a:t>
            </a:r>
            <a:r>
              <a:rPr kumimoji="0" sz="1200" b="0" i="0" u="none" strike="noStrike" kern="1200" cap="none" spc="0" normalizeH="0" baseline="0" noProof="0" dirty="0">
                <a:ln>
                  <a:noFill/>
                </a:ln>
                <a:solidFill>
                  <a:srgbClr val="FFFFFF"/>
                </a:solidFill>
                <a:effectLst/>
                <a:uLnTx/>
                <a:uFillTx/>
                <a:latin typeface="Courier New"/>
                <a:ea typeface="+mn-ea"/>
                <a:cs typeface="Courier New"/>
              </a:rPr>
              <a:t>-u root</a:t>
            </a:r>
            <a:r>
              <a:rPr kumimoji="0" sz="1200" b="0" i="0" u="none" strike="noStrike" kern="1200" cap="none" spc="100" normalizeH="0" baseline="0" noProof="0" dirty="0">
                <a:ln>
                  <a:noFill/>
                </a:ln>
                <a:solidFill>
                  <a:srgbClr val="FFFFFF"/>
                </a:solidFill>
                <a:effectLst/>
                <a:uLnTx/>
                <a:uFillTx/>
                <a:latin typeface="Courier New"/>
                <a:ea typeface="+mn-ea"/>
                <a:cs typeface="Courier New"/>
              </a:rPr>
              <a:t> </a:t>
            </a:r>
            <a:r>
              <a:rPr kumimoji="0" sz="1200" b="0" i="0" u="none" strike="noStrike" kern="1200" cap="none" spc="-5" normalizeH="0" baseline="0" noProof="0" dirty="0">
                <a:ln>
                  <a:noFill/>
                </a:ln>
                <a:solidFill>
                  <a:srgbClr val="FFFFFF"/>
                </a:solidFill>
                <a:effectLst/>
                <a:uLnTx/>
                <a:uFillTx/>
                <a:latin typeface="Courier New"/>
                <a:ea typeface="+mn-ea"/>
                <a:cs typeface="Courier New"/>
              </a:rPr>
              <a:t>example1.yaml</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3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ts val="1405"/>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PLAY </a:t>
            </a:r>
            <a:r>
              <a:rPr kumimoji="0" sz="1200" b="0" i="0" u="none" strike="noStrike" kern="1200" cap="none" spc="0" normalizeH="0" baseline="0" noProof="0" dirty="0">
                <a:ln>
                  <a:noFill/>
                </a:ln>
                <a:solidFill>
                  <a:srgbClr val="FFFFFF"/>
                </a:solidFill>
                <a:effectLst/>
                <a:uLnTx/>
                <a:uFillTx/>
                <a:latin typeface="Courier New"/>
                <a:ea typeface="+mn-ea"/>
                <a:cs typeface="Courier New"/>
              </a:rPr>
              <a:t>[Report </a:t>
            </a:r>
            <a:r>
              <a:rPr kumimoji="0" sz="1200" b="0" i="0" u="none" strike="noStrike" kern="1200" cap="none" spc="-5" normalizeH="0" baseline="0" noProof="0" dirty="0">
                <a:ln>
                  <a:noFill/>
                </a:ln>
                <a:solidFill>
                  <a:srgbClr val="FFFFFF"/>
                </a:solidFill>
                <a:effectLst/>
                <a:uLnTx/>
                <a:uFillTx/>
                <a:latin typeface="Courier New"/>
                <a:ea typeface="+mn-ea"/>
                <a:cs typeface="Courier New"/>
              </a:rPr>
              <a:t>Hostname and </a:t>
            </a:r>
            <a:r>
              <a:rPr kumimoji="0" sz="1200" b="0" i="0" u="none" strike="noStrike" kern="1200" cap="none" spc="0" normalizeH="0" baseline="0" noProof="0" dirty="0">
                <a:ln>
                  <a:noFill/>
                </a:ln>
                <a:solidFill>
                  <a:srgbClr val="FFFFFF"/>
                </a:solidFill>
                <a:effectLst/>
                <a:uLnTx/>
                <a:uFillTx/>
                <a:latin typeface="Courier New"/>
                <a:ea typeface="+mn-ea"/>
                <a:cs typeface="Courier New"/>
              </a:rPr>
              <a:t>Operating System</a:t>
            </a:r>
            <a:r>
              <a:rPr kumimoji="0" sz="1200" b="0" i="0" u="none" strike="noStrike" kern="1200" cap="none" spc="80" normalizeH="0" baseline="0" noProof="0" dirty="0">
                <a:ln>
                  <a:noFill/>
                </a:ln>
                <a:solidFill>
                  <a:srgbClr val="FFFFFF"/>
                </a:solidFill>
                <a:effectLst/>
                <a:uLnTx/>
                <a:uFillTx/>
                <a:latin typeface="Courier New"/>
                <a:ea typeface="+mn-ea"/>
                <a:cs typeface="Courier New"/>
              </a:rPr>
              <a:t> </a:t>
            </a:r>
            <a:r>
              <a:rPr kumimoji="0" sz="1200" b="0" i="0" u="none" strike="noStrike" kern="1200" cap="none" spc="0" normalizeH="0" baseline="0" noProof="0" dirty="0">
                <a:ln>
                  <a:noFill/>
                </a:ln>
                <a:solidFill>
                  <a:srgbClr val="FFFFFF"/>
                </a:solidFill>
                <a:effectLst/>
                <a:uLnTx/>
                <a:uFillTx/>
                <a:latin typeface="Courier New"/>
                <a:ea typeface="+mn-ea"/>
                <a:cs typeface="Courier New"/>
              </a:rPr>
              <a:t>Details]</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838835" lvl="0" indent="0" algn="l" defTabSz="914400" rtl="0" eaLnBrk="1" fontAlgn="auto" latinLnBrk="0" hangingPunct="1">
              <a:lnSpc>
                <a:spcPts val="1370"/>
              </a:lnSpc>
              <a:spcBef>
                <a:spcPts val="65"/>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  TASK [Gathering</a:t>
            </a:r>
            <a:r>
              <a:rPr kumimoji="0" sz="1200" b="0" i="0" u="none" strike="noStrike" kern="1200" cap="none" spc="0" normalizeH="0" baseline="0" noProof="0" dirty="0">
                <a:ln>
                  <a:noFill/>
                </a:ln>
                <a:solidFill>
                  <a:srgbClr val="FFFFFF"/>
                </a:solidFill>
                <a:effectLst/>
                <a:uLnTx/>
                <a:uFillTx/>
                <a:latin typeface="Courier New"/>
                <a:ea typeface="+mn-ea"/>
                <a:cs typeface="Courier New"/>
              </a:rPr>
              <a:t> </a:t>
            </a:r>
            <a:r>
              <a:rPr kumimoji="0" sz="1200" b="0" i="0" u="none" strike="noStrike" kern="1200" cap="none" spc="-5" normalizeH="0" baseline="0" noProof="0" dirty="0">
                <a:ln>
                  <a:noFill/>
                </a:ln>
                <a:solidFill>
                  <a:srgbClr val="FFFFFF"/>
                </a:solidFill>
                <a:effectLst/>
                <a:uLnTx/>
                <a:uFillTx/>
                <a:latin typeface="Courier New"/>
                <a:ea typeface="+mn-ea"/>
                <a:cs typeface="Courier New"/>
              </a:rPr>
              <a:t>Facts]</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300"/>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405"/>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ok:</a:t>
            </a:r>
            <a:r>
              <a:rPr kumimoji="0" sz="1200" b="0" i="0" u="none" strike="noStrike" kern="1200" cap="none" spc="-65" normalizeH="0" baseline="0" noProof="0" dirty="0">
                <a:ln>
                  <a:noFill/>
                </a:ln>
                <a:solidFill>
                  <a:srgbClr val="FFFFFF"/>
                </a:solidFill>
                <a:effectLst/>
                <a:uLnTx/>
                <a:uFillTx/>
                <a:latin typeface="Courier New"/>
                <a:ea typeface="+mn-ea"/>
                <a:cs typeface="Courier New"/>
              </a:rPr>
              <a:t> </a:t>
            </a:r>
            <a:r>
              <a:rPr kumimoji="0" sz="1200" b="0" i="0" u="none" strike="noStrike" kern="1200" cap="none" spc="0" normalizeH="0" baseline="0" noProof="0" dirty="0">
                <a:ln>
                  <a:noFill/>
                </a:ln>
                <a:solidFill>
                  <a:srgbClr val="FFFFFF"/>
                </a:solidFill>
                <a:effectLst/>
                <a:uLnTx/>
                <a:uFillTx/>
                <a:latin typeface="Courier New"/>
                <a:ea typeface="+mn-ea"/>
                <a:cs typeface="Courier New"/>
              </a:rPr>
              <a:t>[10.10.20.20]</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3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ts val="1405"/>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TASK </a:t>
            </a:r>
            <a:r>
              <a:rPr kumimoji="0" sz="1200" b="0" i="0" u="none" strike="noStrike" kern="1200" cap="none" spc="0" normalizeH="0" baseline="0" noProof="0" dirty="0">
                <a:ln>
                  <a:noFill/>
                </a:ln>
                <a:solidFill>
                  <a:srgbClr val="FFFFFF"/>
                </a:solidFill>
                <a:effectLst/>
                <a:uLnTx/>
                <a:uFillTx/>
                <a:latin typeface="Courier New"/>
                <a:ea typeface="+mn-ea"/>
                <a:cs typeface="Courier New"/>
              </a:rPr>
              <a:t>[Get hostname from</a:t>
            </a:r>
            <a:r>
              <a:rPr kumimoji="0" sz="1200" b="0" i="0" u="none" strike="noStrike" kern="1200" cap="none" spc="-50" normalizeH="0" baseline="0" noProof="0" dirty="0">
                <a:ln>
                  <a:noFill/>
                </a:ln>
                <a:solidFill>
                  <a:srgbClr val="FFFFFF"/>
                </a:solidFill>
                <a:effectLst/>
                <a:uLnTx/>
                <a:uFillTx/>
                <a:latin typeface="Courier New"/>
                <a:ea typeface="+mn-ea"/>
                <a:cs typeface="Courier New"/>
              </a:rPr>
              <a:t> </a:t>
            </a:r>
            <a:r>
              <a:rPr kumimoji="0" sz="1200" b="0" i="0" u="none" strike="noStrike" kern="1200" cap="none" spc="-5" normalizeH="0" baseline="0" noProof="0" dirty="0">
                <a:ln>
                  <a:noFill/>
                </a:ln>
                <a:solidFill>
                  <a:srgbClr val="FFFFFF"/>
                </a:solidFill>
                <a:effectLst/>
                <a:uLnTx/>
                <a:uFillTx/>
                <a:latin typeface="Courier New"/>
                <a:ea typeface="+mn-ea"/>
                <a:cs typeface="Courier New"/>
              </a:rPr>
              <a:t>server]</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370"/>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370"/>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ok: </a:t>
            </a:r>
            <a:r>
              <a:rPr kumimoji="0" sz="1200" b="0" i="0" u="none" strike="noStrike" kern="1200" cap="none" spc="0" normalizeH="0" baseline="0" noProof="0" dirty="0">
                <a:ln>
                  <a:noFill/>
                </a:ln>
                <a:solidFill>
                  <a:srgbClr val="FFFFFF"/>
                </a:solidFill>
                <a:effectLst/>
                <a:uLnTx/>
                <a:uFillTx/>
                <a:latin typeface="Courier New"/>
                <a:ea typeface="+mn-ea"/>
                <a:cs typeface="Courier New"/>
              </a:rPr>
              <a:t>[10.10.20.20] </a:t>
            </a:r>
            <a:r>
              <a:rPr kumimoji="0" sz="1200" b="0" i="0" u="none" strike="noStrike" kern="1200" cap="none" spc="-5" normalizeH="0" baseline="0" noProof="0" dirty="0">
                <a:ln>
                  <a:noFill/>
                </a:ln>
                <a:solidFill>
                  <a:srgbClr val="FFFFFF"/>
                </a:solidFill>
                <a:effectLst/>
                <a:uLnTx/>
                <a:uFillTx/>
                <a:latin typeface="Courier New"/>
                <a:ea typeface="+mn-ea"/>
                <a:cs typeface="Courier New"/>
              </a:rPr>
              <a:t>=&gt;</a:t>
            </a:r>
            <a:r>
              <a:rPr kumimoji="0" sz="1200" b="0" i="0" u="none" strike="noStrike" kern="1200" cap="none" spc="-30" normalizeH="0" baseline="0" noProof="0" dirty="0">
                <a:ln>
                  <a:noFill/>
                </a:ln>
                <a:solidFill>
                  <a:srgbClr val="FFFFFF"/>
                </a:solidFill>
                <a:effectLst/>
                <a:uLnTx/>
                <a:uFillTx/>
                <a:latin typeface="Courier New"/>
                <a:ea typeface="+mn-ea"/>
                <a:cs typeface="Courier New"/>
              </a:rPr>
              <a:t> </a:t>
            </a:r>
            <a:r>
              <a:rPr kumimoji="0" sz="1200" b="0" i="0" u="none" strike="noStrike" kern="1200" cap="none" spc="0" normalizeH="0" baseline="0" noProof="0" dirty="0">
                <a:ln>
                  <a:noFill/>
                </a:ln>
                <a:solidFill>
                  <a:srgbClr val="FFFFFF"/>
                </a:solidFill>
                <a:effectLst/>
                <a:uLnTx/>
                <a:uFillTx/>
                <a:latin typeface="Courier New"/>
                <a:ea typeface="+mn-ea"/>
                <a:cs typeface="Courier New"/>
              </a:rPr>
              <a:t>{</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378460" marR="0" lvl="0" indent="0" algn="l" defTabSz="914400" rtl="0" eaLnBrk="1" fontAlgn="auto" latinLnBrk="0" hangingPunct="1">
              <a:lnSpc>
                <a:spcPts val="137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Courier New"/>
                <a:ea typeface="+mn-ea"/>
                <a:cs typeface="Courier New"/>
              </a:rPr>
              <a:t>"msg":</a:t>
            </a:r>
            <a:r>
              <a:rPr kumimoji="0" sz="1200" b="0" i="0" u="none" strike="noStrike" kern="1200" cap="none" spc="-25" normalizeH="0" baseline="0" noProof="0" dirty="0">
                <a:ln>
                  <a:noFill/>
                </a:ln>
                <a:solidFill>
                  <a:srgbClr val="FFFFFF"/>
                </a:solidFill>
                <a:effectLst/>
                <a:uLnTx/>
                <a:uFillTx/>
                <a:latin typeface="Courier New"/>
                <a:ea typeface="+mn-ea"/>
                <a:cs typeface="Courier New"/>
              </a:rPr>
              <a:t> </a:t>
            </a:r>
            <a:r>
              <a:rPr kumimoji="0" sz="1200" b="0" i="0" u="none" strike="noStrike" kern="1200" cap="none" spc="-5" normalizeH="0" baseline="0" noProof="0" dirty="0">
                <a:ln>
                  <a:noFill/>
                </a:ln>
                <a:solidFill>
                  <a:srgbClr val="FFFFFF"/>
                </a:solidFill>
                <a:effectLst/>
                <a:uLnTx/>
                <a:uFillTx/>
                <a:latin typeface="Courier New"/>
                <a:ea typeface="+mn-ea"/>
                <a:cs typeface="Courier New"/>
              </a:rPr>
              <a:t>"localhost"</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405"/>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Courier New"/>
                <a:ea typeface="+mn-ea"/>
                <a:cs typeface="Courier New"/>
              </a:rPr>
              <a:t>}</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25"/>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ts val="1405"/>
              </a:lnSpc>
              <a:spcBef>
                <a:spcPts val="5"/>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PLAY </a:t>
            </a:r>
            <a:r>
              <a:rPr kumimoji="0" sz="1200" b="0" i="0" u="none" strike="noStrike" kern="1200" cap="none" spc="0" normalizeH="0" baseline="0" noProof="0" dirty="0">
                <a:ln>
                  <a:noFill/>
                </a:ln>
                <a:solidFill>
                  <a:srgbClr val="FFFFFF"/>
                </a:solidFill>
                <a:effectLst/>
                <a:uLnTx/>
                <a:uFillTx/>
                <a:latin typeface="Courier New"/>
                <a:ea typeface="+mn-ea"/>
                <a:cs typeface="Courier New"/>
              </a:rPr>
              <a:t>[Report Network Details </a:t>
            </a:r>
            <a:r>
              <a:rPr kumimoji="0" sz="1200" b="0" i="0" u="none" strike="noStrike" kern="1200" cap="none" spc="-5" normalizeH="0" baseline="0" noProof="0" dirty="0">
                <a:ln>
                  <a:noFill/>
                </a:ln>
                <a:solidFill>
                  <a:srgbClr val="FFFFFF"/>
                </a:solidFill>
                <a:effectLst/>
                <a:uLnTx/>
                <a:uFillTx/>
                <a:latin typeface="Courier New"/>
                <a:ea typeface="+mn-ea"/>
                <a:cs typeface="Courier New"/>
              </a:rPr>
              <a:t>of</a:t>
            </a:r>
            <a:r>
              <a:rPr kumimoji="0" sz="1200" b="0" i="0" u="none" strike="noStrike" kern="1200" cap="none" spc="35" normalizeH="0" baseline="0" noProof="0" dirty="0">
                <a:ln>
                  <a:noFill/>
                </a:ln>
                <a:solidFill>
                  <a:srgbClr val="FFFFFF"/>
                </a:solidFill>
                <a:effectLst/>
                <a:uLnTx/>
                <a:uFillTx/>
                <a:latin typeface="Courier New"/>
                <a:ea typeface="+mn-ea"/>
                <a:cs typeface="Courier New"/>
              </a:rPr>
              <a:t> </a:t>
            </a:r>
            <a:r>
              <a:rPr kumimoji="0" sz="1200" b="0" i="0" u="none" strike="noStrike" kern="1200" cap="none" spc="-5" normalizeH="0" baseline="0" noProof="0" dirty="0">
                <a:ln>
                  <a:noFill/>
                </a:ln>
                <a:solidFill>
                  <a:srgbClr val="FFFFFF"/>
                </a:solidFill>
                <a:effectLst/>
                <a:uLnTx/>
                <a:uFillTx/>
                <a:latin typeface="Courier New"/>
                <a:ea typeface="+mn-ea"/>
                <a:cs typeface="Courier New"/>
              </a:rPr>
              <a:t>Servers]</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284480" lvl="0" indent="0" algn="l" defTabSz="914400" rtl="0" eaLnBrk="1" fontAlgn="auto" latinLnBrk="0" hangingPunct="1">
              <a:lnSpc>
                <a:spcPts val="1370"/>
              </a:lnSpc>
              <a:spcBef>
                <a:spcPts val="7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  TASK </a:t>
            </a:r>
            <a:r>
              <a:rPr kumimoji="0" sz="1200" b="0" i="0" u="none" strike="noStrike" kern="1200" cap="none" spc="0" normalizeH="0" baseline="0" noProof="0" dirty="0">
                <a:ln>
                  <a:noFill/>
                </a:ln>
                <a:solidFill>
                  <a:srgbClr val="FFFFFF"/>
                </a:solidFill>
                <a:effectLst/>
                <a:uLnTx/>
                <a:uFillTx/>
                <a:latin typeface="Courier New"/>
                <a:ea typeface="+mn-ea"/>
                <a:cs typeface="Courier New"/>
              </a:rPr>
              <a:t>[Network </a:t>
            </a:r>
            <a:r>
              <a:rPr kumimoji="0" sz="1200" b="0" i="0" u="none" strike="noStrike" kern="1200" cap="none" spc="-5" normalizeH="0" baseline="0" noProof="0" dirty="0">
                <a:ln>
                  <a:noFill/>
                </a:ln>
                <a:solidFill>
                  <a:srgbClr val="FFFFFF"/>
                </a:solidFill>
                <a:effectLst/>
                <a:uLnTx/>
                <a:uFillTx/>
                <a:latin typeface="Courier New"/>
                <a:ea typeface="+mn-ea"/>
                <a:cs typeface="Courier New"/>
              </a:rPr>
              <a:t>routes</a:t>
            </a:r>
            <a:r>
              <a:rPr kumimoji="0" sz="1200" b="0" i="0" u="none" strike="noStrike" kern="1200" cap="none" spc="-10" normalizeH="0" baseline="0" noProof="0" dirty="0">
                <a:ln>
                  <a:noFill/>
                </a:ln>
                <a:solidFill>
                  <a:srgbClr val="FFFFFF"/>
                </a:solidFill>
                <a:effectLst/>
                <a:uLnTx/>
                <a:uFillTx/>
                <a:latin typeface="Courier New"/>
                <a:ea typeface="+mn-ea"/>
                <a:cs typeface="Courier New"/>
              </a:rPr>
              <a:t> </a:t>
            </a:r>
            <a:r>
              <a:rPr kumimoji="0" sz="1200" b="0" i="0" u="none" strike="noStrike" kern="1200" cap="none" spc="-5" normalizeH="0" baseline="0" noProof="0" dirty="0">
                <a:ln>
                  <a:noFill/>
                </a:ln>
                <a:solidFill>
                  <a:srgbClr val="FFFFFF"/>
                </a:solidFill>
                <a:effectLst/>
                <a:uLnTx/>
                <a:uFillTx/>
                <a:latin typeface="Courier New"/>
                <a:ea typeface="+mn-ea"/>
                <a:cs typeface="Courier New"/>
              </a:rPr>
              <a:t>installed]</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300"/>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ok:</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370"/>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10.10.20.20] =&gt;</a:t>
            </a:r>
            <a:r>
              <a:rPr kumimoji="0" sz="1200" b="0" i="0" u="none" strike="noStrike" kern="1200" cap="none" spc="-15" normalizeH="0" baseline="0" noProof="0" dirty="0">
                <a:ln>
                  <a:noFill/>
                </a:ln>
                <a:solidFill>
                  <a:srgbClr val="FFFFFF"/>
                </a:solidFill>
                <a:effectLst/>
                <a:uLnTx/>
                <a:uFillTx/>
                <a:latin typeface="Courier New"/>
                <a:ea typeface="+mn-ea"/>
                <a:cs typeface="Courier New"/>
              </a:rPr>
              <a:t> </a:t>
            </a:r>
            <a:r>
              <a:rPr kumimoji="0" sz="1200" b="0" i="0" u="none" strike="noStrike" kern="1200" cap="none" spc="0" normalizeH="0" baseline="0" noProof="0" dirty="0">
                <a:ln>
                  <a:noFill/>
                </a:ln>
                <a:solidFill>
                  <a:srgbClr val="FFFFFF"/>
                </a:solidFill>
                <a:effectLst/>
                <a:uLnTx/>
                <a:uFillTx/>
                <a:latin typeface="Courier New"/>
                <a:ea typeface="+mn-ea"/>
                <a:cs typeface="Courier New"/>
              </a:rPr>
              <a:t>{</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747395" marR="0" lvl="0" indent="0" algn="l" defTabSz="914400" rtl="0" eaLnBrk="1" fontAlgn="auto" latinLnBrk="0" hangingPunct="1">
              <a:lnSpc>
                <a:spcPts val="137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Courier New"/>
                <a:ea typeface="+mn-ea"/>
                <a:cs typeface="Courier New"/>
              </a:rPr>
              <a:t>"stdout_lines":</a:t>
            </a:r>
            <a:r>
              <a:rPr kumimoji="0" sz="1200" b="0" i="0" u="none" strike="noStrike" kern="1200" cap="none" spc="-95" normalizeH="0" baseline="0" noProof="0" dirty="0">
                <a:ln>
                  <a:noFill/>
                </a:ln>
                <a:solidFill>
                  <a:srgbClr val="FFFFFF"/>
                </a:solidFill>
                <a:effectLst/>
                <a:uLnTx/>
                <a:uFillTx/>
                <a:latin typeface="Courier New"/>
                <a:ea typeface="+mn-ea"/>
                <a:cs typeface="Courier New"/>
              </a:rPr>
              <a:t> </a:t>
            </a:r>
            <a:r>
              <a:rPr kumimoji="0" sz="1200" b="0" i="0" u="none" strike="noStrike" kern="1200" cap="none" spc="0" normalizeH="0" baseline="0" noProof="0" dirty="0">
                <a:ln>
                  <a:noFill/>
                </a:ln>
                <a:solidFill>
                  <a:srgbClr val="FFFFFF"/>
                </a:solidFill>
                <a:effectLst/>
                <a:uLnTx/>
                <a:uFillTx/>
                <a:latin typeface="Courier New"/>
                <a:ea typeface="+mn-ea"/>
                <a:cs typeface="Courier New"/>
              </a:rPr>
              <a:t>[</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0" marR="4968875" lvl="0" indent="0" algn="ctr" defTabSz="914400" rtl="0" eaLnBrk="1" fontAlgn="auto" latinLnBrk="0" hangingPunct="1">
              <a:lnSpc>
                <a:spcPts val="1405"/>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Kernel </a:t>
            </a:r>
            <a:r>
              <a:rPr kumimoji="0" sz="1200" b="0" i="0" u="none" strike="noStrike" kern="1200" cap="none" spc="0" normalizeH="0" baseline="0" noProof="0" dirty="0">
                <a:ln>
                  <a:noFill/>
                </a:ln>
                <a:solidFill>
                  <a:srgbClr val="FFFFFF"/>
                </a:solidFill>
                <a:effectLst/>
                <a:uLnTx/>
                <a:uFillTx/>
                <a:latin typeface="Courier New"/>
                <a:ea typeface="+mn-ea"/>
                <a:cs typeface="Courier New"/>
              </a:rPr>
              <a:t>IP </a:t>
            </a:r>
            <a:r>
              <a:rPr kumimoji="0" sz="1200" b="0" i="0" u="none" strike="noStrike" kern="1200" cap="none" spc="-5" normalizeH="0" baseline="0" noProof="0" dirty="0">
                <a:ln>
                  <a:noFill/>
                </a:ln>
                <a:solidFill>
                  <a:srgbClr val="FFFFFF"/>
                </a:solidFill>
                <a:effectLst/>
                <a:uLnTx/>
                <a:uFillTx/>
                <a:latin typeface="Courier New"/>
                <a:ea typeface="+mn-ea"/>
                <a:cs typeface="Courier New"/>
              </a:rPr>
              <a:t>routing</a:t>
            </a:r>
            <a:r>
              <a:rPr kumimoji="0" sz="1200" b="0" i="0" u="none" strike="noStrike" kern="1200" cap="none" spc="0" normalizeH="0" baseline="0" noProof="0" dirty="0">
                <a:ln>
                  <a:noFill/>
                </a:ln>
                <a:solidFill>
                  <a:srgbClr val="FFFFFF"/>
                </a:solidFill>
                <a:effectLst/>
                <a:uLnTx/>
                <a:uFillTx/>
                <a:latin typeface="Courier New"/>
                <a:ea typeface="+mn-ea"/>
                <a:cs typeface="Courier New"/>
              </a:rPr>
              <a:t> </a:t>
            </a:r>
            <a:r>
              <a:rPr kumimoji="0" sz="1200" b="0" i="0" u="none" strike="noStrike" kern="1200" cap="none" spc="-5" normalizeH="0" baseline="0" noProof="0" dirty="0">
                <a:ln>
                  <a:noFill/>
                </a:ln>
                <a:solidFill>
                  <a:srgbClr val="FFFFFF"/>
                </a:solidFill>
                <a:effectLst/>
                <a:uLnTx/>
                <a:uFillTx/>
                <a:latin typeface="Courier New"/>
                <a:ea typeface="+mn-ea"/>
                <a:cs typeface="Courier New"/>
              </a:rPr>
              <a:t>table",</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p:txBody>
      </p:sp>
      <p:graphicFrame>
        <p:nvGraphicFramePr>
          <p:cNvPr id="5" name="object 5"/>
          <p:cNvGraphicFramePr>
            <a:graphicFrameLocks noGrp="1"/>
          </p:cNvGraphicFramePr>
          <p:nvPr/>
        </p:nvGraphicFramePr>
        <p:xfrm>
          <a:off x="1487424" y="4483858"/>
          <a:ext cx="7983978" cy="825500"/>
        </p:xfrm>
        <a:graphic>
          <a:graphicData uri="http://schemas.openxmlformats.org/drawingml/2006/table">
            <a:tbl>
              <a:tblPr firstRow="1" bandRow="1">
                <a:tableStyleId>{2D5ABB26-0587-4C30-8999-92F81FD0307C}</a:tableStyleId>
              </a:tblPr>
              <a:tblGrid>
                <a:gridCol w="261881">
                  <a:extLst>
                    <a:ext uri="{9D8B030D-6E8A-4147-A177-3AD203B41FA5}">
                      <a16:colId xmlns:a16="http://schemas.microsoft.com/office/drawing/2014/main" val="20000"/>
                    </a:ext>
                  </a:extLst>
                </a:gridCol>
                <a:gridCol w="1471718">
                  <a:extLst>
                    <a:ext uri="{9D8B030D-6E8A-4147-A177-3AD203B41FA5}">
                      <a16:colId xmlns:a16="http://schemas.microsoft.com/office/drawing/2014/main" val="20001"/>
                    </a:ext>
                  </a:extLst>
                </a:gridCol>
                <a:gridCol w="1520367">
                  <a:extLst>
                    <a:ext uri="{9D8B030D-6E8A-4147-A177-3AD203B41FA5}">
                      <a16:colId xmlns:a16="http://schemas.microsoft.com/office/drawing/2014/main" val="20002"/>
                    </a:ext>
                  </a:extLst>
                </a:gridCol>
                <a:gridCol w="1517464">
                  <a:extLst>
                    <a:ext uri="{9D8B030D-6E8A-4147-A177-3AD203B41FA5}">
                      <a16:colId xmlns:a16="http://schemas.microsoft.com/office/drawing/2014/main" val="20003"/>
                    </a:ext>
                  </a:extLst>
                </a:gridCol>
                <a:gridCol w="740012">
                  <a:extLst>
                    <a:ext uri="{9D8B030D-6E8A-4147-A177-3AD203B41FA5}">
                      <a16:colId xmlns:a16="http://schemas.microsoft.com/office/drawing/2014/main" val="20004"/>
                    </a:ext>
                  </a:extLst>
                </a:gridCol>
                <a:gridCol w="458658">
                  <a:extLst>
                    <a:ext uri="{9D8B030D-6E8A-4147-A177-3AD203B41FA5}">
                      <a16:colId xmlns:a16="http://schemas.microsoft.com/office/drawing/2014/main" val="20005"/>
                    </a:ext>
                  </a:extLst>
                </a:gridCol>
                <a:gridCol w="692039">
                  <a:extLst>
                    <a:ext uri="{9D8B030D-6E8A-4147-A177-3AD203B41FA5}">
                      <a16:colId xmlns:a16="http://schemas.microsoft.com/office/drawing/2014/main" val="20006"/>
                    </a:ext>
                  </a:extLst>
                </a:gridCol>
                <a:gridCol w="504422">
                  <a:extLst>
                    <a:ext uri="{9D8B030D-6E8A-4147-A177-3AD203B41FA5}">
                      <a16:colId xmlns:a16="http://schemas.microsoft.com/office/drawing/2014/main" val="20007"/>
                    </a:ext>
                  </a:extLst>
                </a:gridCol>
                <a:gridCol w="817417">
                  <a:extLst>
                    <a:ext uri="{9D8B030D-6E8A-4147-A177-3AD203B41FA5}">
                      <a16:colId xmlns:a16="http://schemas.microsoft.com/office/drawing/2014/main" val="20008"/>
                    </a:ext>
                  </a:extLst>
                </a:gridCol>
              </a:tblGrid>
              <a:tr h="165100">
                <a:tc rowSpan="4">
                  <a:txBody>
                    <a:bodyPr/>
                    <a:lstStyle/>
                    <a:p>
                      <a:pPr>
                        <a:lnSpc>
                          <a:spcPct val="100000"/>
                        </a:lnSpc>
                      </a:pPr>
                      <a:endParaRPr sz="1200">
                        <a:latin typeface="Times New Roman"/>
                        <a:cs typeface="Times New Roman"/>
                      </a:endParaRPr>
                    </a:p>
                  </a:txBody>
                  <a:tcPr marL="0" marR="0" marT="0" marB="0">
                    <a:solidFill>
                      <a:srgbClr val="282828"/>
                    </a:solidFill>
                  </a:tcPr>
                </a:tc>
                <a:tc>
                  <a:txBody>
                    <a:bodyPr/>
                    <a:lstStyle/>
                    <a:p>
                      <a:pPr marL="138430">
                        <a:lnSpc>
                          <a:spcPts val="1240"/>
                        </a:lnSpc>
                      </a:pPr>
                      <a:r>
                        <a:rPr sz="1200" spc="-5" dirty="0">
                          <a:solidFill>
                            <a:srgbClr val="FFFFFF"/>
                          </a:solidFill>
                          <a:latin typeface="Courier New"/>
                          <a:cs typeface="Courier New"/>
                        </a:rPr>
                        <a:t>"Destination</a:t>
                      </a:r>
                      <a:endParaRPr sz="1200">
                        <a:latin typeface="Courier New"/>
                        <a:cs typeface="Courier New"/>
                      </a:endParaRPr>
                    </a:p>
                  </a:txBody>
                  <a:tcPr marL="0" marR="0" marT="0" marB="0">
                    <a:solidFill>
                      <a:srgbClr val="282828"/>
                    </a:solidFill>
                  </a:tcPr>
                </a:tc>
                <a:tc>
                  <a:txBody>
                    <a:bodyPr/>
                    <a:lstStyle/>
                    <a:p>
                      <a:pPr marL="229870">
                        <a:lnSpc>
                          <a:spcPts val="1240"/>
                        </a:lnSpc>
                      </a:pPr>
                      <a:r>
                        <a:rPr sz="1200" dirty="0">
                          <a:solidFill>
                            <a:srgbClr val="FFFFFF"/>
                          </a:solidFill>
                          <a:latin typeface="Courier New"/>
                          <a:cs typeface="Courier New"/>
                        </a:rPr>
                        <a:t>Gateway</a:t>
                      </a:r>
                      <a:endParaRPr sz="1200">
                        <a:latin typeface="Courier New"/>
                        <a:cs typeface="Courier New"/>
                      </a:endParaRPr>
                    </a:p>
                  </a:txBody>
                  <a:tcPr marL="0" marR="0" marT="0" marB="0">
                    <a:solidFill>
                      <a:srgbClr val="282828"/>
                    </a:solidFill>
                  </a:tcPr>
                </a:tc>
                <a:tc>
                  <a:txBody>
                    <a:bodyPr/>
                    <a:lstStyle/>
                    <a:p>
                      <a:pPr marL="185420">
                        <a:lnSpc>
                          <a:spcPts val="1240"/>
                        </a:lnSpc>
                      </a:pPr>
                      <a:r>
                        <a:rPr sz="1200" spc="-5" dirty="0">
                          <a:solidFill>
                            <a:srgbClr val="FFFFFF"/>
                          </a:solidFill>
                          <a:latin typeface="Courier New"/>
                          <a:cs typeface="Courier New"/>
                        </a:rPr>
                        <a:t>Genmask</a:t>
                      </a:r>
                      <a:endParaRPr sz="1200">
                        <a:latin typeface="Courier New"/>
                        <a:cs typeface="Courier New"/>
                      </a:endParaRPr>
                    </a:p>
                  </a:txBody>
                  <a:tcPr marL="0" marR="0" marT="0" marB="0">
                    <a:solidFill>
                      <a:srgbClr val="282828"/>
                    </a:solidFill>
                  </a:tcPr>
                </a:tc>
                <a:tc>
                  <a:txBody>
                    <a:bodyPr/>
                    <a:lstStyle/>
                    <a:p>
                      <a:pPr marL="140970">
                        <a:lnSpc>
                          <a:spcPts val="1240"/>
                        </a:lnSpc>
                      </a:pPr>
                      <a:r>
                        <a:rPr sz="1200" spc="-5" dirty="0">
                          <a:solidFill>
                            <a:srgbClr val="FFFFFF"/>
                          </a:solidFill>
                          <a:latin typeface="Courier New"/>
                          <a:cs typeface="Courier New"/>
                        </a:rPr>
                        <a:t>Flags</a:t>
                      </a:r>
                      <a:endParaRPr sz="1200">
                        <a:latin typeface="Courier New"/>
                        <a:cs typeface="Courier New"/>
                      </a:endParaRPr>
                    </a:p>
                  </a:txBody>
                  <a:tcPr marL="0" marR="0" marT="0" marB="0">
                    <a:solidFill>
                      <a:srgbClr val="282828"/>
                    </a:solidFill>
                  </a:tcPr>
                </a:tc>
                <a:tc>
                  <a:txBody>
                    <a:bodyPr/>
                    <a:lstStyle/>
                    <a:p>
                      <a:pPr marR="38100" algn="r">
                        <a:lnSpc>
                          <a:spcPts val="1240"/>
                        </a:lnSpc>
                      </a:pPr>
                      <a:r>
                        <a:rPr sz="1200" spc="-5" dirty="0">
                          <a:solidFill>
                            <a:srgbClr val="FFFFFF"/>
                          </a:solidFill>
                          <a:latin typeface="Courier New"/>
                          <a:cs typeface="Courier New"/>
                        </a:rPr>
                        <a:t>MSS</a:t>
                      </a:r>
                      <a:endParaRPr sz="1200">
                        <a:latin typeface="Courier New"/>
                        <a:cs typeface="Courier New"/>
                      </a:endParaRPr>
                    </a:p>
                  </a:txBody>
                  <a:tcPr marL="0" marR="0" marT="0" marB="0">
                    <a:solidFill>
                      <a:srgbClr val="282828"/>
                    </a:solidFill>
                  </a:tcPr>
                </a:tc>
                <a:tc>
                  <a:txBody>
                    <a:bodyPr/>
                    <a:lstStyle/>
                    <a:p>
                      <a:pPr marL="48260">
                        <a:lnSpc>
                          <a:spcPts val="1240"/>
                        </a:lnSpc>
                      </a:pPr>
                      <a:r>
                        <a:rPr sz="1200" spc="-5" dirty="0">
                          <a:solidFill>
                            <a:srgbClr val="FFFFFF"/>
                          </a:solidFill>
                          <a:latin typeface="Courier New"/>
                          <a:cs typeface="Courier New"/>
                        </a:rPr>
                        <a:t>Window</a:t>
                      </a:r>
                      <a:endParaRPr sz="1200">
                        <a:latin typeface="Courier New"/>
                        <a:cs typeface="Courier New"/>
                      </a:endParaRPr>
                    </a:p>
                  </a:txBody>
                  <a:tcPr marL="0" marR="0" marT="0" marB="0">
                    <a:solidFill>
                      <a:srgbClr val="282828"/>
                    </a:solidFill>
                  </a:tcPr>
                </a:tc>
                <a:tc>
                  <a:txBody>
                    <a:bodyPr/>
                    <a:lstStyle/>
                    <a:p>
                      <a:pPr marR="35560" algn="r">
                        <a:lnSpc>
                          <a:spcPts val="1240"/>
                        </a:lnSpc>
                      </a:pPr>
                      <a:r>
                        <a:rPr sz="1200" spc="15" dirty="0">
                          <a:solidFill>
                            <a:srgbClr val="FFFFFF"/>
                          </a:solidFill>
                          <a:latin typeface="Courier New"/>
                          <a:cs typeface="Courier New"/>
                        </a:rPr>
                        <a:t>i</a:t>
                      </a:r>
                      <a:r>
                        <a:rPr sz="1200" spc="-5" dirty="0">
                          <a:solidFill>
                            <a:srgbClr val="FFFFFF"/>
                          </a:solidFill>
                          <a:latin typeface="Courier New"/>
                          <a:cs typeface="Courier New"/>
                        </a:rPr>
                        <a:t>rtt</a:t>
                      </a:r>
                      <a:endParaRPr sz="1200">
                        <a:latin typeface="Courier New"/>
                        <a:cs typeface="Courier New"/>
                      </a:endParaRPr>
                    </a:p>
                  </a:txBody>
                  <a:tcPr marL="0" marR="0" marT="0" marB="0">
                    <a:solidFill>
                      <a:srgbClr val="282828"/>
                    </a:solidFill>
                  </a:tcPr>
                </a:tc>
                <a:tc>
                  <a:txBody>
                    <a:bodyPr/>
                    <a:lstStyle/>
                    <a:p>
                      <a:pPr marL="47625">
                        <a:lnSpc>
                          <a:spcPts val="1240"/>
                        </a:lnSpc>
                      </a:pPr>
                      <a:r>
                        <a:rPr sz="1200" spc="0" dirty="0">
                          <a:solidFill>
                            <a:srgbClr val="FFFFFF"/>
                          </a:solidFill>
                          <a:latin typeface="Courier New"/>
                          <a:cs typeface="Courier New"/>
                        </a:rPr>
                        <a:t>Iface",</a:t>
                      </a:r>
                      <a:endParaRPr sz="1200">
                        <a:latin typeface="Courier New"/>
                        <a:cs typeface="Courier New"/>
                      </a:endParaRPr>
                    </a:p>
                  </a:txBody>
                  <a:tcPr marL="0" marR="0" marT="0" marB="0">
                    <a:solidFill>
                      <a:srgbClr val="282828"/>
                    </a:solidFill>
                  </a:tcPr>
                </a:tc>
                <a:extLst>
                  <a:ext uri="{0D108BD9-81ED-4DB2-BD59-A6C34878D82A}">
                    <a16:rowId xmlns:a16="http://schemas.microsoft.com/office/drawing/2014/main" val="10000"/>
                  </a:ext>
                </a:extLst>
              </a:tr>
              <a:tr h="165100">
                <a:tc vMerge="1">
                  <a:txBody>
                    <a:bodyPr/>
                    <a:lstStyle/>
                    <a:p>
                      <a:endParaRPr/>
                    </a:p>
                  </a:txBody>
                  <a:tcPr marL="0" marR="0" marT="0" marB="0">
                    <a:solidFill>
                      <a:srgbClr val="282828"/>
                    </a:solidFill>
                  </a:tcPr>
                </a:tc>
                <a:tc>
                  <a:txBody>
                    <a:bodyPr/>
                    <a:lstStyle/>
                    <a:p>
                      <a:pPr marL="138430">
                        <a:lnSpc>
                          <a:spcPts val="1245"/>
                        </a:lnSpc>
                      </a:pPr>
                      <a:r>
                        <a:rPr sz="1200" spc="-5" dirty="0">
                          <a:solidFill>
                            <a:srgbClr val="FFFFFF"/>
                          </a:solidFill>
                          <a:latin typeface="Courier New"/>
                          <a:cs typeface="Courier New"/>
                        </a:rPr>
                        <a:t>"0.0.0.0</a:t>
                      </a:r>
                      <a:endParaRPr sz="1200">
                        <a:latin typeface="Courier New"/>
                        <a:cs typeface="Courier New"/>
                      </a:endParaRPr>
                    </a:p>
                  </a:txBody>
                  <a:tcPr marL="0" marR="0" marT="0" marB="0">
                    <a:solidFill>
                      <a:srgbClr val="282828"/>
                    </a:solidFill>
                  </a:tcPr>
                </a:tc>
                <a:tc>
                  <a:txBody>
                    <a:bodyPr/>
                    <a:lstStyle/>
                    <a:p>
                      <a:pPr marL="229870">
                        <a:lnSpc>
                          <a:spcPts val="1245"/>
                        </a:lnSpc>
                      </a:pPr>
                      <a:r>
                        <a:rPr sz="1200" dirty="0">
                          <a:solidFill>
                            <a:srgbClr val="FFFFFF"/>
                          </a:solidFill>
                          <a:latin typeface="Courier New"/>
                          <a:cs typeface="Courier New"/>
                        </a:rPr>
                        <a:t>10.10.20.254</a:t>
                      </a:r>
                      <a:endParaRPr sz="1200">
                        <a:latin typeface="Courier New"/>
                        <a:cs typeface="Courier New"/>
                      </a:endParaRPr>
                    </a:p>
                  </a:txBody>
                  <a:tcPr marL="0" marR="0" marT="0" marB="0">
                    <a:solidFill>
                      <a:srgbClr val="282828"/>
                    </a:solidFill>
                  </a:tcPr>
                </a:tc>
                <a:tc>
                  <a:txBody>
                    <a:bodyPr/>
                    <a:lstStyle/>
                    <a:p>
                      <a:pPr marL="184150">
                        <a:lnSpc>
                          <a:spcPts val="1245"/>
                        </a:lnSpc>
                      </a:pPr>
                      <a:r>
                        <a:rPr sz="1200" spc="-5" dirty="0">
                          <a:solidFill>
                            <a:srgbClr val="FFFFFF"/>
                          </a:solidFill>
                          <a:latin typeface="Courier New"/>
                          <a:cs typeface="Courier New"/>
                        </a:rPr>
                        <a:t>0.0.0.0</a:t>
                      </a:r>
                      <a:endParaRPr sz="1200">
                        <a:latin typeface="Courier New"/>
                        <a:cs typeface="Courier New"/>
                      </a:endParaRPr>
                    </a:p>
                  </a:txBody>
                  <a:tcPr marL="0" marR="0" marT="0" marB="0">
                    <a:solidFill>
                      <a:srgbClr val="282828"/>
                    </a:solidFill>
                  </a:tcPr>
                </a:tc>
                <a:tc>
                  <a:txBody>
                    <a:bodyPr/>
                    <a:lstStyle/>
                    <a:p>
                      <a:pPr marL="138430">
                        <a:lnSpc>
                          <a:spcPts val="1245"/>
                        </a:lnSpc>
                      </a:pPr>
                      <a:r>
                        <a:rPr sz="1200" spc="-5" dirty="0">
                          <a:solidFill>
                            <a:srgbClr val="FFFFFF"/>
                          </a:solidFill>
                          <a:latin typeface="Courier New"/>
                          <a:cs typeface="Courier New"/>
                        </a:rPr>
                        <a:t>UG</a:t>
                      </a:r>
                      <a:endParaRPr sz="1200">
                        <a:latin typeface="Courier New"/>
                        <a:cs typeface="Courier New"/>
                      </a:endParaRPr>
                    </a:p>
                  </a:txBody>
                  <a:tcPr marL="0" marR="0" marT="0" marB="0">
                    <a:solidFill>
                      <a:srgbClr val="282828"/>
                    </a:solidFill>
                  </a:tcPr>
                </a:tc>
                <a:tc>
                  <a:txBody>
                    <a:bodyPr/>
                    <a:lstStyle/>
                    <a:p>
                      <a:pPr marR="40640" algn="r">
                        <a:lnSpc>
                          <a:spcPts val="1245"/>
                        </a:lnSpc>
                      </a:pPr>
                      <a:r>
                        <a:rPr sz="1200" dirty="0">
                          <a:solidFill>
                            <a:srgbClr val="FFFFFF"/>
                          </a:solidFill>
                          <a:latin typeface="Courier New"/>
                          <a:cs typeface="Courier New"/>
                        </a:rPr>
                        <a:t>0</a:t>
                      </a:r>
                      <a:endParaRPr sz="1200">
                        <a:latin typeface="Courier New"/>
                        <a:cs typeface="Courier New"/>
                      </a:endParaRPr>
                    </a:p>
                  </a:txBody>
                  <a:tcPr marL="0" marR="0" marT="0" marB="0">
                    <a:solidFill>
                      <a:srgbClr val="282828"/>
                    </a:solidFill>
                  </a:tcPr>
                </a:tc>
                <a:tc>
                  <a:txBody>
                    <a:bodyPr/>
                    <a:lstStyle/>
                    <a:p>
                      <a:pPr marL="45720">
                        <a:lnSpc>
                          <a:spcPts val="1245"/>
                        </a:lnSpc>
                      </a:pPr>
                      <a:r>
                        <a:rPr sz="1200" dirty="0">
                          <a:solidFill>
                            <a:srgbClr val="FFFFFF"/>
                          </a:solidFill>
                          <a:latin typeface="Courier New"/>
                          <a:cs typeface="Courier New"/>
                        </a:rPr>
                        <a:t>0</a:t>
                      </a:r>
                      <a:endParaRPr sz="1200">
                        <a:latin typeface="Courier New"/>
                        <a:cs typeface="Courier New"/>
                      </a:endParaRPr>
                    </a:p>
                  </a:txBody>
                  <a:tcPr marL="0" marR="0" marT="0" marB="0">
                    <a:solidFill>
                      <a:srgbClr val="282828"/>
                    </a:solidFill>
                  </a:tcPr>
                </a:tc>
                <a:tc>
                  <a:txBody>
                    <a:bodyPr/>
                    <a:lstStyle/>
                    <a:p>
                      <a:pPr marR="39370" algn="r">
                        <a:lnSpc>
                          <a:spcPts val="1245"/>
                        </a:lnSpc>
                      </a:pPr>
                      <a:r>
                        <a:rPr sz="1200" dirty="0">
                          <a:solidFill>
                            <a:srgbClr val="FFFFFF"/>
                          </a:solidFill>
                          <a:latin typeface="Courier New"/>
                          <a:cs typeface="Courier New"/>
                        </a:rPr>
                        <a:t>0</a:t>
                      </a:r>
                      <a:endParaRPr sz="1200">
                        <a:latin typeface="Courier New"/>
                        <a:cs typeface="Courier New"/>
                      </a:endParaRPr>
                    </a:p>
                  </a:txBody>
                  <a:tcPr marL="0" marR="0" marT="0" marB="0">
                    <a:solidFill>
                      <a:srgbClr val="282828"/>
                    </a:solidFill>
                  </a:tcPr>
                </a:tc>
                <a:tc>
                  <a:txBody>
                    <a:bodyPr/>
                    <a:lstStyle/>
                    <a:p>
                      <a:pPr marL="43180">
                        <a:lnSpc>
                          <a:spcPts val="1245"/>
                        </a:lnSpc>
                      </a:pPr>
                      <a:r>
                        <a:rPr sz="1200" dirty="0">
                          <a:solidFill>
                            <a:srgbClr val="FFFFFF"/>
                          </a:solidFill>
                          <a:latin typeface="Courier New"/>
                          <a:cs typeface="Courier New"/>
                        </a:rPr>
                        <a:t>ens160",</a:t>
                      </a:r>
                      <a:endParaRPr sz="1200">
                        <a:latin typeface="Courier New"/>
                        <a:cs typeface="Courier New"/>
                      </a:endParaRPr>
                    </a:p>
                  </a:txBody>
                  <a:tcPr marL="0" marR="0" marT="0" marB="0">
                    <a:solidFill>
                      <a:srgbClr val="282828"/>
                    </a:solidFill>
                  </a:tcPr>
                </a:tc>
                <a:extLst>
                  <a:ext uri="{0D108BD9-81ED-4DB2-BD59-A6C34878D82A}">
                    <a16:rowId xmlns:a16="http://schemas.microsoft.com/office/drawing/2014/main" val="10001"/>
                  </a:ext>
                </a:extLst>
              </a:tr>
              <a:tr h="165100">
                <a:tc vMerge="1">
                  <a:txBody>
                    <a:bodyPr/>
                    <a:lstStyle/>
                    <a:p>
                      <a:endParaRPr/>
                    </a:p>
                  </a:txBody>
                  <a:tcPr marL="0" marR="0" marT="0" marB="0">
                    <a:solidFill>
                      <a:srgbClr val="282828"/>
                    </a:solidFill>
                  </a:tcPr>
                </a:tc>
                <a:tc>
                  <a:txBody>
                    <a:bodyPr/>
                    <a:lstStyle/>
                    <a:p>
                      <a:pPr marL="138430">
                        <a:lnSpc>
                          <a:spcPts val="1245"/>
                        </a:lnSpc>
                      </a:pPr>
                      <a:r>
                        <a:rPr sz="1200" dirty="0">
                          <a:solidFill>
                            <a:srgbClr val="FFFFFF"/>
                          </a:solidFill>
                          <a:latin typeface="Courier New"/>
                          <a:cs typeface="Courier New"/>
                        </a:rPr>
                        <a:t>"10.10.20.0</a:t>
                      </a:r>
                      <a:endParaRPr sz="1200">
                        <a:latin typeface="Courier New"/>
                        <a:cs typeface="Courier New"/>
                      </a:endParaRPr>
                    </a:p>
                  </a:txBody>
                  <a:tcPr marL="0" marR="0" marT="0" marB="0">
                    <a:solidFill>
                      <a:srgbClr val="282828"/>
                    </a:solidFill>
                  </a:tcPr>
                </a:tc>
                <a:tc>
                  <a:txBody>
                    <a:bodyPr/>
                    <a:lstStyle/>
                    <a:p>
                      <a:pPr marL="229870">
                        <a:lnSpc>
                          <a:spcPts val="1245"/>
                        </a:lnSpc>
                      </a:pPr>
                      <a:r>
                        <a:rPr sz="1200" dirty="0">
                          <a:solidFill>
                            <a:srgbClr val="FFFFFF"/>
                          </a:solidFill>
                          <a:latin typeface="Courier New"/>
                          <a:cs typeface="Courier New"/>
                        </a:rPr>
                        <a:t>0.0.0.0</a:t>
                      </a:r>
                      <a:endParaRPr sz="1200">
                        <a:latin typeface="Courier New"/>
                        <a:cs typeface="Courier New"/>
                      </a:endParaRPr>
                    </a:p>
                  </a:txBody>
                  <a:tcPr marL="0" marR="0" marT="0" marB="0">
                    <a:solidFill>
                      <a:srgbClr val="282828"/>
                    </a:solidFill>
                  </a:tcPr>
                </a:tc>
                <a:tc>
                  <a:txBody>
                    <a:bodyPr/>
                    <a:lstStyle/>
                    <a:p>
                      <a:pPr marL="184150">
                        <a:lnSpc>
                          <a:spcPts val="1245"/>
                        </a:lnSpc>
                      </a:pPr>
                      <a:r>
                        <a:rPr sz="1200" spc="-5" dirty="0">
                          <a:solidFill>
                            <a:srgbClr val="FFFFFF"/>
                          </a:solidFill>
                          <a:latin typeface="Courier New"/>
                          <a:cs typeface="Courier New"/>
                        </a:rPr>
                        <a:t>255.255.255.0</a:t>
                      </a:r>
                      <a:endParaRPr sz="1200">
                        <a:latin typeface="Courier New"/>
                        <a:cs typeface="Courier New"/>
                      </a:endParaRPr>
                    </a:p>
                  </a:txBody>
                  <a:tcPr marL="0" marR="0" marT="0" marB="0">
                    <a:solidFill>
                      <a:srgbClr val="282828"/>
                    </a:solidFill>
                  </a:tcPr>
                </a:tc>
                <a:tc>
                  <a:txBody>
                    <a:bodyPr/>
                    <a:lstStyle/>
                    <a:p>
                      <a:pPr marL="138430">
                        <a:lnSpc>
                          <a:spcPts val="1245"/>
                        </a:lnSpc>
                      </a:pPr>
                      <a:r>
                        <a:rPr sz="1200" dirty="0">
                          <a:solidFill>
                            <a:srgbClr val="FFFFFF"/>
                          </a:solidFill>
                          <a:latin typeface="Courier New"/>
                          <a:cs typeface="Courier New"/>
                        </a:rPr>
                        <a:t>U</a:t>
                      </a:r>
                      <a:endParaRPr sz="1200">
                        <a:latin typeface="Courier New"/>
                        <a:cs typeface="Courier New"/>
                      </a:endParaRPr>
                    </a:p>
                  </a:txBody>
                  <a:tcPr marL="0" marR="0" marT="0" marB="0">
                    <a:solidFill>
                      <a:srgbClr val="282828"/>
                    </a:solidFill>
                  </a:tcPr>
                </a:tc>
                <a:tc>
                  <a:txBody>
                    <a:bodyPr/>
                    <a:lstStyle/>
                    <a:p>
                      <a:pPr marR="40005" algn="r">
                        <a:lnSpc>
                          <a:spcPts val="1245"/>
                        </a:lnSpc>
                      </a:pPr>
                      <a:r>
                        <a:rPr sz="1200" dirty="0">
                          <a:solidFill>
                            <a:srgbClr val="FFFFFF"/>
                          </a:solidFill>
                          <a:latin typeface="Courier New"/>
                          <a:cs typeface="Courier New"/>
                        </a:rPr>
                        <a:t>0</a:t>
                      </a:r>
                      <a:endParaRPr sz="1200">
                        <a:latin typeface="Courier New"/>
                        <a:cs typeface="Courier New"/>
                      </a:endParaRPr>
                    </a:p>
                  </a:txBody>
                  <a:tcPr marL="0" marR="0" marT="0" marB="0">
                    <a:solidFill>
                      <a:srgbClr val="282828"/>
                    </a:solidFill>
                  </a:tcPr>
                </a:tc>
                <a:tc>
                  <a:txBody>
                    <a:bodyPr/>
                    <a:lstStyle/>
                    <a:p>
                      <a:pPr marL="45720">
                        <a:lnSpc>
                          <a:spcPts val="1245"/>
                        </a:lnSpc>
                      </a:pPr>
                      <a:r>
                        <a:rPr sz="1200" dirty="0">
                          <a:solidFill>
                            <a:srgbClr val="FFFFFF"/>
                          </a:solidFill>
                          <a:latin typeface="Courier New"/>
                          <a:cs typeface="Courier New"/>
                        </a:rPr>
                        <a:t>0</a:t>
                      </a:r>
                      <a:endParaRPr sz="1200">
                        <a:latin typeface="Courier New"/>
                        <a:cs typeface="Courier New"/>
                      </a:endParaRPr>
                    </a:p>
                  </a:txBody>
                  <a:tcPr marL="0" marR="0" marT="0" marB="0">
                    <a:solidFill>
                      <a:srgbClr val="282828"/>
                    </a:solidFill>
                  </a:tcPr>
                </a:tc>
                <a:tc>
                  <a:txBody>
                    <a:bodyPr/>
                    <a:lstStyle/>
                    <a:p>
                      <a:pPr marR="39370" algn="r">
                        <a:lnSpc>
                          <a:spcPts val="1245"/>
                        </a:lnSpc>
                      </a:pPr>
                      <a:r>
                        <a:rPr sz="1200" dirty="0">
                          <a:solidFill>
                            <a:srgbClr val="FFFFFF"/>
                          </a:solidFill>
                          <a:latin typeface="Courier New"/>
                          <a:cs typeface="Courier New"/>
                        </a:rPr>
                        <a:t>0</a:t>
                      </a:r>
                      <a:endParaRPr sz="1200">
                        <a:latin typeface="Courier New"/>
                        <a:cs typeface="Courier New"/>
                      </a:endParaRPr>
                    </a:p>
                  </a:txBody>
                  <a:tcPr marL="0" marR="0" marT="0" marB="0">
                    <a:solidFill>
                      <a:srgbClr val="282828"/>
                    </a:solidFill>
                  </a:tcPr>
                </a:tc>
                <a:tc>
                  <a:txBody>
                    <a:bodyPr/>
                    <a:lstStyle/>
                    <a:p>
                      <a:pPr marL="43815">
                        <a:lnSpc>
                          <a:spcPts val="1245"/>
                        </a:lnSpc>
                      </a:pPr>
                      <a:r>
                        <a:rPr sz="1200" spc="0" dirty="0">
                          <a:solidFill>
                            <a:srgbClr val="FFFFFF"/>
                          </a:solidFill>
                          <a:latin typeface="Courier New"/>
                          <a:cs typeface="Courier New"/>
                        </a:rPr>
                        <a:t>ens160",</a:t>
                      </a:r>
                      <a:endParaRPr sz="1200">
                        <a:latin typeface="Courier New"/>
                        <a:cs typeface="Courier New"/>
                      </a:endParaRPr>
                    </a:p>
                  </a:txBody>
                  <a:tcPr marL="0" marR="0" marT="0" marB="0">
                    <a:solidFill>
                      <a:srgbClr val="282828"/>
                    </a:solidFill>
                  </a:tcPr>
                </a:tc>
                <a:extLst>
                  <a:ext uri="{0D108BD9-81ED-4DB2-BD59-A6C34878D82A}">
                    <a16:rowId xmlns:a16="http://schemas.microsoft.com/office/drawing/2014/main" val="10002"/>
                  </a:ext>
                </a:extLst>
              </a:tr>
              <a:tr h="165100">
                <a:tc vMerge="1">
                  <a:txBody>
                    <a:bodyPr/>
                    <a:lstStyle/>
                    <a:p>
                      <a:endParaRPr/>
                    </a:p>
                  </a:txBody>
                  <a:tcPr marL="0" marR="0" marT="0" marB="0">
                    <a:solidFill>
                      <a:srgbClr val="282828"/>
                    </a:solidFill>
                  </a:tcPr>
                </a:tc>
                <a:tc>
                  <a:txBody>
                    <a:bodyPr/>
                    <a:lstStyle/>
                    <a:p>
                      <a:pPr marL="138430">
                        <a:lnSpc>
                          <a:spcPts val="1245"/>
                        </a:lnSpc>
                      </a:pPr>
                      <a:r>
                        <a:rPr sz="1200" spc="-5" dirty="0">
                          <a:solidFill>
                            <a:srgbClr val="FFFFFF"/>
                          </a:solidFill>
                          <a:latin typeface="Courier New"/>
                          <a:cs typeface="Courier New"/>
                        </a:rPr>
                        <a:t>"172.16.30.0</a:t>
                      </a:r>
                      <a:endParaRPr sz="1200">
                        <a:latin typeface="Courier New"/>
                        <a:cs typeface="Courier New"/>
                      </a:endParaRPr>
                    </a:p>
                  </a:txBody>
                  <a:tcPr marL="0" marR="0" marT="0" marB="0">
                    <a:solidFill>
                      <a:srgbClr val="282828"/>
                    </a:solidFill>
                  </a:tcPr>
                </a:tc>
                <a:tc>
                  <a:txBody>
                    <a:bodyPr/>
                    <a:lstStyle/>
                    <a:p>
                      <a:pPr marL="229870">
                        <a:lnSpc>
                          <a:spcPts val="1245"/>
                        </a:lnSpc>
                      </a:pPr>
                      <a:r>
                        <a:rPr sz="1200" dirty="0">
                          <a:solidFill>
                            <a:srgbClr val="FFFFFF"/>
                          </a:solidFill>
                          <a:latin typeface="Courier New"/>
                          <a:cs typeface="Courier New"/>
                        </a:rPr>
                        <a:t>10.10.20.160</a:t>
                      </a:r>
                      <a:endParaRPr sz="1200">
                        <a:latin typeface="Courier New"/>
                        <a:cs typeface="Courier New"/>
                      </a:endParaRPr>
                    </a:p>
                  </a:txBody>
                  <a:tcPr marL="0" marR="0" marT="0" marB="0">
                    <a:solidFill>
                      <a:srgbClr val="282828"/>
                    </a:solidFill>
                  </a:tcPr>
                </a:tc>
                <a:tc>
                  <a:txBody>
                    <a:bodyPr/>
                    <a:lstStyle/>
                    <a:p>
                      <a:pPr marL="184150">
                        <a:lnSpc>
                          <a:spcPts val="1245"/>
                        </a:lnSpc>
                      </a:pPr>
                      <a:r>
                        <a:rPr sz="1200" spc="-5" dirty="0">
                          <a:solidFill>
                            <a:srgbClr val="FFFFFF"/>
                          </a:solidFill>
                          <a:latin typeface="Courier New"/>
                          <a:cs typeface="Courier New"/>
                        </a:rPr>
                        <a:t>255.255.255.0</a:t>
                      </a:r>
                      <a:endParaRPr sz="1200">
                        <a:latin typeface="Courier New"/>
                        <a:cs typeface="Courier New"/>
                      </a:endParaRPr>
                    </a:p>
                  </a:txBody>
                  <a:tcPr marL="0" marR="0" marT="0" marB="0">
                    <a:solidFill>
                      <a:srgbClr val="282828"/>
                    </a:solidFill>
                  </a:tcPr>
                </a:tc>
                <a:tc>
                  <a:txBody>
                    <a:bodyPr/>
                    <a:lstStyle/>
                    <a:p>
                      <a:pPr marL="138430">
                        <a:lnSpc>
                          <a:spcPts val="1245"/>
                        </a:lnSpc>
                      </a:pPr>
                      <a:r>
                        <a:rPr sz="1200" spc="-5" dirty="0">
                          <a:solidFill>
                            <a:srgbClr val="FFFFFF"/>
                          </a:solidFill>
                          <a:latin typeface="Courier New"/>
                          <a:cs typeface="Courier New"/>
                        </a:rPr>
                        <a:t>UG</a:t>
                      </a:r>
                      <a:endParaRPr sz="1200">
                        <a:latin typeface="Courier New"/>
                        <a:cs typeface="Courier New"/>
                      </a:endParaRPr>
                    </a:p>
                  </a:txBody>
                  <a:tcPr marL="0" marR="0" marT="0" marB="0">
                    <a:solidFill>
                      <a:srgbClr val="282828"/>
                    </a:solidFill>
                  </a:tcPr>
                </a:tc>
                <a:tc>
                  <a:txBody>
                    <a:bodyPr/>
                    <a:lstStyle/>
                    <a:p>
                      <a:pPr marR="40640" algn="r">
                        <a:lnSpc>
                          <a:spcPts val="1245"/>
                        </a:lnSpc>
                      </a:pPr>
                      <a:r>
                        <a:rPr sz="1200" dirty="0">
                          <a:solidFill>
                            <a:srgbClr val="FFFFFF"/>
                          </a:solidFill>
                          <a:latin typeface="Courier New"/>
                          <a:cs typeface="Courier New"/>
                        </a:rPr>
                        <a:t>0</a:t>
                      </a:r>
                      <a:endParaRPr sz="1200">
                        <a:latin typeface="Courier New"/>
                        <a:cs typeface="Courier New"/>
                      </a:endParaRPr>
                    </a:p>
                  </a:txBody>
                  <a:tcPr marL="0" marR="0" marT="0" marB="0">
                    <a:solidFill>
                      <a:srgbClr val="282828"/>
                    </a:solidFill>
                  </a:tcPr>
                </a:tc>
                <a:tc>
                  <a:txBody>
                    <a:bodyPr/>
                    <a:lstStyle/>
                    <a:p>
                      <a:pPr marL="45720">
                        <a:lnSpc>
                          <a:spcPts val="1245"/>
                        </a:lnSpc>
                      </a:pPr>
                      <a:r>
                        <a:rPr sz="1200" dirty="0">
                          <a:solidFill>
                            <a:srgbClr val="FFFFFF"/>
                          </a:solidFill>
                          <a:latin typeface="Courier New"/>
                          <a:cs typeface="Courier New"/>
                        </a:rPr>
                        <a:t>0</a:t>
                      </a:r>
                      <a:endParaRPr sz="1200">
                        <a:latin typeface="Courier New"/>
                        <a:cs typeface="Courier New"/>
                      </a:endParaRPr>
                    </a:p>
                  </a:txBody>
                  <a:tcPr marL="0" marR="0" marT="0" marB="0">
                    <a:solidFill>
                      <a:srgbClr val="282828"/>
                    </a:solidFill>
                  </a:tcPr>
                </a:tc>
                <a:tc>
                  <a:txBody>
                    <a:bodyPr/>
                    <a:lstStyle/>
                    <a:p>
                      <a:pPr marR="39370" algn="r">
                        <a:lnSpc>
                          <a:spcPts val="1245"/>
                        </a:lnSpc>
                      </a:pPr>
                      <a:r>
                        <a:rPr sz="1200" dirty="0">
                          <a:solidFill>
                            <a:srgbClr val="FFFFFF"/>
                          </a:solidFill>
                          <a:latin typeface="Courier New"/>
                          <a:cs typeface="Courier New"/>
                        </a:rPr>
                        <a:t>0</a:t>
                      </a:r>
                      <a:endParaRPr sz="1200">
                        <a:latin typeface="Courier New"/>
                        <a:cs typeface="Courier New"/>
                      </a:endParaRPr>
                    </a:p>
                  </a:txBody>
                  <a:tcPr marL="0" marR="0" marT="0" marB="0">
                    <a:solidFill>
                      <a:srgbClr val="282828"/>
                    </a:solidFill>
                  </a:tcPr>
                </a:tc>
                <a:tc>
                  <a:txBody>
                    <a:bodyPr/>
                    <a:lstStyle/>
                    <a:p>
                      <a:pPr marL="43180">
                        <a:lnSpc>
                          <a:spcPts val="1245"/>
                        </a:lnSpc>
                      </a:pPr>
                      <a:r>
                        <a:rPr sz="1200" dirty="0">
                          <a:solidFill>
                            <a:srgbClr val="FFFFFF"/>
                          </a:solidFill>
                          <a:latin typeface="Courier New"/>
                          <a:cs typeface="Courier New"/>
                        </a:rPr>
                        <a:t>ens160",</a:t>
                      </a:r>
                      <a:endParaRPr sz="1200">
                        <a:latin typeface="Courier New"/>
                        <a:cs typeface="Courier New"/>
                      </a:endParaRPr>
                    </a:p>
                  </a:txBody>
                  <a:tcPr marL="0" marR="0" marT="0" marB="0">
                    <a:solidFill>
                      <a:srgbClr val="282828"/>
                    </a:solidFill>
                  </a:tcPr>
                </a:tc>
                <a:extLst>
                  <a:ext uri="{0D108BD9-81ED-4DB2-BD59-A6C34878D82A}">
                    <a16:rowId xmlns:a16="http://schemas.microsoft.com/office/drawing/2014/main" val="10003"/>
                  </a:ext>
                </a:extLst>
              </a:tr>
              <a:tr h="165100">
                <a:tc>
                  <a:txBody>
                    <a:bodyPr/>
                    <a:lstStyle/>
                    <a:p>
                      <a:pPr marL="31750">
                        <a:lnSpc>
                          <a:spcPts val="1245"/>
                        </a:lnSpc>
                      </a:pPr>
                      <a:r>
                        <a:rPr sz="1200" dirty="0">
                          <a:solidFill>
                            <a:srgbClr val="FFFFFF"/>
                          </a:solidFill>
                          <a:latin typeface="Courier New"/>
                          <a:cs typeface="Courier New"/>
                        </a:rPr>
                        <a:t>]</a:t>
                      </a:r>
                      <a:endParaRPr sz="1200">
                        <a:latin typeface="Courier New"/>
                        <a:cs typeface="Courier New"/>
                      </a:endParaRPr>
                    </a:p>
                  </a:txBody>
                  <a:tcPr marL="0" marR="0" marT="0" marB="0">
                    <a:solidFill>
                      <a:srgbClr val="282828"/>
                    </a:solidFill>
                  </a:tcPr>
                </a:tc>
                <a:tc>
                  <a:txBody>
                    <a:bodyPr/>
                    <a:lstStyle/>
                    <a:p>
                      <a:pPr>
                        <a:lnSpc>
                          <a:spcPct val="100000"/>
                        </a:lnSpc>
                      </a:pPr>
                      <a:endParaRPr sz="1000">
                        <a:latin typeface="Times New Roman"/>
                        <a:cs typeface="Times New Roman"/>
                      </a:endParaRPr>
                    </a:p>
                  </a:txBody>
                  <a:tcPr marL="0" marR="0" marT="0" marB="0">
                    <a:solidFill>
                      <a:srgbClr val="282828"/>
                    </a:solidFill>
                  </a:tcPr>
                </a:tc>
                <a:tc>
                  <a:txBody>
                    <a:bodyPr/>
                    <a:lstStyle/>
                    <a:p>
                      <a:pPr>
                        <a:lnSpc>
                          <a:spcPct val="100000"/>
                        </a:lnSpc>
                      </a:pPr>
                      <a:endParaRPr sz="1000">
                        <a:latin typeface="Times New Roman"/>
                        <a:cs typeface="Times New Roman"/>
                      </a:endParaRPr>
                    </a:p>
                  </a:txBody>
                  <a:tcPr marL="0" marR="0" marT="0" marB="0">
                    <a:solidFill>
                      <a:srgbClr val="282828"/>
                    </a:solidFill>
                  </a:tcPr>
                </a:tc>
                <a:tc>
                  <a:txBody>
                    <a:bodyPr/>
                    <a:lstStyle/>
                    <a:p>
                      <a:pPr>
                        <a:lnSpc>
                          <a:spcPct val="100000"/>
                        </a:lnSpc>
                      </a:pPr>
                      <a:endParaRPr sz="1000">
                        <a:latin typeface="Times New Roman"/>
                        <a:cs typeface="Times New Roman"/>
                      </a:endParaRPr>
                    </a:p>
                  </a:txBody>
                  <a:tcPr marL="0" marR="0" marT="0" marB="0">
                    <a:solidFill>
                      <a:srgbClr val="282828"/>
                    </a:solidFill>
                  </a:tcPr>
                </a:tc>
                <a:tc>
                  <a:txBody>
                    <a:bodyPr/>
                    <a:lstStyle/>
                    <a:p>
                      <a:pPr>
                        <a:lnSpc>
                          <a:spcPct val="100000"/>
                        </a:lnSpc>
                      </a:pPr>
                      <a:endParaRPr sz="1000">
                        <a:latin typeface="Times New Roman"/>
                        <a:cs typeface="Times New Roman"/>
                      </a:endParaRPr>
                    </a:p>
                  </a:txBody>
                  <a:tcPr marL="0" marR="0" marT="0" marB="0">
                    <a:solidFill>
                      <a:srgbClr val="282828"/>
                    </a:solidFill>
                  </a:tcPr>
                </a:tc>
                <a:tc>
                  <a:txBody>
                    <a:bodyPr/>
                    <a:lstStyle/>
                    <a:p>
                      <a:pPr>
                        <a:lnSpc>
                          <a:spcPct val="100000"/>
                        </a:lnSpc>
                      </a:pPr>
                      <a:endParaRPr sz="1000">
                        <a:latin typeface="Times New Roman"/>
                        <a:cs typeface="Times New Roman"/>
                      </a:endParaRPr>
                    </a:p>
                  </a:txBody>
                  <a:tcPr marL="0" marR="0" marT="0" marB="0">
                    <a:solidFill>
                      <a:srgbClr val="282828"/>
                    </a:solidFill>
                  </a:tcPr>
                </a:tc>
                <a:tc>
                  <a:txBody>
                    <a:bodyPr/>
                    <a:lstStyle/>
                    <a:p>
                      <a:pPr>
                        <a:lnSpc>
                          <a:spcPct val="100000"/>
                        </a:lnSpc>
                      </a:pPr>
                      <a:endParaRPr sz="1000">
                        <a:latin typeface="Times New Roman"/>
                        <a:cs typeface="Times New Roman"/>
                      </a:endParaRPr>
                    </a:p>
                  </a:txBody>
                  <a:tcPr marL="0" marR="0" marT="0" marB="0">
                    <a:solidFill>
                      <a:srgbClr val="282828"/>
                    </a:solidFill>
                  </a:tcPr>
                </a:tc>
                <a:tc>
                  <a:txBody>
                    <a:bodyPr/>
                    <a:lstStyle/>
                    <a:p>
                      <a:pPr>
                        <a:lnSpc>
                          <a:spcPct val="100000"/>
                        </a:lnSpc>
                      </a:pPr>
                      <a:endParaRPr sz="1000">
                        <a:latin typeface="Times New Roman"/>
                        <a:cs typeface="Times New Roman"/>
                      </a:endParaRPr>
                    </a:p>
                  </a:txBody>
                  <a:tcPr marL="0" marR="0" marT="0" marB="0">
                    <a:solidFill>
                      <a:srgbClr val="282828"/>
                    </a:solidFill>
                  </a:tcPr>
                </a:tc>
                <a:tc>
                  <a:txBody>
                    <a:bodyPr/>
                    <a:lstStyle/>
                    <a:p>
                      <a:pPr>
                        <a:lnSpc>
                          <a:spcPct val="100000"/>
                        </a:lnSpc>
                      </a:pPr>
                      <a:endParaRPr sz="1000">
                        <a:latin typeface="Times New Roman"/>
                        <a:cs typeface="Times New Roman"/>
                      </a:endParaRPr>
                    </a:p>
                  </a:txBody>
                  <a:tcPr marL="0" marR="0" marT="0" marB="0">
                    <a:solidFill>
                      <a:srgbClr val="282828"/>
                    </a:solidFill>
                  </a:tcPr>
                </a:tc>
                <a:extLst>
                  <a:ext uri="{0D108BD9-81ED-4DB2-BD59-A6C34878D82A}">
                    <a16:rowId xmlns:a16="http://schemas.microsoft.com/office/drawing/2014/main" val="10004"/>
                  </a:ext>
                </a:extLst>
              </a:tr>
            </a:tbl>
          </a:graphicData>
        </a:graphic>
      </p:graphicFrame>
      <p:sp>
        <p:nvSpPr>
          <p:cNvPr id="6" name="object 6"/>
          <p:cNvSpPr txBox="1"/>
          <p:nvPr/>
        </p:nvSpPr>
        <p:spPr>
          <a:xfrm>
            <a:off x="771550" y="5488025"/>
            <a:ext cx="10793730" cy="730250"/>
          </a:xfrm>
          <a:prstGeom prst="rect">
            <a:avLst/>
          </a:prstGeom>
        </p:spPr>
        <p:txBody>
          <a:bodyPr vert="horz" wrap="square" lIns="0" tIns="12700" rIns="0" bIns="0" rtlCol="0">
            <a:spAutoFit/>
          </a:bodyPr>
          <a:lstStyle/>
          <a:p>
            <a:pPr marL="12700" marR="0" lvl="0" indent="0" algn="l" defTabSz="914400" rtl="0" eaLnBrk="1" fontAlgn="auto" latinLnBrk="0" hangingPunct="1">
              <a:lnSpc>
                <a:spcPts val="1405"/>
              </a:lnSpc>
              <a:spcBef>
                <a:spcPts val="10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PLAY</a:t>
            </a:r>
            <a:r>
              <a:rPr kumimoji="0" sz="1200" b="0" i="0" u="none" strike="noStrike" kern="1200" cap="none" spc="-85" normalizeH="0" baseline="0" noProof="0" dirty="0">
                <a:ln>
                  <a:noFill/>
                </a:ln>
                <a:solidFill>
                  <a:srgbClr val="FFFFFF"/>
                </a:solidFill>
                <a:effectLst/>
                <a:uLnTx/>
                <a:uFillTx/>
                <a:latin typeface="Courier New"/>
                <a:ea typeface="+mn-ea"/>
                <a:cs typeface="Courier New"/>
              </a:rPr>
              <a:t> </a:t>
            </a:r>
            <a:r>
              <a:rPr kumimoji="0" sz="1200" b="0" i="0" u="none" strike="noStrike" kern="1200" cap="none" spc="0" normalizeH="0" baseline="0" noProof="0" dirty="0">
                <a:ln>
                  <a:noFill/>
                </a:ln>
                <a:solidFill>
                  <a:srgbClr val="FFFFFF"/>
                </a:solidFill>
                <a:effectLst/>
                <a:uLnTx/>
                <a:uFillTx/>
                <a:latin typeface="Courier New"/>
                <a:ea typeface="+mn-ea"/>
                <a:cs typeface="Courier New"/>
              </a:rPr>
              <a:t>RECAP</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370"/>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370"/>
              </a:lnSpc>
              <a:spcBef>
                <a:spcPts val="0"/>
              </a:spcBef>
              <a:spcAft>
                <a:spcPts val="0"/>
              </a:spcAft>
              <a:buClrTx/>
              <a:buSzTx/>
              <a:buFontTx/>
              <a:buNone/>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405"/>
              </a:lnSpc>
              <a:spcBef>
                <a:spcPts val="0"/>
              </a:spcBef>
              <a:spcAft>
                <a:spcPts val="0"/>
              </a:spcAft>
              <a:buClrTx/>
              <a:buSzTx/>
              <a:buFontTx/>
              <a:buNone/>
              <a:tabLst>
                <a:tab pos="2495550" algn="l"/>
                <a:tab pos="3415665" algn="l"/>
                <a:tab pos="4613275" algn="l"/>
                <a:tab pos="6179185" algn="l"/>
              </a:tabLst>
              <a:defRPr/>
            </a:pPr>
            <a:r>
              <a:rPr kumimoji="0" sz="1200" b="0" i="0" u="none" strike="noStrike" kern="1200" cap="none" spc="-5" normalizeH="0" baseline="0" noProof="0" dirty="0">
                <a:ln>
                  <a:noFill/>
                </a:ln>
                <a:solidFill>
                  <a:srgbClr val="FFFFFF"/>
                </a:solidFill>
                <a:effectLst/>
                <a:uLnTx/>
                <a:uFillTx/>
                <a:latin typeface="Courier New"/>
                <a:ea typeface="+mn-ea"/>
                <a:cs typeface="Courier New"/>
              </a:rPr>
              <a:t>10.10.20.20	</a:t>
            </a:r>
            <a:r>
              <a:rPr kumimoji="0" sz="1200" b="0" i="0" u="none" strike="noStrike" kern="1200" cap="none" spc="0" normalizeH="0" baseline="0" noProof="0" dirty="0">
                <a:ln>
                  <a:noFill/>
                </a:ln>
                <a:solidFill>
                  <a:srgbClr val="FFFFFF"/>
                </a:solidFill>
                <a:effectLst/>
                <a:uLnTx/>
                <a:uFillTx/>
                <a:latin typeface="Courier New"/>
                <a:ea typeface="+mn-ea"/>
                <a:cs typeface="Courier New"/>
              </a:rPr>
              <a:t>: ok=7	changed=1	</a:t>
            </a:r>
            <a:r>
              <a:rPr kumimoji="0" sz="1200" b="0" i="0" u="none" strike="noStrike" kern="1200" cap="none" spc="-5" normalizeH="0" baseline="0" noProof="0" dirty="0">
                <a:ln>
                  <a:noFill/>
                </a:ln>
                <a:solidFill>
                  <a:srgbClr val="FFFFFF"/>
                </a:solidFill>
                <a:effectLst/>
                <a:uLnTx/>
                <a:uFillTx/>
                <a:latin typeface="Courier New"/>
                <a:ea typeface="+mn-ea"/>
                <a:cs typeface="Courier New"/>
              </a:rPr>
              <a:t>unreachable=0	failed=0</a:t>
            </a:r>
            <a:endParaRPr kumimoji="0" sz="12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7" name="object 7"/>
          <p:cNvSpPr txBox="1">
            <a:spLocks noGrp="1"/>
          </p:cNvSpPr>
          <p:nvPr>
            <p:ph type="title"/>
          </p:nvPr>
        </p:nvSpPr>
        <p:spPr>
          <a:xfrm>
            <a:off x="662736" y="131775"/>
            <a:ext cx="3892550" cy="596900"/>
          </a:xfrm>
          <a:prstGeom prst="rect">
            <a:avLst/>
          </a:prstGeom>
        </p:spPr>
        <p:txBody>
          <a:bodyPr vert="horz" wrap="square" lIns="0" tIns="12065" rIns="0" bIns="0" rtlCol="0">
            <a:spAutoFit/>
          </a:bodyPr>
          <a:lstStyle/>
          <a:p>
            <a:pPr marL="12700">
              <a:lnSpc>
                <a:spcPct val="100000"/>
              </a:lnSpc>
              <a:spcBef>
                <a:spcPts val="95"/>
              </a:spcBef>
            </a:pPr>
            <a:r>
              <a:rPr spc="-10" dirty="0">
                <a:solidFill>
                  <a:srgbClr val="005073"/>
                </a:solidFill>
              </a:rPr>
              <a:t>Ansible</a:t>
            </a:r>
            <a:r>
              <a:rPr spc="-25" dirty="0">
                <a:solidFill>
                  <a:srgbClr val="005073"/>
                </a:solidFill>
              </a:rPr>
              <a:t> Playbooks</a:t>
            </a:r>
          </a:p>
        </p:txBody>
      </p:sp>
      <p:sp>
        <p:nvSpPr>
          <p:cNvPr id="8" name="object 8"/>
          <p:cNvSpPr txBox="1"/>
          <p:nvPr/>
        </p:nvSpPr>
        <p:spPr>
          <a:xfrm>
            <a:off x="7983473" y="6380479"/>
            <a:ext cx="3647440" cy="3003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1" u="none" strike="noStrike" kern="1200" cap="none" spc="0" normalizeH="0" baseline="0" noProof="0" dirty="0">
                <a:ln>
                  <a:noFill/>
                </a:ln>
                <a:solidFill>
                  <a:srgbClr val="282828"/>
                </a:solidFill>
                <a:effectLst/>
                <a:uLnTx/>
                <a:uFillTx/>
                <a:latin typeface="Arial"/>
                <a:ea typeface="+mn-ea"/>
                <a:cs typeface="Arial"/>
              </a:rPr>
              <a:t>Output </a:t>
            </a:r>
            <a:r>
              <a:rPr kumimoji="0" sz="1800" b="0" i="1" u="none" strike="noStrike" kern="1200" cap="none" spc="15" normalizeH="0" baseline="0" noProof="0" dirty="0">
                <a:ln>
                  <a:noFill/>
                </a:ln>
                <a:solidFill>
                  <a:srgbClr val="282828"/>
                </a:solidFill>
                <a:effectLst/>
                <a:uLnTx/>
                <a:uFillTx/>
                <a:latin typeface="Arial"/>
                <a:ea typeface="+mn-ea"/>
                <a:cs typeface="Arial"/>
              </a:rPr>
              <a:t>edited for </a:t>
            </a:r>
            <a:r>
              <a:rPr kumimoji="0" sz="1800" b="0" i="1" u="none" strike="noStrike" kern="1200" cap="none" spc="5" normalizeH="0" baseline="0" noProof="0" dirty="0">
                <a:ln>
                  <a:noFill/>
                </a:ln>
                <a:solidFill>
                  <a:srgbClr val="282828"/>
                </a:solidFill>
                <a:effectLst/>
                <a:uLnTx/>
                <a:uFillTx/>
                <a:latin typeface="Arial"/>
                <a:ea typeface="+mn-ea"/>
                <a:cs typeface="Arial"/>
              </a:rPr>
              <a:t>brevity </a:t>
            </a:r>
            <a:r>
              <a:rPr kumimoji="0" sz="1800" b="0" i="1" u="none" strike="noStrike" kern="1200" cap="none" spc="-10" normalizeH="0" baseline="0" noProof="0" dirty="0">
                <a:ln>
                  <a:noFill/>
                </a:ln>
                <a:solidFill>
                  <a:srgbClr val="282828"/>
                </a:solidFill>
                <a:effectLst/>
                <a:uLnTx/>
                <a:uFillTx/>
                <a:latin typeface="Arial"/>
                <a:ea typeface="+mn-ea"/>
                <a:cs typeface="Arial"/>
              </a:rPr>
              <a:t>and</a:t>
            </a:r>
            <a:r>
              <a:rPr kumimoji="0" sz="1800" b="0" i="1" u="none" strike="noStrike" kern="1200" cap="none" spc="150" normalizeH="0" baseline="0" noProof="0" dirty="0">
                <a:ln>
                  <a:noFill/>
                </a:ln>
                <a:solidFill>
                  <a:srgbClr val="282828"/>
                </a:solidFill>
                <a:effectLst/>
                <a:uLnTx/>
                <a:uFillTx/>
                <a:latin typeface="Arial"/>
                <a:ea typeface="+mn-ea"/>
                <a:cs typeface="Arial"/>
              </a:rPr>
              <a:t> </a:t>
            </a:r>
            <a:r>
              <a:rPr kumimoji="0" sz="1800" b="0" i="1" u="none" strike="noStrike" kern="1200" cap="none" spc="0" normalizeH="0" baseline="0" noProof="0" dirty="0">
                <a:ln>
                  <a:noFill/>
                </a:ln>
                <a:solidFill>
                  <a:srgbClr val="282828"/>
                </a:solidFill>
                <a:effectLst/>
                <a:uLnTx/>
                <a:uFillTx/>
                <a:latin typeface="Arial"/>
                <a:ea typeface="+mn-ea"/>
                <a:cs typeface="Arial"/>
              </a:rPr>
              <a:t>clarity</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1849496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p:nvPr/>
        </p:nvSpPr>
        <p:spPr>
          <a:xfrm>
            <a:off x="774903" y="1623441"/>
            <a:ext cx="5529580" cy="3676015"/>
          </a:xfrm>
          <a:prstGeom prst="rect">
            <a:avLst/>
          </a:prstGeom>
        </p:spPr>
        <p:txBody>
          <a:bodyPr vert="horz" wrap="square" lIns="0" tIns="14605" rIns="0" bIns="0" rtlCol="0">
            <a:spAutoFit/>
          </a:bodyPr>
          <a:lstStyle/>
          <a:p>
            <a:pPr marL="167640" marR="0" lvl="0" indent="-154940" algn="l" defTabSz="914400" rtl="0" eaLnBrk="1" fontAlgn="auto" latinLnBrk="0" hangingPunct="1">
              <a:lnSpc>
                <a:spcPts val="2970"/>
              </a:lnSpc>
              <a:spcBef>
                <a:spcPts val="115"/>
              </a:spcBef>
              <a:spcAft>
                <a:spcPts val="0"/>
              </a:spcAft>
              <a:buClrTx/>
              <a:buSzPct val="60377"/>
              <a:buFontTx/>
              <a:buChar char="•"/>
              <a:tabLst>
                <a:tab pos="168275" algn="l"/>
              </a:tabLst>
              <a:defRPr/>
            </a:pPr>
            <a:r>
              <a:rPr kumimoji="0" sz="2650" b="0" i="0" u="none" strike="noStrike" kern="1200" cap="none" spc="0" normalizeH="0" baseline="0" noProof="0" dirty="0">
                <a:ln>
                  <a:noFill/>
                </a:ln>
                <a:solidFill>
                  <a:srgbClr val="282828"/>
                </a:solidFill>
                <a:effectLst/>
                <a:uLnTx/>
                <a:uFillTx/>
                <a:latin typeface="Arial"/>
                <a:ea typeface="+mn-ea"/>
                <a:cs typeface="Arial"/>
              </a:rPr>
              <a:t>Include </a:t>
            </a:r>
            <a:r>
              <a:rPr kumimoji="0" sz="2650" b="0" i="0" u="none" strike="noStrike" kern="1200" cap="none" spc="5" normalizeH="0" baseline="0" noProof="0" dirty="0">
                <a:ln>
                  <a:noFill/>
                </a:ln>
                <a:solidFill>
                  <a:srgbClr val="282828"/>
                </a:solidFill>
                <a:effectLst/>
                <a:uLnTx/>
                <a:uFillTx/>
                <a:latin typeface="Arial"/>
                <a:ea typeface="+mn-ea"/>
                <a:cs typeface="Arial"/>
              </a:rPr>
              <a:t>external </a:t>
            </a:r>
            <a:r>
              <a:rPr kumimoji="0" sz="2650" b="0" i="0" u="none" strike="noStrike" kern="1200" cap="none" spc="-10" normalizeH="0" baseline="0" noProof="0" dirty="0">
                <a:ln>
                  <a:noFill/>
                </a:ln>
                <a:solidFill>
                  <a:srgbClr val="282828"/>
                </a:solidFill>
                <a:effectLst/>
                <a:uLnTx/>
                <a:uFillTx/>
                <a:latin typeface="Arial"/>
                <a:ea typeface="+mn-ea"/>
                <a:cs typeface="Arial"/>
              </a:rPr>
              <a:t>variable </a:t>
            </a:r>
            <a:r>
              <a:rPr kumimoji="0" sz="2650" b="0" i="0" u="none" strike="noStrike" kern="1200" cap="none" spc="0" normalizeH="0" baseline="0" noProof="0" dirty="0">
                <a:ln>
                  <a:noFill/>
                </a:ln>
                <a:solidFill>
                  <a:srgbClr val="282828"/>
                </a:solidFill>
                <a:effectLst/>
                <a:uLnTx/>
                <a:uFillTx/>
                <a:latin typeface="Arial"/>
                <a:ea typeface="+mn-ea"/>
                <a:cs typeface="Arial"/>
              </a:rPr>
              <a:t>files</a:t>
            </a:r>
            <a:r>
              <a:rPr kumimoji="0" sz="2650" b="0" i="0" u="none" strike="noStrike" kern="1200" cap="none" spc="275" normalizeH="0" baseline="0" noProof="0" dirty="0">
                <a:ln>
                  <a:noFill/>
                </a:ln>
                <a:solidFill>
                  <a:srgbClr val="282828"/>
                </a:solidFill>
                <a:effectLst/>
                <a:uLnTx/>
                <a:uFillTx/>
                <a:latin typeface="Arial"/>
                <a:ea typeface="+mn-ea"/>
                <a:cs typeface="Arial"/>
              </a:rPr>
              <a:t> </a:t>
            </a:r>
            <a:r>
              <a:rPr kumimoji="0" sz="2650" b="0" i="0" u="none" strike="noStrike" kern="1200" cap="none" spc="0" normalizeH="0" baseline="0" noProof="0" dirty="0">
                <a:ln>
                  <a:noFill/>
                </a:ln>
                <a:solidFill>
                  <a:srgbClr val="282828"/>
                </a:solidFill>
                <a:effectLst/>
                <a:uLnTx/>
                <a:uFillTx/>
                <a:latin typeface="Arial"/>
                <a:ea typeface="+mn-ea"/>
                <a:cs typeface="Arial"/>
              </a:rPr>
              <a:t>using</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2970"/>
              </a:lnSpc>
              <a:spcBef>
                <a:spcPts val="0"/>
              </a:spcBef>
              <a:spcAft>
                <a:spcPts val="0"/>
              </a:spcAft>
              <a:buClrTx/>
              <a:buSzTx/>
              <a:buFontTx/>
              <a:buNone/>
              <a:tabLst/>
              <a:defRPr/>
            </a:pPr>
            <a:r>
              <a:rPr kumimoji="0" sz="2650" b="0" i="0" u="none" strike="noStrike" kern="1200" cap="none" spc="0" normalizeH="0" baseline="0" noProof="0" dirty="0">
                <a:ln>
                  <a:noFill/>
                </a:ln>
                <a:solidFill>
                  <a:srgbClr val="282828"/>
                </a:solidFill>
                <a:effectLst/>
                <a:uLnTx/>
                <a:uFillTx/>
                <a:latin typeface="Courier New"/>
                <a:ea typeface="+mn-ea"/>
                <a:cs typeface="Courier New"/>
              </a:rPr>
              <a:t>vars_files:</a:t>
            </a:r>
            <a:r>
              <a:rPr kumimoji="0" sz="2650" b="0" i="0" u="none" strike="noStrike" kern="1200" cap="none" spc="60" normalizeH="0" baseline="0" noProof="0" dirty="0">
                <a:ln>
                  <a:noFill/>
                </a:ln>
                <a:solidFill>
                  <a:srgbClr val="282828"/>
                </a:solidFill>
                <a:effectLst/>
                <a:uLnTx/>
                <a:uFillTx/>
                <a:latin typeface="Courier New"/>
                <a:ea typeface="+mn-ea"/>
                <a:cs typeface="Courier New"/>
              </a:rPr>
              <a:t> </a:t>
            </a:r>
            <a:r>
              <a:rPr kumimoji="0" sz="2650" b="1" i="0" u="none" strike="noStrike" kern="1200" cap="none" spc="0" normalizeH="0" baseline="0" noProof="0" dirty="0">
                <a:ln>
                  <a:noFill/>
                </a:ln>
                <a:solidFill>
                  <a:srgbClr val="282828"/>
                </a:solidFill>
                <a:effectLst/>
                <a:uLnTx/>
                <a:uFillTx/>
                <a:latin typeface="Courier New"/>
                <a:ea typeface="+mn-ea"/>
                <a:cs typeface="Courier New"/>
              </a:rPr>
              <a:t>filename.yaml</a:t>
            </a:r>
            <a:endParaRPr kumimoji="0" sz="2650" b="0" i="0" u="none" strike="noStrike" kern="1200" cap="none" spc="0" normalizeH="0" baseline="0" noProof="0">
              <a:ln>
                <a:noFill/>
              </a:ln>
              <a:solidFill>
                <a:prstClr val="black"/>
              </a:solidFill>
              <a:effectLst/>
              <a:uLnTx/>
              <a:uFillTx/>
              <a:latin typeface="Courier New"/>
              <a:ea typeface="+mn-ea"/>
              <a:cs typeface="Courier New"/>
            </a:endParaRPr>
          </a:p>
          <a:p>
            <a:pPr marL="167640" marR="0" lvl="0" indent="-154940" algn="l" defTabSz="914400" rtl="0" eaLnBrk="1" fontAlgn="auto" latinLnBrk="0" hangingPunct="1">
              <a:lnSpc>
                <a:spcPts val="2985"/>
              </a:lnSpc>
              <a:spcBef>
                <a:spcPts val="1620"/>
              </a:spcBef>
              <a:spcAft>
                <a:spcPts val="0"/>
              </a:spcAft>
              <a:buClr>
                <a:srgbClr val="282828"/>
              </a:buClr>
              <a:buSzPct val="60377"/>
              <a:buFontTx/>
              <a:buChar char="•"/>
              <a:tabLst>
                <a:tab pos="168275" algn="l"/>
              </a:tabLst>
              <a:defRPr/>
            </a:pPr>
            <a:r>
              <a:rPr kumimoji="0" sz="2650" b="0" i="0" u="none" strike="noStrike" kern="1200" cap="none" spc="5" normalizeH="0" baseline="0" noProof="0" dirty="0">
                <a:ln>
                  <a:noFill/>
                </a:ln>
                <a:solidFill>
                  <a:srgbClr val="E2231B"/>
                </a:solidFill>
                <a:effectLst/>
                <a:uLnTx/>
                <a:uFillTx/>
                <a:latin typeface="Arial"/>
                <a:ea typeface="+mn-ea"/>
                <a:cs typeface="Arial"/>
              </a:rPr>
              <a:t>Reference </a:t>
            </a:r>
            <a:r>
              <a:rPr kumimoji="0" sz="2650" b="0" i="0" u="none" strike="noStrike" kern="1200" cap="none" spc="-10" normalizeH="0" baseline="0" noProof="0" dirty="0">
                <a:ln>
                  <a:noFill/>
                </a:ln>
                <a:solidFill>
                  <a:srgbClr val="E2231B"/>
                </a:solidFill>
                <a:effectLst/>
                <a:uLnTx/>
                <a:uFillTx/>
                <a:latin typeface="Arial"/>
                <a:ea typeface="+mn-ea"/>
                <a:cs typeface="Arial"/>
              </a:rPr>
              <a:t>variables</a:t>
            </a:r>
            <a:r>
              <a:rPr kumimoji="0" sz="2650" b="0" i="0" u="none" strike="noStrike" kern="1200" cap="none" spc="130" normalizeH="0" baseline="0" noProof="0" dirty="0">
                <a:ln>
                  <a:noFill/>
                </a:ln>
                <a:solidFill>
                  <a:srgbClr val="E2231B"/>
                </a:solidFill>
                <a:effectLst/>
                <a:uLnTx/>
                <a:uFillTx/>
                <a:latin typeface="Arial"/>
                <a:ea typeface="+mn-ea"/>
                <a:cs typeface="Arial"/>
              </a:rPr>
              <a:t> </a:t>
            </a:r>
            <a:r>
              <a:rPr kumimoji="0" sz="2650" b="0" i="0" u="none" strike="noStrike" kern="1200" cap="none" spc="30" normalizeH="0" baseline="0" noProof="0" dirty="0">
                <a:ln>
                  <a:noFill/>
                </a:ln>
                <a:solidFill>
                  <a:srgbClr val="E2231B"/>
                </a:solidFill>
                <a:effectLst/>
                <a:uLnTx/>
                <a:uFillTx/>
                <a:latin typeface="Arial"/>
                <a:ea typeface="+mn-ea"/>
                <a:cs typeface="Arial"/>
              </a:rPr>
              <a:t>with</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2985"/>
              </a:lnSpc>
              <a:spcBef>
                <a:spcPts val="0"/>
              </a:spcBef>
              <a:spcAft>
                <a:spcPts val="0"/>
              </a:spcAft>
              <a:buClrTx/>
              <a:buSzTx/>
              <a:buFontTx/>
              <a:buNone/>
              <a:tabLst/>
              <a:defRPr/>
            </a:pPr>
            <a:r>
              <a:rPr kumimoji="0" sz="2650" b="0" i="0" u="none" strike="noStrike" kern="1200" cap="none" spc="0" normalizeH="0" baseline="0" noProof="0" dirty="0">
                <a:ln>
                  <a:noFill/>
                </a:ln>
                <a:solidFill>
                  <a:srgbClr val="E2231B"/>
                </a:solidFill>
                <a:effectLst/>
                <a:uLnTx/>
                <a:uFillTx/>
                <a:latin typeface="Courier New"/>
                <a:ea typeface="+mn-ea"/>
                <a:cs typeface="Courier New"/>
              </a:rPr>
              <a:t>{{</a:t>
            </a:r>
            <a:r>
              <a:rPr kumimoji="0" sz="2650" b="1" i="0" u="none" strike="noStrike" kern="1200" cap="none" spc="0" normalizeH="0" baseline="0" noProof="0" dirty="0">
                <a:ln>
                  <a:noFill/>
                </a:ln>
                <a:solidFill>
                  <a:srgbClr val="E2231B"/>
                </a:solidFill>
                <a:effectLst/>
                <a:uLnTx/>
                <a:uFillTx/>
                <a:latin typeface="Courier New"/>
                <a:ea typeface="+mn-ea"/>
                <a:cs typeface="Courier New"/>
              </a:rPr>
              <a:t>name</a:t>
            </a:r>
            <a:r>
              <a:rPr kumimoji="0" sz="2650" b="0" i="0" u="none" strike="noStrike" kern="1200" cap="none" spc="0" normalizeH="0" baseline="0" noProof="0" dirty="0">
                <a:ln>
                  <a:noFill/>
                </a:ln>
                <a:solidFill>
                  <a:srgbClr val="E2231B"/>
                </a:solidFill>
                <a:effectLst/>
                <a:uLnTx/>
                <a:uFillTx/>
                <a:latin typeface="Courier New"/>
                <a:ea typeface="+mn-ea"/>
                <a:cs typeface="Courier New"/>
              </a:rPr>
              <a:t>}}</a:t>
            </a:r>
            <a:endParaRPr kumimoji="0" sz="2650" b="0" i="0" u="none" strike="noStrike" kern="1200" cap="none" spc="0" normalizeH="0" baseline="0" noProof="0">
              <a:ln>
                <a:noFill/>
              </a:ln>
              <a:solidFill>
                <a:prstClr val="black"/>
              </a:solidFill>
              <a:effectLst/>
              <a:uLnTx/>
              <a:uFillTx/>
              <a:latin typeface="Courier New"/>
              <a:ea typeface="+mn-ea"/>
              <a:cs typeface="Courier New"/>
            </a:endParaRPr>
          </a:p>
          <a:p>
            <a:pPr marL="167640" marR="5080" lvl="0" indent="-154940" algn="l" defTabSz="914400" rtl="0" eaLnBrk="1" fontAlgn="auto" latinLnBrk="0" hangingPunct="1">
              <a:lnSpc>
                <a:spcPts val="3050"/>
              </a:lnSpc>
              <a:spcBef>
                <a:spcPts val="1835"/>
              </a:spcBef>
              <a:spcAft>
                <a:spcPts val="0"/>
              </a:spcAft>
              <a:buClrTx/>
              <a:buSzPct val="60377"/>
              <a:buFontTx/>
              <a:buChar char="•"/>
              <a:tabLst>
                <a:tab pos="168275" algn="l"/>
              </a:tabLst>
              <a:defRPr/>
            </a:pPr>
            <a:r>
              <a:rPr kumimoji="0" sz="2650" b="0" i="0" u="none" strike="noStrike" kern="1200" cap="none" spc="-35" normalizeH="0" baseline="0" noProof="0" dirty="0">
                <a:ln>
                  <a:noFill/>
                </a:ln>
                <a:solidFill>
                  <a:srgbClr val="282828"/>
                </a:solidFill>
                <a:effectLst/>
                <a:uLnTx/>
                <a:uFillTx/>
                <a:latin typeface="Arial"/>
                <a:ea typeface="+mn-ea"/>
                <a:cs typeface="Arial"/>
              </a:rPr>
              <a:t>YAML </a:t>
            </a:r>
            <a:r>
              <a:rPr kumimoji="0" sz="2650" b="0" i="0" u="none" strike="noStrike" kern="1200" cap="none" spc="25" normalizeH="0" baseline="0" noProof="0" dirty="0">
                <a:ln>
                  <a:noFill/>
                </a:ln>
                <a:solidFill>
                  <a:srgbClr val="282828"/>
                </a:solidFill>
                <a:effectLst/>
                <a:uLnTx/>
                <a:uFillTx/>
                <a:latin typeface="Arial"/>
                <a:ea typeface="+mn-ea"/>
                <a:cs typeface="Arial"/>
              </a:rPr>
              <a:t>supports </a:t>
            </a:r>
            <a:r>
              <a:rPr kumimoji="0" sz="2650" b="0" i="0" u="none" strike="noStrike" kern="1200" cap="none" spc="-5" normalizeH="0" baseline="0" noProof="0" dirty="0">
                <a:ln>
                  <a:noFill/>
                </a:ln>
                <a:solidFill>
                  <a:srgbClr val="6DBD49"/>
                </a:solidFill>
                <a:effectLst/>
                <a:uLnTx/>
                <a:uFillTx/>
                <a:latin typeface="Arial"/>
                <a:ea typeface="+mn-ea"/>
                <a:cs typeface="Arial"/>
              </a:rPr>
              <a:t>lists </a:t>
            </a:r>
            <a:r>
              <a:rPr kumimoji="0" sz="2650" b="0" i="0" u="none" strike="noStrike" kern="1200" cap="none" spc="0" normalizeH="0" baseline="0" noProof="0" dirty="0">
                <a:ln>
                  <a:noFill/>
                </a:ln>
                <a:solidFill>
                  <a:srgbClr val="282828"/>
                </a:solidFill>
                <a:effectLst/>
                <a:uLnTx/>
                <a:uFillTx/>
                <a:latin typeface="Arial"/>
                <a:ea typeface="+mn-ea"/>
                <a:cs typeface="Arial"/>
              </a:rPr>
              <a:t>and </a:t>
            </a:r>
            <a:r>
              <a:rPr kumimoji="0" sz="2650" b="0" i="0" u="none" strike="noStrike" kern="1200" cap="none" spc="-10" normalizeH="0" baseline="0" noProof="0" dirty="0">
                <a:ln>
                  <a:noFill/>
                </a:ln>
                <a:solidFill>
                  <a:srgbClr val="FAAB17"/>
                </a:solidFill>
                <a:effectLst/>
                <a:uLnTx/>
                <a:uFillTx/>
                <a:latin typeface="Arial"/>
                <a:ea typeface="+mn-ea"/>
                <a:cs typeface="Arial"/>
              </a:rPr>
              <a:t>hashes </a:t>
            </a:r>
            <a:r>
              <a:rPr kumimoji="0" sz="2650" b="0" i="0" u="none" strike="noStrike" kern="1200" cap="none" spc="0" normalizeH="0" baseline="0" noProof="0" dirty="0">
                <a:ln>
                  <a:noFill/>
                </a:ln>
                <a:solidFill>
                  <a:srgbClr val="282828"/>
                </a:solidFill>
                <a:effectLst/>
                <a:uLnTx/>
                <a:uFillTx/>
                <a:latin typeface="Arial"/>
                <a:ea typeface="+mn-ea"/>
                <a:cs typeface="Arial"/>
              </a:rPr>
              <a:t>(ie  </a:t>
            </a:r>
            <a:r>
              <a:rPr kumimoji="0" sz="2650" b="0" i="0" u="none" strike="noStrike" kern="1200" cap="none" spc="10" normalizeH="0" baseline="0" noProof="0" dirty="0">
                <a:ln>
                  <a:noFill/>
                </a:ln>
                <a:solidFill>
                  <a:srgbClr val="282828"/>
                </a:solidFill>
                <a:effectLst/>
                <a:uLnTx/>
                <a:uFillTx/>
                <a:latin typeface="Arial"/>
                <a:ea typeface="+mn-ea"/>
                <a:cs typeface="Arial"/>
              </a:rPr>
              <a:t>key/value)</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ts val="2995"/>
              </a:lnSpc>
              <a:spcBef>
                <a:spcPts val="1280"/>
              </a:spcBef>
              <a:spcAft>
                <a:spcPts val="0"/>
              </a:spcAft>
              <a:buClr>
                <a:srgbClr val="282828"/>
              </a:buClr>
              <a:buSzPct val="60377"/>
              <a:buFontTx/>
              <a:buChar char="•"/>
              <a:tabLst>
                <a:tab pos="168275" algn="l"/>
              </a:tabLst>
              <a:defRPr/>
            </a:pPr>
            <a:r>
              <a:rPr kumimoji="0" sz="2650" b="0" i="0" u="none" strike="noStrike" kern="1200" cap="none" spc="35" normalizeH="0" baseline="0" noProof="0" dirty="0">
                <a:ln>
                  <a:noFill/>
                </a:ln>
                <a:solidFill>
                  <a:srgbClr val="00BBEB"/>
                </a:solidFill>
                <a:effectLst/>
                <a:uLnTx/>
                <a:uFillTx/>
                <a:latin typeface="Arial"/>
                <a:ea typeface="+mn-ea"/>
                <a:cs typeface="Arial"/>
              </a:rPr>
              <a:t>Loop </a:t>
            </a:r>
            <a:r>
              <a:rPr kumimoji="0" sz="2650" b="0" i="0" u="none" strike="noStrike" kern="1200" cap="none" spc="55" normalizeH="0" baseline="0" noProof="0" dirty="0">
                <a:ln>
                  <a:noFill/>
                </a:ln>
                <a:solidFill>
                  <a:srgbClr val="00BBEB"/>
                </a:solidFill>
                <a:effectLst/>
                <a:uLnTx/>
                <a:uFillTx/>
                <a:latin typeface="Arial"/>
                <a:ea typeface="+mn-ea"/>
                <a:cs typeface="Arial"/>
              </a:rPr>
              <a:t>to </a:t>
            </a:r>
            <a:r>
              <a:rPr kumimoji="0" sz="2650" b="0" i="0" u="none" strike="noStrike" kern="1200" cap="none" spc="25" normalizeH="0" baseline="0" noProof="0" dirty="0">
                <a:ln>
                  <a:noFill/>
                </a:ln>
                <a:solidFill>
                  <a:srgbClr val="00BBEB"/>
                </a:solidFill>
                <a:effectLst/>
                <a:uLnTx/>
                <a:uFillTx/>
                <a:latin typeface="Arial"/>
                <a:ea typeface="+mn-ea"/>
                <a:cs typeface="Arial"/>
              </a:rPr>
              <a:t>repeat </a:t>
            </a:r>
            <a:r>
              <a:rPr kumimoji="0" sz="2650" b="0" i="0" u="none" strike="noStrike" kern="1200" cap="none" spc="10" normalizeH="0" baseline="0" noProof="0" dirty="0">
                <a:ln>
                  <a:noFill/>
                </a:ln>
                <a:solidFill>
                  <a:srgbClr val="00BBEB"/>
                </a:solidFill>
                <a:effectLst/>
                <a:uLnTx/>
                <a:uFillTx/>
                <a:latin typeface="Arial"/>
                <a:ea typeface="+mn-ea"/>
                <a:cs typeface="Arial"/>
              </a:rPr>
              <a:t>actions</a:t>
            </a:r>
            <a:r>
              <a:rPr kumimoji="0" sz="2650" b="0" i="0" u="none" strike="noStrike" kern="1200" cap="none" spc="90" normalizeH="0" baseline="0" noProof="0" dirty="0">
                <a:ln>
                  <a:noFill/>
                </a:ln>
                <a:solidFill>
                  <a:srgbClr val="00BBEB"/>
                </a:solidFill>
                <a:effectLst/>
                <a:uLnTx/>
                <a:uFillTx/>
                <a:latin typeface="Arial"/>
                <a:ea typeface="+mn-ea"/>
                <a:cs typeface="Arial"/>
              </a:rPr>
              <a:t> </a:t>
            </a:r>
            <a:r>
              <a:rPr kumimoji="0" sz="2650" b="0" i="0" u="none" strike="noStrike" kern="1200" cap="none" spc="30" normalizeH="0" baseline="0" noProof="0" dirty="0">
                <a:ln>
                  <a:noFill/>
                </a:ln>
                <a:solidFill>
                  <a:srgbClr val="00BBEB"/>
                </a:solidFill>
                <a:effectLst/>
                <a:uLnTx/>
                <a:uFillTx/>
                <a:latin typeface="Arial"/>
                <a:ea typeface="+mn-ea"/>
                <a:cs typeface="Arial"/>
              </a:rPr>
              <a:t>with</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2995"/>
              </a:lnSpc>
              <a:spcBef>
                <a:spcPts val="0"/>
              </a:spcBef>
              <a:spcAft>
                <a:spcPts val="0"/>
              </a:spcAft>
              <a:buClrTx/>
              <a:buSzTx/>
              <a:buFontTx/>
              <a:buNone/>
              <a:tabLst/>
              <a:defRPr/>
            </a:pPr>
            <a:r>
              <a:rPr kumimoji="0" sz="2650" b="0" i="0" u="none" strike="noStrike" kern="1200" cap="none" spc="0" normalizeH="0" baseline="0" noProof="0" dirty="0">
                <a:ln>
                  <a:noFill/>
                </a:ln>
                <a:solidFill>
                  <a:srgbClr val="00BBEB"/>
                </a:solidFill>
                <a:effectLst/>
                <a:uLnTx/>
                <a:uFillTx/>
                <a:latin typeface="Courier New"/>
                <a:ea typeface="+mn-ea"/>
                <a:cs typeface="Courier New"/>
              </a:rPr>
              <a:t>with_items:</a:t>
            </a:r>
            <a:r>
              <a:rPr kumimoji="0" sz="2650" b="0" i="0" u="none" strike="noStrike" kern="1200" cap="none" spc="10" normalizeH="0" baseline="0" noProof="0" dirty="0">
                <a:ln>
                  <a:noFill/>
                </a:ln>
                <a:solidFill>
                  <a:srgbClr val="00BBEB"/>
                </a:solidFill>
                <a:effectLst/>
                <a:uLnTx/>
                <a:uFillTx/>
                <a:latin typeface="Courier New"/>
                <a:ea typeface="+mn-ea"/>
                <a:cs typeface="Courier New"/>
              </a:rPr>
              <a:t> </a:t>
            </a:r>
            <a:r>
              <a:rPr kumimoji="0" sz="2650" b="1" i="0" u="none" strike="noStrike" kern="1200" cap="none" spc="0" normalizeH="0" baseline="0" noProof="0" dirty="0">
                <a:ln>
                  <a:noFill/>
                </a:ln>
                <a:solidFill>
                  <a:srgbClr val="00BBEB"/>
                </a:solidFill>
                <a:effectLst/>
                <a:uLnTx/>
                <a:uFillTx/>
                <a:latin typeface="Courier New"/>
                <a:ea typeface="+mn-ea"/>
                <a:cs typeface="Courier New"/>
              </a:rPr>
              <a:t>variable</a:t>
            </a:r>
            <a:endParaRPr kumimoji="0" sz="265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4" name="object 4"/>
          <p:cNvSpPr txBox="1">
            <a:spLocks noGrp="1"/>
          </p:cNvSpPr>
          <p:nvPr>
            <p:ph type="title"/>
          </p:nvPr>
        </p:nvSpPr>
        <p:spPr>
          <a:xfrm>
            <a:off x="662736" y="587501"/>
            <a:ext cx="9277985" cy="596265"/>
          </a:xfrm>
          <a:prstGeom prst="rect">
            <a:avLst/>
          </a:prstGeom>
        </p:spPr>
        <p:txBody>
          <a:bodyPr vert="horz" wrap="square" lIns="0" tIns="12065" rIns="0" bIns="0" rtlCol="0">
            <a:spAutoFit/>
          </a:bodyPr>
          <a:lstStyle/>
          <a:p>
            <a:pPr marL="12700">
              <a:lnSpc>
                <a:spcPct val="100000"/>
              </a:lnSpc>
              <a:spcBef>
                <a:spcPts val="95"/>
              </a:spcBef>
            </a:pPr>
            <a:r>
              <a:rPr spc="-20" dirty="0">
                <a:solidFill>
                  <a:srgbClr val="005073"/>
                </a:solidFill>
              </a:rPr>
              <a:t>Using </a:t>
            </a:r>
            <a:r>
              <a:rPr spc="-45" dirty="0">
                <a:solidFill>
                  <a:srgbClr val="005073"/>
                </a:solidFill>
              </a:rPr>
              <a:t>Variable </a:t>
            </a:r>
            <a:r>
              <a:rPr spc="-70" dirty="0">
                <a:solidFill>
                  <a:srgbClr val="005073"/>
                </a:solidFill>
              </a:rPr>
              <a:t>Files </a:t>
            </a:r>
            <a:r>
              <a:rPr spc="-15" dirty="0">
                <a:solidFill>
                  <a:srgbClr val="005073"/>
                </a:solidFill>
              </a:rPr>
              <a:t>and </a:t>
            </a:r>
            <a:r>
              <a:rPr spc="15" dirty="0">
                <a:solidFill>
                  <a:srgbClr val="005073"/>
                </a:solidFill>
              </a:rPr>
              <a:t>Loops </a:t>
            </a:r>
            <a:r>
              <a:rPr spc="35" dirty="0">
                <a:solidFill>
                  <a:srgbClr val="005073"/>
                </a:solidFill>
              </a:rPr>
              <a:t>with</a:t>
            </a:r>
            <a:r>
              <a:rPr spc="535" dirty="0">
                <a:solidFill>
                  <a:srgbClr val="005073"/>
                </a:solidFill>
              </a:rPr>
              <a:t> </a:t>
            </a:r>
            <a:r>
              <a:rPr spc="-10" dirty="0">
                <a:solidFill>
                  <a:srgbClr val="005073"/>
                </a:solidFill>
              </a:rPr>
              <a:t>Ansible</a:t>
            </a:r>
          </a:p>
        </p:txBody>
      </p:sp>
      <p:sp>
        <p:nvSpPr>
          <p:cNvPr id="5" name="object 5"/>
          <p:cNvSpPr/>
          <p:nvPr/>
        </p:nvSpPr>
        <p:spPr>
          <a:xfrm>
            <a:off x="6513576" y="2822448"/>
            <a:ext cx="4803648" cy="324612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8787383" y="1603247"/>
            <a:ext cx="2529839" cy="1219200"/>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8782811" y="1598675"/>
            <a:ext cx="2539365" cy="1228725"/>
          </a:xfrm>
          <a:custGeom>
            <a:avLst/>
            <a:gdLst/>
            <a:ahLst/>
            <a:cxnLst/>
            <a:rect l="l" t="t" r="r" b="b"/>
            <a:pathLst>
              <a:path w="2539365" h="1228725">
                <a:moveTo>
                  <a:pt x="0" y="1228344"/>
                </a:moveTo>
                <a:lnTo>
                  <a:pt x="2538983" y="1228344"/>
                </a:lnTo>
                <a:lnTo>
                  <a:pt x="2538983" y="0"/>
                </a:lnTo>
                <a:lnTo>
                  <a:pt x="0" y="0"/>
                </a:lnTo>
                <a:lnTo>
                  <a:pt x="0" y="1228344"/>
                </a:lnTo>
                <a:close/>
              </a:path>
            </a:pathLst>
          </a:custGeom>
          <a:ln w="9144">
            <a:solidFill>
              <a:srgbClr val="28282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8801227" y="1586483"/>
            <a:ext cx="2118360" cy="0"/>
          </a:xfrm>
          <a:custGeom>
            <a:avLst/>
            <a:gdLst/>
            <a:ahLst/>
            <a:cxnLst/>
            <a:rect l="l" t="t" r="r" b="b"/>
            <a:pathLst>
              <a:path w="2118359">
                <a:moveTo>
                  <a:pt x="0" y="0"/>
                </a:moveTo>
                <a:lnTo>
                  <a:pt x="2118359" y="0"/>
                </a:lnTo>
              </a:path>
            </a:pathLst>
          </a:custGeom>
          <a:ln w="18287">
            <a:solidFill>
              <a:srgbClr val="28282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txBox="1"/>
          <p:nvPr/>
        </p:nvSpPr>
        <p:spPr>
          <a:xfrm>
            <a:off x="8790813" y="1324483"/>
            <a:ext cx="2141220"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0" normalizeH="0" baseline="0" noProof="0" dirty="0">
                <a:ln>
                  <a:noFill/>
                </a:ln>
                <a:solidFill>
                  <a:srgbClr val="282828"/>
                </a:solidFill>
                <a:effectLst/>
                <a:uLnTx/>
                <a:uFillTx/>
                <a:latin typeface="Arial"/>
                <a:ea typeface="+mn-ea"/>
                <a:cs typeface="Arial"/>
              </a:rPr>
              <a:t>example2_vars.yaml</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
        <p:nvSpPr>
          <p:cNvPr id="10" name="object 10"/>
          <p:cNvSpPr txBox="1"/>
          <p:nvPr/>
        </p:nvSpPr>
        <p:spPr>
          <a:xfrm>
            <a:off x="6509131" y="6396024"/>
            <a:ext cx="5130165" cy="452120"/>
          </a:xfrm>
          <a:prstGeom prst="rect">
            <a:avLst/>
          </a:prstGeom>
        </p:spPr>
        <p:txBody>
          <a:bodyPr vert="horz" wrap="square" lIns="0" tIns="12065" rIns="0" bIns="0" rtlCol="0">
            <a:spAutoFit/>
          </a:bodyPr>
          <a:lstStyle/>
          <a:p>
            <a:pPr marL="451484" marR="0" lvl="0" indent="0" algn="l" defTabSz="914400" rtl="0" eaLnBrk="1" fontAlgn="auto" latinLnBrk="0" hangingPunct="1">
              <a:lnSpc>
                <a:spcPct val="100000"/>
              </a:lnSpc>
              <a:spcBef>
                <a:spcPts val="95"/>
              </a:spcBef>
              <a:spcAft>
                <a:spcPts val="0"/>
              </a:spcAft>
              <a:buClrTx/>
              <a:buSzTx/>
              <a:buFontTx/>
              <a:buNone/>
              <a:tabLst/>
              <a:defRPr/>
            </a:pPr>
            <a:r>
              <a:rPr kumimoji="0" sz="1400" b="0" i="0" u="none" strike="noStrike" kern="1200" cap="none" spc="10" normalizeH="0" baseline="0" noProof="0" dirty="0">
                <a:ln>
                  <a:noFill/>
                </a:ln>
                <a:solidFill>
                  <a:srgbClr val="00BBEB"/>
                </a:solidFill>
                <a:effectLst/>
                <a:uLnTx/>
                <a:uFillTx/>
                <a:latin typeface="Arial"/>
                <a:ea typeface="+mn-ea"/>
                <a:cs typeface="Arial"/>
              </a:rPr>
              <a:t>netprog_basics/netdevops/ansible_part_1/example2.yaml</a:t>
            </a:r>
            <a:endParaRPr kumimoji="0" sz="14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srgbClr val="00BBEB"/>
                </a:solidFill>
                <a:effectLst/>
                <a:uLnTx/>
                <a:uFillTx/>
                <a:latin typeface="Arial"/>
                <a:ea typeface="+mn-ea"/>
                <a:cs typeface="Arial"/>
              </a:rPr>
              <a:t>netprog_basics/netdevops/ansible_part_1/example2_vars.yaml</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11" name="object 11"/>
          <p:cNvSpPr/>
          <p:nvPr/>
        </p:nvSpPr>
        <p:spPr>
          <a:xfrm>
            <a:off x="8959595" y="4875276"/>
            <a:ext cx="1771014" cy="323215"/>
          </a:xfrm>
          <a:custGeom>
            <a:avLst/>
            <a:gdLst/>
            <a:ahLst/>
            <a:cxnLst/>
            <a:rect l="l" t="t" r="r" b="b"/>
            <a:pathLst>
              <a:path w="1771015" h="323214">
                <a:moveTo>
                  <a:pt x="0" y="323088"/>
                </a:moveTo>
                <a:lnTo>
                  <a:pt x="1770888" y="323088"/>
                </a:lnTo>
                <a:lnTo>
                  <a:pt x="1770888" y="0"/>
                </a:lnTo>
                <a:lnTo>
                  <a:pt x="0" y="0"/>
                </a:lnTo>
                <a:lnTo>
                  <a:pt x="0" y="323088"/>
                </a:lnTo>
                <a:close/>
              </a:path>
            </a:pathLst>
          </a:custGeom>
          <a:ln w="39624">
            <a:solidFill>
              <a:srgbClr val="E2231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8959595" y="2086355"/>
            <a:ext cx="2292350" cy="737870"/>
          </a:xfrm>
          <a:custGeom>
            <a:avLst/>
            <a:gdLst/>
            <a:ahLst/>
            <a:cxnLst/>
            <a:rect l="l" t="t" r="r" b="b"/>
            <a:pathLst>
              <a:path w="2292350" h="737869">
                <a:moveTo>
                  <a:pt x="0" y="737615"/>
                </a:moveTo>
                <a:lnTo>
                  <a:pt x="2292096" y="737615"/>
                </a:lnTo>
                <a:lnTo>
                  <a:pt x="2292096" y="0"/>
                </a:lnTo>
                <a:lnTo>
                  <a:pt x="0" y="0"/>
                </a:lnTo>
                <a:lnTo>
                  <a:pt x="0" y="737615"/>
                </a:lnTo>
                <a:close/>
              </a:path>
            </a:pathLst>
          </a:custGeom>
          <a:ln w="39624">
            <a:solidFill>
              <a:srgbClr val="6DBD4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8807195" y="1726692"/>
            <a:ext cx="1767839" cy="207645"/>
          </a:xfrm>
          <a:custGeom>
            <a:avLst/>
            <a:gdLst/>
            <a:ahLst/>
            <a:cxnLst/>
            <a:rect l="l" t="t" r="r" b="b"/>
            <a:pathLst>
              <a:path w="1767840" h="207644">
                <a:moveTo>
                  <a:pt x="0" y="207263"/>
                </a:moveTo>
                <a:lnTo>
                  <a:pt x="1767840" y="207263"/>
                </a:lnTo>
                <a:lnTo>
                  <a:pt x="1767840" y="0"/>
                </a:lnTo>
                <a:lnTo>
                  <a:pt x="0" y="0"/>
                </a:lnTo>
                <a:lnTo>
                  <a:pt x="0" y="207263"/>
                </a:lnTo>
                <a:close/>
              </a:path>
            </a:pathLst>
          </a:custGeom>
          <a:ln w="39623">
            <a:solidFill>
              <a:srgbClr val="FAAB1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7149083" y="5615940"/>
            <a:ext cx="2484120" cy="454659"/>
          </a:xfrm>
          <a:custGeom>
            <a:avLst/>
            <a:gdLst/>
            <a:ahLst/>
            <a:cxnLst/>
            <a:rect l="l" t="t" r="r" b="b"/>
            <a:pathLst>
              <a:path w="2484120" h="454660">
                <a:moveTo>
                  <a:pt x="0" y="454152"/>
                </a:moveTo>
                <a:lnTo>
                  <a:pt x="2484120" y="454152"/>
                </a:lnTo>
                <a:lnTo>
                  <a:pt x="2484120" y="0"/>
                </a:lnTo>
                <a:lnTo>
                  <a:pt x="0" y="0"/>
                </a:lnTo>
                <a:lnTo>
                  <a:pt x="0" y="454152"/>
                </a:lnTo>
                <a:close/>
              </a:path>
            </a:pathLst>
          </a:custGeom>
          <a:ln w="39623">
            <a:solidFill>
              <a:srgbClr val="00BBE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6694931" y="3735323"/>
            <a:ext cx="2417445" cy="561340"/>
          </a:xfrm>
          <a:custGeom>
            <a:avLst/>
            <a:gdLst/>
            <a:ahLst/>
            <a:cxnLst/>
            <a:rect l="l" t="t" r="r" b="b"/>
            <a:pathLst>
              <a:path w="2417445" h="561339">
                <a:moveTo>
                  <a:pt x="0" y="560832"/>
                </a:moveTo>
                <a:lnTo>
                  <a:pt x="2417064" y="560832"/>
                </a:lnTo>
                <a:lnTo>
                  <a:pt x="2417064" y="0"/>
                </a:lnTo>
                <a:lnTo>
                  <a:pt x="0" y="0"/>
                </a:lnTo>
                <a:lnTo>
                  <a:pt x="0" y="560832"/>
                </a:lnTo>
                <a:close/>
              </a:path>
            </a:pathLst>
          </a:custGeom>
          <a:ln w="39623">
            <a:solidFill>
              <a:srgbClr val="28282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47193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20CEF-A626-B14A-B5B7-331A0B41B1DD}"/>
              </a:ext>
            </a:extLst>
          </p:cNvPr>
          <p:cNvSpPr>
            <a:spLocks noGrp="1"/>
          </p:cNvSpPr>
          <p:nvPr>
            <p:ph type="ctrTitle"/>
          </p:nvPr>
        </p:nvSpPr>
        <p:spPr/>
        <p:txBody>
          <a:bodyPr/>
          <a:lstStyle/>
          <a:p>
            <a:r>
              <a:rPr lang="en-US" altLang="zh-CN" dirty="0"/>
              <a:t>Review</a:t>
            </a:r>
            <a:endParaRPr lang="en-CN" dirty="0"/>
          </a:p>
        </p:txBody>
      </p:sp>
    </p:spTree>
    <p:extLst>
      <p:ext uri="{BB962C8B-B14F-4D97-AF65-F5344CB8AC3E}">
        <p14:creationId xmlns:p14="http://schemas.microsoft.com/office/powerpoint/2010/main" val="34085641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p:nvPr/>
        </p:nvSpPr>
        <p:spPr>
          <a:xfrm>
            <a:off x="615695" y="868680"/>
            <a:ext cx="11036935" cy="5431790"/>
          </a:xfrm>
          <a:custGeom>
            <a:avLst/>
            <a:gdLst/>
            <a:ahLst/>
            <a:cxnLst/>
            <a:rect l="l" t="t" r="r" b="b"/>
            <a:pathLst>
              <a:path w="11036935" h="5431790">
                <a:moveTo>
                  <a:pt x="0" y="5431536"/>
                </a:moveTo>
                <a:lnTo>
                  <a:pt x="11036808" y="5431536"/>
                </a:lnTo>
                <a:lnTo>
                  <a:pt x="11036808" y="0"/>
                </a:lnTo>
                <a:lnTo>
                  <a:pt x="0" y="0"/>
                </a:lnTo>
                <a:lnTo>
                  <a:pt x="0" y="5431536"/>
                </a:lnTo>
                <a:close/>
              </a:path>
            </a:pathLst>
          </a:custGeom>
          <a:solidFill>
            <a:srgbClr val="28282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771550" y="875791"/>
            <a:ext cx="6300470" cy="530606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DevNe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nsible-playbook </a:t>
            </a:r>
            <a:r>
              <a:rPr kumimoji="0" sz="1400" b="0" i="0" u="none" strike="noStrike" kern="1200" cap="none" spc="-5" normalizeH="0" baseline="0" noProof="0" dirty="0">
                <a:ln>
                  <a:noFill/>
                </a:ln>
                <a:solidFill>
                  <a:srgbClr val="FFFFFF"/>
                </a:solidFill>
                <a:effectLst/>
                <a:uLnTx/>
                <a:uFillTx/>
                <a:latin typeface="Courier New"/>
                <a:ea typeface="+mn-ea"/>
                <a:cs typeface="Courier New"/>
              </a:rPr>
              <a:t>-u </a:t>
            </a:r>
            <a:r>
              <a:rPr kumimoji="0" sz="1400" b="0" i="0" u="none" strike="noStrike" kern="1200" cap="none" spc="-10" normalizeH="0" baseline="0" noProof="0" dirty="0">
                <a:ln>
                  <a:noFill/>
                </a:ln>
                <a:solidFill>
                  <a:srgbClr val="FFFFFF"/>
                </a:solidFill>
                <a:effectLst/>
                <a:uLnTx/>
                <a:uFillTx/>
                <a:latin typeface="Courier New"/>
                <a:ea typeface="+mn-ea"/>
                <a:cs typeface="Courier New"/>
              </a:rPr>
              <a:t>root</a:t>
            </a:r>
            <a:r>
              <a:rPr kumimoji="0" sz="1400" b="0" i="0" u="none" strike="noStrike" kern="1200" cap="none" spc="25"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example2.yaml</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15"/>
              </a:spcBef>
              <a:spcAft>
                <a:spcPts val="0"/>
              </a:spcAft>
              <a:buClrTx/>
              <a:buSzTx/>
              <a:buFontTx/>
              <a:buNone/>
              <a:tabLst/>
              <a:defRPr/>
            </a:pPr>
            <a:endParaRPr kumimoji="0" sz="130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PLAY </a:t>
            </a:r>
            <a:r>
              <a:rPr kumimoji="0" sz="1400" b="0" i="0" u="none" strike="noStrike" kern="1200" cap="none" spc="-10" normalizeH="0" baseline="0" noProof="0" dirty="0">
                <a:ln>
                  <a:noFill/>
                </a:ln>
                <a:solidFill>
                  <a:srgbClr val="FFFFFF"/>
                </a:solidFill>
                <a:effectLst/>
                <a:uLnTx/>
                <a:uFillTx/>
                <a:latin typeface="Courier New"/>
                <a:ea typeface="+mn-ea"/>
                <a:cs typeface="Courier New"/>
              </a:rPr>
              <a:t>[Illustrate Variables]</a:t>
            </a:r>
            <a:r>
              <a:rPr kumimoji="0" sz="1400" b="0" i="0" u="none" strike="noStrike" kern="1200" cap="none" spc="55"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25"/>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Times New Roman"/>
              <a:ea typeface="+mn-ea"/>
              <a:cs typeface="Times New Roman"/>
            </a:endParaRPr>
          </a:p>
          <a:p>
            <a:pPr marL="12700" marR="535305" lvl="0" indent="0" algn="l" defTabSz="914400" rtl="0" eaLnBrk="1" fontAlgn="auto" latinLnBrk="0" hangingPunct="1">
              <a:lnSpc>
                <a:spcPts val="159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TASK [Prin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Company </a:t>
            </a:r>
            <a:r>
              <a:rPr kumimoji="0" sz="1400" b="0" i="0" u="none" strike="noStrike" kern="1200" cap="none" spc="-5" normalizeH="0" baseline="0" noProof="0" dirty="0">
                <a:ln>
                  <a:noFill/>
                </a:ln>
                <a:solidFill>
                  <a:srgbClr val="FFFFFF"/>
                </a:solidFill>
                <a:effectLst/>
                <a:uLnTx/>
                <a:uFillTx/>
                <a:latin typeface="Courier New"/>
                <a:ea typeface="+mn-ea"/>
                <a:cs typeface="Courier New"/>
              </a:rPr>
              <a:t>Name from Variable] </a:t>
            </a:r>
            <a:r>
              <a:rPr kumimoji="0" sz="1400" b="0" i="0" u="none" strike="noStrike" kern="1200" cap="none" spc="-1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ok: </a:t>
            </a:r>
            <a:r>
              <a:rPr kumimoji="0" sz="1400" b="0" i="0" u="none" strike="noStrike" kern="1200" cap="none" spc="-10" normalizeH="0" baseline="0" noProof="0" dirty="0">
                <a:ln>
                  <a:noFill/>
                </a:ln>
                <a:solidFill>
                  <a:srgbClr val="FFFFFF"/>
                </a:solidFill>
                <a:effectLst/>
                <a:uLnTx/>
                <a:uFillTx/>
                <a:latin typeface="Courier New"/>
                <a:ea typeface="+mn-ea"/>
                <a:cs typeface="Courier New"/>
              </a:rPr>
              <a:t>[10.10.20.20] </a:t>
            </a:r>
            <a:r>
              <a:rPr kumimoji="0" sz="1400" b="0" i="0" u="none" strike="noStrike" kern="1200" cap="none" spc="-5" normalizeH="0" baseline="0" noProof="0" dirty="0">
                <a:ln>
                  <a:noFill/>
                </a:ln>
                <a:solidFill>
                  <a:srgbClr val="FFFFFF"/>
                </a:solidFill>
                <a:effectLst/>
                <a:uLnTx/>
                <a:uFillTx/>
                <a:latin typeface="Courier New"/>
                <a:ea typeface="+mn-ea"/>
                <a:cs typeface="Courier New"/>
              </a:rPr>
              <a:t>=&gt;</a:t>
            </a:r>
            <a:r>
              <a:rPr kumimoji="0" sz="1400" b="0" i="0" u="none" strike="noStrike" kern="1200" cap="none" spc="-4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439420" marR="0" lvl="0" indent="0" algn="l" defTabSz="914400" rtl="0" eaLnBrk="1" fontAlgn="auto" latinLnBrk="0" hangingPunct="1">
              <a:lnSpc>
                <a:spcPts val="152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msg": </a:t>
            </a:r>
            <a:r>
              <a:rPr kumimoji="0" sz="1400" b="0" i="0" u="none" strike="noStrike" kern="1200" cap="none" spc="-10" normalizeH="0" baseline="0" noProof="0" dirty="0">
                <a:ln>
                  <a:noFill/>
                </a:ln>
                <a:solidFill>
                  <a:srgbClr val="FFFFFF"/>
                </a:solidFill>
                <a:effectLst/>
                <a:uLnTx/>
                <a:uFillTx/>
                <a:latin typeface="Courier New"/>
                <a:ea typeface="+mn-ea"/>
                <a:cs typeface="Courier New"/>
              </a:rPr>
              <a:t>"Hello</a:t>
            </a:r>
            <a:r>
              <a:rPr kumimoji="0" sz="1400" b="0" i="0" u="none" strike="noStrike" kern="1200" cap="none" spc="-65"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DevNe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63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1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Times New Roman"/>
              <a:ea typeface="+mn-ea"/>
              <a:cs typeface="Times New Roman"/>
            </a:endParaRPr>
          </a:p>
          <a:p>
            <a:pPr marL="12700" marR="534670" lvl="0" indent="0" algn="l" defTabSz="914400" rtl="0" eaLnBrk="1" fontAlgn="auto" latinLnBrk="0" hangingPunct="1">
              <a:lnSpc>
                <a:spcPts val="161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TASK [Loop </a:t>
            </a:r>
            <a:r>
              <a:rPr kumimoji="0" sz="1400" b="0" i="0" u="none" strike="noStrike" kern="1200" cap="none" spc="-10" normalizeH="0" baseline="0" noProof="0" dirty="0">
                <a:ln>
                  <a:noFill/>
                </a:ln>
                <a:solidFill>
                  <a:srgbClr val="FFFFFF"/>
                </a:solidFill>
                <a:effectLst/>
                <a:uLnTx/>
                <a:uFillTx/>
                <a:latin typeface="Courier New"/>
                <a:ea typeface="+mn-ea"/>
                <a:cs typeface="Courier New"/>
              </a:rPr>
              <a:t>over </a:t>
            </a:r>
            <a:r>
              <a:rPr kumimoji="0" sz="1400" b="0" i="0" u="none" strike="noStrike" kern="1200" cap="none" spc="-5" normalizeH="0" baseline="0" noProof="0" dirty="0">
                <a:ln>
                  <a:noFill/>
                </a:ln>
                <a:solidFill>
                  <a:srgbClr val="FFFFFF"/>
                </a:solidFill>
                <a:effectLst/>
                <a:uLnTx/>
                <a:uFillTx/>
                <a:latin typeface="Courier New"/>
                <a:ea typeface="+mn-ea"/>
                <a:cs typeface="Courier New"/>
              </a:rPr>
              <a:t>a Lis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ok: </a:t>
            </a:r>
            <a:r>
              <a:rPr kumimoji="0" sz="1400" b="0" i="0" u="none" strike="noStrike" kern="1200" cap="none" spc="-10" normalizeH="0" baseline="0" noProof="0" dirty="0">
                <a:ln>
                  <a:noFill/>
                </a:ln>
                <a:solidFill>
                  <a:srgbClr val="FFFFFF"/>
                </a:solidFill>
                <a:effectLst/>
                <a:uLnTx/>
                <a:uFillTx/>
                <a:latin typeface="Courier New"/>
                <a:ea typeface="+mn-ea"/>
                <a:cs typeface="Courier New"/>
              </a:rPr>
              <a:t>[10.10.20.20] </a:t>
            </a:r>
            <a:r>
              <a:rPr kumimoji="0" sz="1400" b="0" i="0" u="none" strike="noStrike" kern="1200" cap="none" spc="-5" normalizeH="0" baseline="0" noProof="0" dirty="0">
                <a:ln>
                  <a:noFill/>
                </a:ln>
                <a:solidFill>
                  <a:srgbClr val="FFFFFF"/>
                </a:solidFill>
                <a:effectLst/>
                <a:uLnTx/>
                <a:uFillTx/>
                <a:latin typeface="Courier New"/>
                <a:ea typeface="+mn-ea"/>
                <a:cs typeface="Courier New"/>
              </a:rPr>
              <a:t>=&g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item=DevNet </a:t>
            </a:r>
            <a:r>
              <a:rPr kumimoji="0" sz="1400" b="0" i="0" u="none" strike="noStrike" kern="1200" cap="none" spc="-5" normalizeH="0" baseline="0" noProof="0" dirty="0">
                <a:ln>
                  <a:noFill/>
                </a:ln>
                <a:solidFill>
                  <a:srgbClr val="FFFFFF"/>
                </a:solidFill>
                <a:effectLst/>
                <a:uLnTx/>
                <a:uFillTx/>
                <a:latin typeface="Courier New"/>
                <a:ea typeface="+mn-ea"/>
                <a:cs typeface="Courier New"/>
              </a:rPr>
              <a:t>Rocks!) </a:t>
            </a:r>
            <a:r>
              <a:rPr kumimoji="0" sz="1400" b="0" i="0" u="none" strike="noStrike" kern="1200" cap="none" spc="-15" normalizeH="0" baseline="0" noProof="0" dirty="0">
                <a:ln>
                  <a:noFill/>
                </a:ln>
                <a:solidFill>
                  <a:srgbClr val="FFFFFF"/>
                </a:solidFill>
                <a:effectLst/>
                <a:uLnTx/>
                <a:uFillTx/>
                <a:latin typeface="Courier New"/>
                <a:ea typeface="+mn-ea"/>
                <a:cs typeface="Courier New"/>
              </a:rPr>
              <a:t>=&gt;</a:t>
            </a:r>
            <a:r>
              <a:rPr kumimoji="0" sz="1400" b="0" i="0" u="none" strike="noStrike" kern="1200" cap="none" spc="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439420" marR="0" lvl="0" indent="0" algn="l" defTabSz="914400" rtl="0" eaLnBrk="1" fontAlgn="auto" latinLnBrk="0" hangingPunct="1">
              <a:lnSpc>
                <a:spcPts val="150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item": </a:t>
            </a:r>
            <a:r>
              <a:rPr kumimoji="0" sz="1400" b="0" i="0" u="none" strike="noStrike" kern="1200" cap="none" spc="-10" normalizeH="0" baseline="0" noProof="0" dirty="0">
                <a:ln>
                  <a:noFill/>
                </a:ln>
                <a:solidFill>
                  <a:srgbClr val="FFFFFF"/>
                </a:solidFill>
                <a:effectLst/>
                <a:uLnTx/>
                <a:uFillTx/>
                <a:latin typeface="Courier New"/>
                <a:ea typeface="+mn-ea"/>
                <a:cs typeface="Courier New"/>
              </a:rPr>
              <a:t>"DevNet</a:t>
            </a:r>
            <a:r>
              <a:rPr kumimoji="0" sz="1400" b="0" i="0" u="none" strike="noStrike" kern="1200" cap="none" spc="-60"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Rocks!",</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43942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msg": </a:t>
            </a:r>
            <a:r>
              <a:rPr kumimoji="0" sz="1400" b="0" i="0" u="none" strike="noStrike" kern="1200" cap="none" spc="-10" normalizeH="0" baseline="0" noProof="0" dirty="0">
                <a:ln>
                  <a:noFill/>
                </a:ln>
                <a:solidFill>
                  <a:srgbClr val="FFFFFF"/>
                </a:solidFill>
                <a:effectLst/>
                <a:uLnTx/>
                <a:uFillTx/>
                <a:latin typeface="Courier New"/>
                <a:ea typeface="+mn-ea"/>
                <a:cs typeface="Courier New"/>
              </a:rPr>
              <a:t>"DevNet</a:t>
            </a:r>
            <a:r>
              <a:rPr kumimoji="0" sz="1400" b="0" i="0" u="none" strike="noStrike" kern="1200" cap="none" spc="-50"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Rocks!"</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ok: </a:t>
            </a:r>
            <a:r>
              <a:rPr kumimoji="0" sz="1400" b="0" i="0" u="none" strike="noStrike" kern="1200" cap="none" spc="-10" normalizeH="0" baseline="0" noProof="0" dirty="0">
                <a:ln>
                  <a:noFill/>
                </a:ln>
                <a:solidFill>
                  <a:srgbClr val="FFFFFF"/>
                </a:solidFill>
                <a:effectLst/>
                <a:uLnTx/>
                <a:uFillTx/>
                <a:latin typeface="Courier New"/>
                <a:ea typeface="+mn-ea"/>
                <a:cs typeface="Courier New"/>
              </a:rPr>
              <a:t>[10.10.20.20] </a:t>
            </a:r>
            <a:r>
              <a:rPr kumimoji="0" sz="1400" b="0" i="0" u="none" strike="noStrike" kern="1200" cap="none" spc="-5" normalizeH="0" baseline="0" noProof="0" dirty="0">
                <a:ln>
                  <a:noFill/>
                </a:ln>
                <a:solidFill>
                  <a:srgbClr val="FFFFFF"/>
                </a:solidFill>
                <a:effectLst/>
                <a:uLnTx/>
                <a:uFillTx/>
                <a:latin typeface="Courier New"/>
                <a:ea typeface="+mn-ea"/>
                <a:cs typeface="Courier New"/>
              </a:rPr>
              <a:t>=&g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item=Programmability </a:t>
            </a:r>
            <a:r>
              <a:rPr kumimoji="0" sz="1400" b="0" i="0" u="none" strike="noStrike" kern="1200" cap="none" spc="-5" normalizeH="0" baseline="0" noProof="0" dirty="0">
                <a:ln>
                  <a:noFill/>
                </a:ln>
                <a:solidFill>
                  <a:srgbClr val="FFFFFF"/>
                </a:solidFill>
                <a:effectLst/>
                <a:uLnTx/>
                <a:uFillTx/>
                <a:latin typeface="Courier New"/>
                <a:ea typeface="+mn-ea"/>
                <a:cs typeface="Courier New"/>
              </a:rPr>
              <a:t>is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mazing) </a:t>
            </a:r>
            <a:r>
              <a:rPr kumimoji="0" sz="1400" b="0" i="0" u="none" strike="noStrike" kern="1200" cap="none" spc="-5" normalizeH="0" baseline="0" noProof="0" dirty="0">
                <a:ln>
                  <a:noFill/>
                </a:ln>
                <a:solidFill>
                  <a:srgbClr val="FFFFFF"/>
                </a:solidFill>
                <a:effectLst/>
                <a:uLnTx/>
                <a:uFillTx/>
                <a:latin typeface="Courier New"/>
                <a:ea typeface="+mn-ea"/>
                <a:cs typeface="Courier New"/>
              </a:rPr>
              <a:t>=&gt;</a:t>
            </a:r>
            <a:r>
              <a:rPr kumimoji="0" sz="1400" b="0" i="0" u="none" strike="noStrike" kern="1200" cap="none" spc="4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43942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item": </a:t>
            </a:r>
            <a:r>
              <a:rPr kumimoji="0" sz="1400" b="0" i="0" u="none" strike="noStrike" kern="1200" cap="none" spc="-10" normalizeH="0" baseline="0" noProof="0" dirty="0">
                <a:ln>
                  <a:noFill/>
                </a:ln>
                <a:solidFill>
                  <a:srgbClr val="FFFFFF"/>
                </a:solidFill>
                <a:effectLst/>
                <a:uLnTx/>
                <a:uFillTx/>
                <a:latin typeface="Courier New"/>
                <a:ea typeface="+mn-ea"/>
                <a:cs typeface="Courier New"/>
              </a:rPr>
              <a:t>"Programmability </a:t>
            </a:r>
            <a:r>
              <a:rPr kumimoji="0" sz="1400" b="0" i="0" u="none" strike="noStrike" kern="1200" cap="none" spc="-5" normalizeH="0" baseline="0" noProof="0" dirty="0">
                <a:ln>
                  <a:noFill/>
                </a:ln>
                <a:solidFill>
                  <a:srgbClr val="FFFFFF"/>
                </a:solidFill>
                <a:effectLst/>
                <a:uLnTx/>
                <a:uFillTx/>
                <a:latin typeface="Courier New"/>
                <a:ea typeface="+mn-ea"/>
                <a:cs typeface="Courier New"/>
              </a:rPr>
              <a:t>is</a:t>
            </a:r>
            <a:r>
              <a:rPr kumimoji="0" sz="1400" b="0" i="0" u="none" strike="noStrike" kern="1200" cap="none" spc="-25"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amazing",</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43942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msg": </a:t>
            </a:r>
            <a:r>
              <a:rPr kumimoji="0" sz="1400" b="0" i="0" u="none" strike="noStrike" kern="1200" cap="none" spc="-10" normalizeH="0" baseline="0" noProof="0" dirty="0">
                <a:ln>
                  <a:noFill/>
                </a:ln>
                <a:solidFill>
                  <a:srgbClr val="FFFFFF"/>
                </a:solidFill>
                <a:effectLst/>
                <a:uLnTx/>
                <a:uFillTx/>
                <a:latin typeface="Courier New"/>
                <a:ea typeface="+mn-ea"/>
                <a:cs typeface="Courier New"/>
              </a:rPr>
              <a:t>"Programmability </a:t>
            </a:r>
            <a:r>
              <a:rPr kumimoji="0" sz="1400" b="0" i="0" u="none" strike="noStrike" kern="1200" cap="none" spc="-15" normalizeH="0" baseline="0" noProof="0" dirty="0">
                <a:ln>
                  <a:noFill/>
                </a:ln>
                <a:solidFill>
                  <a:srgbClr val="FFFFFF"/>
                </a:solidFill>
                <a:effectLst/>
                <a:uLnTx/>
                <a:uFillTx/>
                <a:latin typeface="Courier New"/>
                <a:ea typeface="+mn-ea"/>
                <a:cs typeface="Courier New"/>
              </a:rPr>
              <a:t>is</a:t>
            </a:r>
            <a:r>
              <a:rPr kumimoji="0" sz="1400" b="0" i="0" u="none" strike="noStrike" kern="1200" cap="none" spc="-35"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amazing"</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ok: </a:t>
            </a:r>
            <a:r>
              <a:rPr kumimoji="0" sz="1400" b="0" i="0" u="none" strike="noStrike" kern="1200" cap="none" spc="-10" normalizeH="0" baseline="0" noProof="0" dirty="0">
                <a:ln>
                  <a:noFill/>
                </a:ln>
                <a:solidFill>
                  <a:srgbClr val="FFFFFF"/>
                </a:solidFill>
                <a:effectLst/>
                <a:uLnTx/>
                <a:uFillTx/>
                <a:latin typeface="Courier New"/>
                <a:ea typeface="+mn-ea"/>
                <a:cs typeface="Courier New"/>
              </a:rPr>
              <a:t>[10.10.20.20] </a:t>
            </a:r>
            <a:r>
              <a:rPr kumimoji="0" sz="1400" b="0" i="0" u="none" strike="noStrike" kern="1200" cap="none" spc="-5" normalizeH="0" baseline="0" noProof="0" dirty="0">
                <a:ln>
                  <a:noFill/>
                </a:ln>
                <a:solidFill>
                  <a:srgbClr val="FFFFFF"/>
                </a:solidFill>
                <a:effectLst/>
                <a:uLnTx/>
                <a:uFillTx/>
                <a:latin typeface="Courier New"/>
                <a:ea typeface="+mn-ea"/>
                <a:cs typeface="Courier New"/>
              </a:rPr>
              <a:t>=&g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item=Ansible </a:t>
            </a:r>
            <a:r>
              <a:rPr kumimoji="0" sz="1400" b="0" i="0" u="none" strike="noStrike" kern="1200" cap="none" spc="-5" normalizeH="0" baseline="0" noProof="0" dirty="0">
                <a:ln>
                  <a:noFill/>
                </a:ln>
                <a:solidFill>
                  <a:srgbClr val="FFFFFF"/>
                </a:solidFill>
                <a:effectLst/>
                <a:uLnTx/>
                <a:uFillTx/>
                <a:latin typeface="Courier New"/>
                <a:ea typeface="+mn-ea"/>
                <a:cs typeface="Courier New"/>
              </a:rPr>
              <a:t>is easy to use) =&gt;</a:t>
            </a:r>
            <a:r>
              <a:rPr kumimoji="0" sz="1400" b="0" i="0" u="none" strike="noStrike" kern="1200" cap="none" spc="-15"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43942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item":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nsible </a:t>
            </a:r>
            <a:r>
              <a:rPr kumimoji="0" sz="1400" b="0" i="0" u="none" strike="noStrike" kern="1200" cap="none" spc="-5" normalizeH="0" baseline="0" noProof="0" dirty="0">
                <a:ln>
                  <a:noFill/>
                </a:ln>
                <a:solidFill>
                  <a:srgbClr val="FFFFFF"/>
                </a:solidFill>
                <a:effectLst/>
                <a:uLnTx/>
                <a:uFillTx/>
                <a:latin typeface="Courier New"/>
                <a:ea typeface="+mn-ea"/>
                <a:cs typeface="Courier New"/>
              </a:rPr>
              <a:t>is easy to</a:t>
            </a:r>
            <a:r>
              <a:rPr kumimoji="0" sz="1400" b="0" i="0" u="none" strike="noStrike" kern="1200" cap="none" spc="-65"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use",</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43942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msg": </a:t>
            </a:r>
            <a:r>
              <a:rPr kumimoji="0" sz="1400" b="0" i="0" u="none" strike="noStrike" kern="1200" cap="none" spc="-10" normalizeH="0" baseline="0" noProof="0" dirty="0">
                <a:ln>
                  <a:noFill/>
                </a:ln>
                <a:solidFill>
                  <a:srgbClr val="FFFFFF"/>
                </a:solidFill>
                <a:effectLst/>
                <a:uLnTx/>
                <a:uFillTx/>
                <a:latin typeface="Courier New"/>
                <a:ea typeface="+mn-ea"/>
                <a:cs typeface="Courier New"/>
              </a:rPr>
              <a:t>"Ansible </a:t>
            </a:r>
            <a:r>
              <a:rPr kumimoji="0" sz="1400" b="0" i="0" u="none" strike="noStrike" kern="1200" cap="none" spc="-5" normalizeH="0" baseline="0" noProof="0" dirty="0">
                <a:ln>
                  <a:noFill/>
                </a:ln>
                <a:solidFill>
                  <a:srgbClr val="FFFFFF"/>
                </a:solidFill>
                <a:effectLst/>
                <a:uLnTx/>
                <a:uFillTx/>
                <a:latin typeface="Courier New"/>
                <a:ea typeface="+mn-ea"/>
                <a:cs typeface="Courier New"/>
              </a:rPr>
              <a:t>is </a:t>
            </a:r>
            <a:r>
              <a:rPr kumimoji="0" sz="1400" b="0" i="0" u="none" strike="noStrike" kern="1200" cap="none" spc="-10" normalizeH="0" baseline="0" noProof="0" dirty="0">
                <a:ln>
                  <a:noFill/>
                </a:ln>
                <a:solidFill>
                  <a:srgbClr val="FFFFFF"/>
                </a:solidFill>
                <a:effectLst/>
                <a:uLnTx/>
                <a:uFillTx/>
                <a:latin typeface="Courier New"/>
                <a:ea typeface="+mn-ea"/>
                <a:cs typeface="Courier New"/>
              </a:rPr>
              <a:t>easy </a:t>
            </a:r>
            <a:r>
              <a:rPr kumimoji="0" sz="1400" b="0" i="0" u="none" strike="noStrike" kern="1200" cap="none" spc="-15" normalizeH="0" baseline="0" noProof="0" dirty="0">
                <a:ln>
                  <a:noFill/>
                </a:ln>
                <a:solidFill>
                  <a:srgbClr val="FFFFFF"/>
                </a:solidFill>
                <a:effectLst/>
                <a:uLnTx/>
                <a:uFillTx/>
                <a:latin typeface="Courier New"/>
                <a:ea typeface="+mn-ea"/>
                <a:cs typeface="Courier New"/>
              </a:rPr>
              <a:t>to</a:t>
            </a:r>
            <a:r>
              <a:rPr kumimoji="0" sz="1400" b="0" i="0" u="none" strike="noStrike" kern="1200" cap="none" spc="-40"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use"</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595"/>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ok: </a:t>
            </a:r>
            <a:r>
              <a:rPr kumimoji="0" sz="1400" b="0" i="0" u="none" strike="noStrike" kern="1200" cap="none" spc="-10" normalizeH="0" baseline="0" noProof="0" dirty="0">
                <a:ln>
                  <a:noFill/>
                </a:ln>
                <a:solidFill>
                  <a:srgbClr val="FFFFFF"/>
                </a:solidFill>
                <a:effectLst/>
                <a:uLnTx/>
                <a:uFillTx/>
                <a:latin typeface="Courier New"/>
                <a:ea typeface="+mn-ea"/>
                <a:cs typeface="Courier New"/>
              </a:rPr>
              <a:t>[10.10.20.20] </a:t>
            </a:r>
            <a:r>
              <a:rPr kumimoji="0" sz="1400" b="0" i="0" u="none" strike="noStrike" kern="1200" cap="none" spc="-5" normalizeH="0" baseline="0" noProof="0" dirty="0">
                <a:ln>
                  <a:noFill/>
                </a:ln>
                <a:solidFill>
                  <a:srgbClr val="FFFFFF"/>
                </a:solidFill>
                <a:effectLst/>
                <a:uLnTx/>
                <a:uFillTx/>
                <a:latin typeface="Courier New"/>
                <a:ea typeface="+mn-ea"/>
                <a:cs typeface="Courier New"/>
              </a:rPr>
              <a:t>=&g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item=Lists </a:t>
            </a:r>
            <a:r>
              <a:rPr kumimoji="0" sz="1400" b="0" i="0" u="none" strike="noStrike" kern="1200" cap="none" spc="-5" normalizeH="0" baseline="0" noProof="0" dirty="0">
                <a:ln>
                  <a:noFill/>
                </a:ln>
                <a:solidFill>
                  <a:srgbClr val="FFFFFF"/>
                </a:solidFill>
                <a:effectLst/>
                <a:uLnTx/>
                <a:uFillTx/>
                <a:latin typeface="Courier New"/>
                <a:ea typeface="+mn-ea"/>
                <a:cs typeface="Courier New"/>
              </a:rPr>
              <a:t>are fun!) =&gt;</a:t>
            </a:r>
            <a:r>
              <a:rPr kumimoji="0" sz="1400" b="0" i="0" u="none" strike="noStrike" kern="1200" cap="none" spc="25" normalizeH="0" baseline="0" noProof="0" dirty="0">
                <a:ln>
                  <a:noFill/>
                </a:ln>
                <a:solidFill>
                  <a:srgbClr val="FFFFFF"/>
                </a:solidFill>
                <a:effectLst/>
                <a:uLnTx/>
                <a:uFillTx/>
                <a:latin typeface="Courier New"/>
                <a:ea typeface="+mn-ea"/>
                <a:cs typeface="Courier New"/>
              </a:rPr>
              <a:t> </a:t>
            </a: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439420" marR="3192145" lvl="0" indent="0" algn="l" defTabSz="914400" rtl="0" eaLnBrk="1" fontAlgn="auto" latinLnBrk="0" hangingPunct="1">
              <a:lnSpc>
                <a:spcPts val="1610"/>
              </a:lnSpc>
              <a:spcBef>
                <a:spcPts val="6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item": </a:t>
            </a:r>
            <a:r>
              <a:rPr kumimoji="0" sz="1400" b="0" i="0" u="none" strike="noStrike" kern="1200" cap="none" spc="-10" normalizeH="0" baseline="0" noProof="0" dirty="0">
                <a:ln>
                  <a:noFill/>
                </a:ln>
                <a:solidFill>
                  <a:srgbClr val="FFFFFF"/>
                </a:solidFill>
                <a:effectLst/>
                <a:uLnTx/>
                <a:uFillTx/>
                <a:latin typeface="Courier New"/>
                <a:ea typeface="+mn-ea"/>
                <a:cs typeface="Courier New"/>
              </a:rPr>
              <a:t>"Lists </a:t>
            </a:r>
            <a:r>
              <a:rPr kumimoji="0" sz="1400" b="0" i="0" u="none" strike="noStrike" kern="1200" cap="none" spc="-5" normalizeH="0" baseline="0" noProof="0" dirty="0">
                <a:ln>
                  <a:noFill/>
                </a:ln>
                <a:solidFill>
                  <a:srgbClr val="FFFFFF"/>
                </a:solidFill>
                <a:effectLst/>
                <a:uLnTx/>
                <a:uFillTx/>
                <a:latin typeface="Courier New"/>
                <a:ea typeface="+mn-ea"/>
                <a:cs typeface="Courier New"/>
              </a:rPr>
              <a:t>are </a:t>
            </a:r>
            <a:r>
              <a:rPr kumimoji="0" sz="1400" b="0" i="0" u="none" strike="noStrike" kern="1200" cap="none" spc="-10" normalizeH="0" baseline="0" noProof="0" dirty="0">
                <a:ln>
                  <a:noFill/>
                </a:ln>
                <a:solidFill>
                  <a:srgbClr val="FFFFFF"/>
                </a:solidFill>
                <a:effectLst/>
                <a:uLnTx/>
                <a:uFillTx/>
                <a:latin typeface="Courier New"/>
                <a:ea typeface="+mn-ea"/>
                <a:cs typeface="Courier New"/>
              </a:rPr>
              <a:t>fun!",  </a:t>
            </a:r>
            <a:r>
              <a:rPr kumimoji="0" sz="1400" b="0" i="0" u="none" strike="noStrike" kern="1200" cap="none" spc="-5" normalizeH="0" baseline="0" noProof="0" dirty="0">
                <a:ln>
                  <a:noFill/>
                </a:ln>
                <a:solidFill>
                  <a:srgbClr val="FFFFFF"/>
                </a:solidFill>
                <a:effectLst/>
                <a:uLnTx/>
                <a:uFillTx/>
                <a:latin typeface="Courier New"/>
                <a:ea typeface="+mn-ea"/>
                <a:cs typeface="Courier New"/>
              </a:rPr>
              <a:t>"msg": </a:t>
            </a:r>
            <a:r>
              <a:rPr kumimoji="0" sz="1400" b="0" i="0" u="none" strike="noStrike" kern="1200" cap="none" spc="-10" normalizeH="0" baseline="0" noProof="0" dirty="0">
                <a:ln>
                  <a:noFill/>
                </a:ln>
                <a:solidFill>
                  <a:srgbClr val="FFFFFF"/>
                </a:solidFill>
                <a:effectLst/>
                <a:uLnTx/>
                <a:uFillTx/>
                <a:latin typeface="Courier New"/>
                <a:ea typeface="+mn-ea"/>
                <a:cs typeface="Courier New"/>
              </a:rPr>
              <a:t>"Lists </a:t>
            </a:r>
            <a:r>
              <a:rPr kumimoji="0" sz="1400" b="0" i="0" u="none" strike="noStrike" kern="1200" cap="none" spc="-5" normalizeH="0" baseline="0" noProof="0" dirty="0">
                <a:ln>
                  <a:noFill/>
                </a:ln>
                <a:solidFill>
                  <a:srgbClr val="FFFFFF"/>
                </a:solidFill>
                <a:effectLst/>
                <a:uLnTx/>
                <a:uFillTx/>
                <a:latin typeface="Courier New"/>
                <a:ea typeface="+mn-ea"/>
                <a:cs typeface="Courier New"/>
              </a:rPr>
              <a:t>are</a:t>
            </a:r>
            <a:r>
              <a:rPr kumimoji="0" sz="1400" b="0" i="0" u="none" strike="noStrike" kern="1200" cap="none" spc="-65" normalizeH="0" baseline="0" noProof="0" dirty="0">
                <a:ln>
                  <a:noFill/>
                </a:ln>
                <a:solidFill>
                  <a:srgbClr val="FFFFFF"/>
                </a:solidFill>
                <a:effectLst/>
                <a:uLnTx/>
                <a:uFillTx/>
                <a:latin typeface="Courier New"/>
                <a:ea typeface="+mn-ea"/>
                <a:cs typeface="Courier New"/>
              </a:rPr>
              <a:t> </a:t>
            </a:r>
            <a:r>
              <a:rPr kumimoji="0" sz="1400" b="0" i="0" u="none" strike="noStrike" kern="1200" cap="none" spc="-10" normalizeH="0" baseline="0" noProof="0" dirty="0">
                <a:ln>
                  <a:noFill/>
                </a:ln>
                <a:solidFill>
                  <a:srgbClr val="FFFFFF"/>
                </a:solidFill>
                <a:effectLst/>
                <a:uLnTx/>
                <a:uFillTx/>
                <a:latin typeface="Courier New"/>
                <a:ea typeface="+mn-ea"/>
                <a:cs typeface="Courier New"/>
              </a:rPr>
              <a:t>fun!"</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1540"/>
              </a:lnSpc>
              <a:spcBef>
                <a:spcPts val="0"/>
              </a:spcBef>
              <a:spcAft>
                <a:spcPts val="0"/>
              </a:spcAft>
              <a:buClrTx/>
              <a:buSzTx/>
              <a:buFontTx/>
              <a:buNone/>
              <a:tabLst/>
              <a:defRPr/>
            </a:pPr>
            <a:r>
              <a:rPr kumimoji="0" sz="1400" b="0" i="0" u="none" strike="noStrike" kern="1200" cap="none" spc="-5" normalizeH="0" baseline="0" noProof="0" dirty="0">
                <a:ln>
                  <a:noFill/>
                </a:ln>
                <a:solidFill>
                  <a:srgbClr val="FFFFFF"/>
                </a:solidFill>
                <a:effectLst/>
                <a:uLnTx/>
                <a:uFillTx/>
                <a:latin typeface="Courier New"/>
                <a:ea typeface="+mn-ea"/>
                <a:cs typeface="Courier New"/>
              </a:rPr>
              <a:t>}</a:t>
            </a:r>
            <a:endParaRPr kumimoji="0" sz="14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5" name="object 5"/>
          <p:cNvSpPr txBox="1">
            <a:spLocks noGrp="1"/>
          </p:cNvSpPr>
          <p:nvPr>
            <p:ph type="title"/>
          </p:nvPr>
        </p:nvSpPr>
        <p:spPr>
          <a:xfrm>
            <a:off x="662736" y="131775"/>
            <a:ext cx="9278620" cy="596900"/>
          </a:xfrm>
          <a:prstGeom prst="rect">
            <a:avLst/>
          </a:prstGeom>
        </p:spPr>
        <p:txBody>
          <a:bodyPr vert="horz" wrap="square" lIns="0" tIns="12065" rIns="0" bIns="0" rtlCol="0">
            <a:spAutoFit/>
          </a:bodyPr>
          <a:lstStyle/>
          <a:p>
            <a:pPr marL="12700">
              <a:lnSpc>
                <a:spcPct val="100000"/>
              </a:lnSpc>
              <a:spcBef>
                <a:spcPts val="95"/>
              </a:spcBef>
            </a:pPr>
            <a:r>
              <a:rPr spc="-20" dirty="0">
                <a:solidFill>
                  <a:srgbClr val="005073"/>
                </a:solidFill>
              </a:rPr>
              <a:t>Using </a:t>
            </a:r>
            <a:r>
              <a:rPr spc="-45" dirty="0">
                <a:solidFill>
                  <a:srgbClr val="005073"/>
                </a:solidFill>
              </a:rPr>
              <a:t>Variable </a:t>
            </a:r>
            <a:r>
              <a:rPr spc="-65" dirty="0">
                <a:solidFill>
                  <a:srgbClr val="005073"/>
                </a:solidFill>
              </a:rPr>
              <a:t>Files </a:t>
            </a:r>
            <a:r>
              <a:rPr spc="-10" dirty="0">
                <a:solidFill>
                  <a:srgbClr val="005073"/>
                </a:solidFill>
              </a:rPr>
              <a:t>and </a:t>
            </a:r>
            <a:r>
              <a:rPr spc="15" dirty="0">
                <a:solidFill>
                  <a:srgbClr val="005073"/>
                </a:solidFill>
              </a:rPr>
              <a:t>Loops </a:t>
            </a:r>
            <a:r>
              <a:rPr spc="35" dirty="0">
                <a:solidFill>
                  <a:srgbClr val="005073"/>
                </a:solidFill>
              </a:rPr>
              <a:t>with</a:t>
            </a:r>
            <a:r>
              <a:rPr spc="515" dirty="0">
                <a:solidFill>
                  <a:srgbClr val="005073"/>
                </a:solidFill>
              </a:rPr>
              <a:t> </a:t>
            </a:r>
            <a:r>
              <a:rPr spc="-15" dirty="0">
                <a:solidFill>
                  <a:srgbClr val="005073"/>
                </a:solidFill>
              </a:rPr>
              <a:t>Ansible</a:t>
            </a:r>
          </a:p>
        </p:txBody>
      </p:sp>
    </p:spTree>
    <p:extLst>
      <p:ext uri="{BB962C8B-B14F-4D97-AF65-F5344CB8AC3E}">
        <p14:creationId xmlns:p14="http://schemas.microsoft.com/office/powerpoint/2010/main" val="15674101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object 5"/>
          <p:cNvSpPr txBox="1"/>
          <p:nvPr/>
        </p:nvSpPr>
        <p:spPr>
          <a:xfrm>
            <a:off x="706627" y="6355181"/>
            <a:ext cx="3641090" cy="16256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2" name="object 2"/>
          <p:cNvSpPr txBox="1"/>
          <p:nvPr/>
        </p:nvSpPr>
        <p:spPr>
          <a:xfrm>
            <a:off x="774903" y="1623441"/>
            <a:ext cx="5045075" cy="2239645"/>
          </a:xfrm>
          <a:prstGeom prst="rect">
            <a:avLst/>
          </a:prstGeom>
        </p:spPr>
        <p:txBody>
          <a:bodyPr vert="horz" wrap="square" lIns="0" tIns="14605" rIns="0" bIns="0" rtlCol="0">
            <a:spAutoFit/>
          </a:bodyPr>
          <a:lstStyle/>
          <a:p>
            <a:pPr marL="167640" marR="0" lvl="0" indent="-154940" algn="l" defTabSz="914400" rtl="0" eaLnBrk="1" fontAlgn="auto" latinLnBrk="0" hangingPunct="1">
              <a:lnSpc>
                <a:spcPts val="3100"/>
              </a:lnSpc>
              <a:spcBef>
                <a:spcPts val="115"/>
              </a:spcBef>
              <a:spcAft>
                <a:spcPts val="0"/>
              </a:spcAft>
              <a:buClrTx/>
              <a:buSzPct val="60377"/>
              <a:buFontTx/>
              <a:buChar char="•"/>
              <a:tabLst>
                <a:tab pos="168275" algn="l"/>
              </a:tabLst>
              <a:defRPr/>
            </a:pPr>
            <a:r>
              <a:rPr kumimoji="0" sz="2650" b="0" i="0" u="none" strike="noStrike" kern="1200" cap="none" spc="0" normalizeH="0" baseline="0" noProof="0" dirty="0">
                <a:ln>
                  <a:noFill/>
                </a:ln>
                <a:solidFill>
                  <a:srgbClr val="282828"/>
                </a:solidFill>
                <a:effectLst/>
                <a:uLnTx/>
                <a:uFillTx/>
                <a:latin typeface="Arial"/>
                <a:ea typeface="+mn-ea"/>
                <a:cs typeface="Arial"/>
              </a:rPr>
              <a:t>Ansible allows </a:t>
            </a:r>
            <a:r>
              <a:rPr kumimoji="0" sz="2650" b="0" i="0" u="none" strike="noStrike" kern="1200" cap="none" spc="40" normalizeH="0" baseline="0" noProof="0" dirty="0">
                <a:ln>
                  <a:noFill/>
                </a:ln>
                <a:solidFill>
                  <a:srgbClr val="282828"/>
                </a:solidFill>
                <a:effectLst/>
                <a:uLnTx/>
                <a:uFillTx/>
                <a:latin typeface="Arial"/>
                <a:ea typeface="+mn-ea"/>
                <a:cs typeface="Arial"/>
              </a:rPr>
              <a:t>for </a:t>
            </a:r>
            <a:r>
              <a:rPr kumimoji="0" sz="2650" b="0" i="0" u="none" strike="noStrike" kern="1200" cap="none" spc="0" normalizeH="0" baseline="0" noProof="0" dirty="0">
                <a:ln>
                  <a:noFill/>
                </a:ln>
                <a:solidFill>
                  <a:srgbClr val="282828"/>
                </a:solidFill>
                <a:effectLst/>
                <a:uLnTx/>
                <a:uFillTx/>
                <a:latin typeface="Arial"/>
                <a:ea typeface="+mn-ea"/>
                <a:cs typeface="Arial"/>
              </a:rPr>
              <a:t>Group</a:t>
            </a:r>
            <a:r>
              <a:rPr kumimoji="0" sz="2650" b="0" i="0" u="none" strike="noStrike" kern="1200" cap="none" spc="165" normalizeH="0" baseline="0" noProof="0" dirty="0">
                <a:ln>
                  <a:noFill/>
                </a:ln>
                <a:solidFill>
                  <a:srgbClr val="282828"/>
                </a:solidFill>
                <a:effectLst/>
                <a:uLnTx/>
                <a:uFillTx/>
                <a:latin typeface="Arial"/>
                <a:ea typeface="+mn-ea"/>
                <a:cs typeface="Arial"/>
              </a:rPr>
              <a:t> </a:t>
            </a:r>
            <a:r>
              <a:rPr kumimoji="0" sz="2650" b="0" i="0" u="none" strike="noStrike" kern="1200" cap="none" spc="0" normalizeH="0" baseline="0" noProof="0" dirty="0">
                <a:ln>
                  <a:noFill/>
                </a:ln>
                <a:solidFill>
                  <a:srgbClr val="282828"/>
                </a:solidFill>
                <a:effectLst/>
                <a:uLnTx/>
                <a:uFillTx/>
                <a:latin typeface="Arial"/>
                <a:ea typeface="+mn-ea"/>
                <a:cs typeface="Arial"/>
              </a:rPr>
              <a:t>and</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3100"/>
              </a:lnSpc>
              <a:spcBef>
                <a:spcPts val="0"/>
              </a:spcBef>
              <a:spcAft>
                <a:spcPts val="0"/>
              </a:spcAft>
              <a:buClrTx/>
              <a:buSzTx/>
              <a:buFontTx/>
              <a:buNone/>
              <a:tabLst/>
              <a:defRPr/>
            </a:pPr>
            <a:r>
              <a:rPr kumimoji="0" sz="2650" b="0" i="0" u="none" strike="noStrike" kern="1200" cap="none" spc="0" normalizeH="0" baseline="0" noProof="0" dirty="0">
                <a:ln>
                  <a:noFill/>
                </a:ln>
                <a:solidFill>
                  <a:srgbClr val="282828"/>
                </a:solidFill>
                <a:effectLst/>
                <a:uLnTx/>
                <a:uFillTx/>
                <a:latin typeface="Arial"/>
                <a:ea typeface="+mn-ea"/>
                <a:cs typeface="Arial"/>
              </a:rPr>
              <a:t>Host </a:t>
            </a:r>
            <a:r>
              <a:rPr kumimoji="0" sz="2650" b="0" i="0" u="none" strike="noStrike" kern="1200" cap="none" spc="30" normalizeH="0" baseline="0" noProof="0" dirty="0">
                <a:ln>
                  <a:noFill/>
                </a:ln>
                <a:solidFill>
                  <a:srgbClr val="282828"/>
                </a:solidFill>
                <a:effectLst/>
                <a:uLnTx/>
                <a:uFillTx/>
                <a:latin typeface="Arial"/>
                <a:ea typeface="+mn-ea"/>
                <a:cs typeface="Arial"/>
              </a:rPr>
              <a:t>specific</a:t>
            </a:r>
            <a:r>
              <a:rPr kumimoji="0" sz="2650" b="0" i="0" u="none" strike="noStrike" kern="1200" cap="none" spc="75" normalizeH="0" baseline="0" noProof="0" dirty="0">
                <a:ln>
                  <a:noFill/>
                </a:ln>
                <a:solidFill>
                  <a:srgbClr val="282828"/>
                </a:solidFill>
                <a:effectLst/>
                <a:uLnTx/>
                <a:uFillTx/>
                <a:latin typeface="Arial"/>
                <a:ea typeface="+mn-ea"/>
                <a:cs typeface="Arial"/>
              </a:rPr>
              <a:t> </a:t>
            </a:r>
            <a:r>
              <a:rPr kumimoji="0" sz="2650" b="0" i="0" u="none" strike="noStrike" kern="1200" cap="none" spc="-10" normalizeH="0" baseline="0" noProof="0" dirty="0">
                <a:ln>
                  <a:noFill/>
                </a:ln>
                <a:solidFill>
                  <a:srgbClr val="282828"/>
                </a:solidFill>
                <a:effectLst/>
                <a:uLnTx/>
                <a:uFillTx/>
                <a:latin typeface="Arial"/>
                <a:ea typeface="+mn-ea"/>
                <a:cs typeface="Arial"/>
              </a:rPr>
              <a:t>variables</a:t>
            </a:r>
            <a:endParaRPr kumimoji="0" sz="265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265"/>
              </a:spcBef>
              <a:spcAft>
                <a:spcPts val="0"/>
              </a:spcAft>
              <a:buClrTx/>
              <a:buSzPct val="58333"/>
              <a:buFont typeface="Arial"/>
              <a:buChar char="•"/>
              <a:tabLst>
                <a:tab pos="320675" algn="l"/>
              </a:tabLst>
              <a:defRPr/>
            </a:pPr>
            <a:r>
              <a:rPr kumimoji="0" sz="2400" b="0" i="0" u="none" strike="noStrike" kern="1200" cap="none" spc="0" normalizeH="0" baseline="0" noProof="0" dirty="0">
                <a:ln>
                  <a:noFill/>
                </a:ln>
                <a:solidFill>
                  <a:srgbClr val="282828"/>
                </a:solidFill>
                <a:effectLst/>
                <a:uLnTx/>
                <a:uFillTx/>
                <a:latin typeface="Courier New"/>
                <a:ea typeface="+mn-ea"/>
                <a:cs typeface="Courier New"/>
              </a:rPr>
              <a:t>group_vars</a:t>
            </a:r>
            <a:r>
              <a:rPr kumimoji="0" sz="2400" b="0" i="0" u="none" strike="noStrike" kern="1200" cap="none" spc="0" normalizeH="0" baseline="0" noProof="0" dirty="0">
                <a:ln>
                  <a:noFill/>
                </a:ln>
                <a:solidFill>
                  <a:srgbClr val="282828"/>
                </a:solidFill>
                <a:effectLst/>
                <a:uLnTx/>
                <a:uFillTx/>
                <a:latin typeface="Arial"/>
                <a:ea typeface="+mn-ea"/>
                <a:cs typeface="Arial"/>
              </a:rPr>
              <a:t>/</a:t>
            </a:r>
            <a:r>
              <a:rPr kumimoji="0" sz="2400" b="0" i="0" u="none" strike="noStrike" kern="1200" cap="none" spc="0" normalizeH="0" baseline="0" noProof="0" dirty="0">
                <a:ln>
                  <a:noFill/>
                </a:ln>
                <a:solidFill>
                  <a:srgbClr val="282828"/>
                </a:solidFill>
                <a:effectLst/>
                <a:uLnTx/>
                <a:uFillTx/>
                <a:latin typeface="Courier New"/>
                <a:ea typeface="+mn-ea"/>
                <a:cs typeface="Courier New"/>
              </a:rPr>
              <a:t>groupname.yaml</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320040" marR="0" lvl="1" indent="-152400" algn="l" defTabSz="914400" rtl="0" eaLnBrk="1" fontAlgn="auto" latinLnBrk="0" hangingPunct="1">
              <a:lnSpc>
                <a:spcPct val="100000"/>
              </a:lnSpc>
              <a:spcBef>
                <a:spcPts val="455"/>
              </a:spcBef>
              <a:spcAft>
                <a:spcPts val="0"/>
              </a:spcAft>
              <a:buClrTx/>
              <a:buSzPct val="58333"/>
              <a:buFont typeface="Arial"/>
              <a:buChar char="•"/>
              <a:tabLst>
                <a:tab pos="320675" algn="l"/>
              </a:tabLst>
              <a:defRPr/>
            </a:pPr>
            <a:r>
              <a:rPr kumimoji="0" sz="2400" b="0" i="0" u="none" strike="noStrike" kern="1200" cap="none" spc="-10" normalizeH="0" baseline="0" noProof="0" dirty="0">
                <a:ln>
                  <a:noFill/>
                </a:ln>
                <a:solidFill>
                  <a:srgbClr val="282828"/>
                </a:solidFill>
                <a:effectLst/>
                <a:uLnTx/>
                <a:uFillTx/>
                <a:latin typeface="Courier New"/>
                <a:ea typeface="+mn-ea"/>
                <a:cs typeface="Courier New"/>
              </a:rPr>
              <a:t>host_vars/host.yaml</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167640" marR="0" lvl="0" indent="-154940" algn="l" defTabSz="914400" rtl="0" eaLnBrk="1" fontAlgn="auto" latinLnBrk="0" hangingPunct="1">
              <a:lnSpc>
                <a:spcPct val="100000"/>
              </a:lnSpc>
              <a:spcBef>
                <a:spcPts val="1545"/>
              </a:spcBef>
              <a:spcAft>
                <a:spcPts val="0"/>
              </a:spcAft>
              <a:buClrTx/>
              <a:buSzPct val="60377"/>
              <a:buFontTx/>
              <a:buChar char="•"/>
              <a:tabLst>
                <a:tab pos="168275" algn="l"/>
              </a:tabLst>
              <a:defRPr/>
            </a:pPr>
            <a:r>
              <a:rPr kumimoji="0" sz="2650" b="0" i="0" u="none" strike="noStrike" kern="1200" cap="none" spc="-20" normalizeH="0" baseline="0" noProof="0" dirty="0">
                <a:ln>
                  <a:noFill/>
                </a:ln>
                <a:solidFill>
                  <a:srgbClr val="282828"/>
                </a:solidFill>
                <a:effectLst/>
                <a:uLnTx/>
                <a:uFillTx/>
                <a:latin typeface="Arial"/>
                <a:ea typeface="+mn-ea"/>
                <a:cs typeface="Arial"/>
              </a:rPr>
              <a:t>Variables </a:t>
            </a:r>
            <a:r>
              <a:rPr kumimoji="0" sz="2650" b="0" i="0" u="none" strike="noStrike" kern="1200" cap="none" spc="0" normalizeH="0" baseline="0" noProof="0" dirty="0">
                <a:ln>
                  <a:noFill/>
                </a:ln>
                <a:solidFill>
                  <a:srgbClr val="282828"/>
                </a:solidFill>
                <a:effectLst/>
                <a:uLnTx/>
                <a:uFillTx/>
                <a:latin typeface="Arial"/>
                <a:ea typeface="+mn-ea"/>
                <a:cs typeface="Arial"/>
              </a:rPr>
              <a:t>automatically</a:t>
            </a:r>
            <a:r>
              <a:rPr kumimoji="0" sz="2650" b="0" i="0" u="none" strike="noStrike" kern="1200" cap="none" spc="35" normalizeH="0" baseline="0" noProof="0" dirty="0">
                <a:ln>
                  <a:noFill/>
                </a:ln>
                <a:solidFill>
                  <a:srgbClr val="282828"/>
                </a:solidFill>
                <a:effectLst/>
                <a:uLnTx/>
                <a:uFillTx/>
                <a:latin typeface="Arial"/>
                <a:ea typeface="+mn-ea"/>
                <a:cs typeface="Arial"/>
              </a:rPr>
              <a:t> </a:t>
            </a:r>
            <a:r>
              <a:rPr kumimoji="0" sz="2650" b="0" i="0" u="none" strike="noStrike" kern="1200" cap="none" spc="-20" normalizeH="0" baseline="0" noProof="0" dirty="0">
                <a:ln>
                  <a:noFill/>
                </a:ln>
                <a:solidFill>
                  <a:srgbClr val="282828"/>
                </a:solidFill>
                <a:effectLst/>
                <a:uLnTx/>
                <a:uFillTx/>
                <a:latin typeface="Arial"/>
                <a:ea typeface="+mn-ea"/>
                <a:cs typeface="Arial"/>
              </a:rPr>
              <a:t>available</a:t>
            </a:r>
            <a:endParaRPr kumimoji="0" sz="265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p:nvPr/>
        </p:nvSpPr>
        <p:spPr>
          <a:xfrm>
            <a:off x="6339840" y="1609344"/>
            <a:ext cx="5181600" cy="4109085"/>
          </a:xfrm>
          <a:prstGeom prst="rect">
            <a:avLst/>
          </a:prstGeom>
          <a:solidFill>
            <a:srgbClr val="282828"/>
          </a:solidFill>
        </p:spPr>
        <p:txBody>
          <a:bodyPr vert="horz" wrap="square" lIns="0" tIns="0" rIns="0" bIns="0" rtlCol="0">
            <a:spAutoFit/>
          </a:bodyPr>
          <a:lstStyle/>
          <a:p>
            <a:pPr marL="78740" marR="0" lvl="0" indent="0" algn="l" defTabSz="914400" rtl="0" eaLnBrk="1" fontAlgn="auto" latinLnBrk="0" hangingPunct="1">
              <a:lnSpc>
                <a:spcPts val="2780"/>
              </a:lnSpc>
              <a:spcBef>
                <a:spcPts val="0"/>
              </a:spcBef>
              <a:spcAft>
                <a:spcPts val="0"/>
              </a:spcAft>
              <a:buClrTx/>
              <a:buSzTx/>
              <a:buFontTx/>
              <a:buNone/>
              <a:tabLst>
                <a:tab pos="810260" algn="l"/>
              </a:tabLst>
              <a:defRPr/>
            </a:pPr>
            <a:r>
              <a:rPr kumimoji="0" sz="2400" b="0" i="0" u="none" strike="noStrike" kern="1200" cap="none" spc="-5" normalizeH="0" baseline="0" noProof="0" dirty="0">
                <a:ln>
                  <a:noFill/>
                </a:ln>
                <a:solidFill>
                  <a:srgbClr val="FFFFFF"/>
                </a:solidFill>
                <a:effectLst/>
                <a:uLnTx/>
                <a:uFillTx/>
                <a:latin typeface="Courier New"/>
                <a:ea typeface="+mn-ea"/>
                <a:cs typeface="Courier New"/>
              </a:rPr>
              <a:t>├──	group_vars</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l" defTabSz="914400" rtl="0" eaLnBrk="1" fontAlgn="auto" latinLnBrk="0" hangingPunct="1">
              <a:lnSpc>
                <a:spcPts val="2740"/>
              </a:lnSpc>
              <a:spcBef>
                <a:spcPts val="0"/>
              </a:spcBef>
              <a:spcAft>
                <a:spcPts val="0"/>
              </a:spcAft>
              <a:buClrTx/>
              <a:buSzTx/>
              <a:buFontTx/>
              <a:buNone/>
              <a:tabLst>
                <a:tab pos="810260" algn="l"/>
              </a:tabLst>
              <a:defRPr/>
            </a:pPr>
            <a:r>
              <a:rPr kumimoji="0" sz="2400" b="0" i="0" u="none" strike="noStrike" kern="1200" cap="none" spc="0" normalizeH="0" baseline="0" noProof="0" dirty="0">
                <a:ln>
                  <a:noFill/>
                </a:ln>
                <a:solidFill>
                  <a:srgbClr val="FFFFFF"/>
                </a:solidFill>
                <a:effectLst/>
                <a:uLnTx/>
                <a:uFillTx/>
                <a:latin typeface="Courier New"/>
                <a:ea typeface="+mn-ea"/>
                <a:cs typeface="Courier New"/>
              </a:rPr>
              <a:t>│	</a:t>
            </a:r>
            <a:r>
              <a:rPr kumimoji="0" sz="2400" b="0" i="0" u="none" strike="noStrike" kern="1200" cap="none" spc="-5" normalizeH="0" baseline="0" noProof="0" dirty="0">
                <a:ln>
                  <a:noFill/>
                </a:ln>
                <a:solidFill>
                  <a:srgbClr val="FFFFFF"/>
                </a:solidFill>
                <a:effectLst/>
                <a:uLnTx/>
                <a:uFillTx/>
                <a:latin typeface="Courier New"/>
                <a:ea typeface="+mn-ea"/>
                <a:cs typeface="Courier New"/>
              </a:rPr>
              <a:t>└──</a:t>
            </a:r>
            <a:r>
              <a:rPr kumimoji="0" sz="2400" b="0" i="0" u="none" strike="noStrike" kern="1200" cap="none" spc="-70" normalizeH="0" baseline="0" noProof="0" dirty="0">
                <a:ln>
                  <a:noFill/>
                </a:ln>
                <a:solidFill>
                  <a:srgbClr val="FFFFFF"/>
                </a:solidFill>
                <a:effectLst/>
                <a:uLnTx/>
                <a:uFillTx/>
                <a:latin typeface="Courier New"/>
                <a:ea typeface="+mn-ea"/>
                <a:cs typeface="Courier New"/>
              </a:rPr>
              <a:t> </a:t>
            </a:r>
            <a:r>
              <a:rPr kumimoji="0" sz="2400" b="0" i="0" u="none" strike="noStrike" kern="1200" cap="none" spc="-10" normalizeH="0" baseline="0" noProof="0" dirty="0">
                <a:ln>
                  <a:noFill/>
                </a:ln>
                <a:solidFill>
                  <a:srgbClr val="FFFFFF"/>
                </a:solidFill>
                <a:effectLst/>
                <a:uLnTx/>
                <a:uFillTx/>
                <a:latin typeface="Courier New"/>
                <a:ea typeface="+mn-ea"/>
                <a:cs typeface="Courier New"/>
              </a:rPr>
              <a:t>all.yaml</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l" defTabSz="914400" rtl="0" eaLnBrk="1" fontAlgn="auto" latinLnBrk="0" hangingPunct="1">
              <a:lnSpc>
                <a:spcPts val="2740"/>
              </a:lnSpc>
              <a:spcBef>
                <a:spcPts val="0"/>
              </a:spcBef>
              <a:spcAft>
                <a:spcPts val="0"/>
              </a:spcAft>
              <a:buClrTx/>
              <a:buSzTx/>
              <a:buFontTx/>
              <a:buNone/>
              <a:tabLst>
                <a:tab pos="810260" algn="l"/>
              </a:tabLst>
              <a:defRPr/>
            </a:pPr>
            <a:r>
              <a:rPr kumimoji="0" sz="2400" b="0" i="0" u="none" strike="noStrike" kern="1200" cap="none" spc="0" normalizeH="0" baseline="0" noProof="0" dirty="0">
                <a:ln>
                  <a:noFill/>
                </a:ln>
                <a:solidFill>
                  <a:srgbClr val="FFFFFF"/>
                </a:solidFill>
                <a:effectLst/>
                <a:uLnTx/>
                <a:uFillTx/>
                <a:latin typeface="Courier New"/>
                <a:ea typeface="+mn-ea"/>
                <a:cs typeface="Courier New"/>
              </a:rPr>
              <a:t>│	</a:t>
            </a:r>
            <a:r>
              <a:rPr kumimoji="0" sz="2400" b="0" i="0" u="none" strike="noStrike" kern="1200" cap="none" spc="-5" normalizeH="0" baseline="0" noProof="0" dirty="0">
                <a:ln>
                  <a:noFill/>
                </a:ln>
                <a:solidFill>
                  <a:srgbClr val="FFFFFF"/>
                </a:solidFill>
                <a:effectLst/>
                <a:uLnTx/>
                <a:uFillTx/>
                <a:latin typeface="Courier New"/>
                <a:ea typeface="+mn-ea"/>
                <a:cs typeface="Courier New"/>
              </a:rPr>
              <a:t>└──</a:t>
            </a:r>
            <a:r>
              <a:rPr kumimoji="0" sz="2400" b="0" i="0" u="none" strike="noStrike" kern="1200" cap="none" spc="-70" normalizeH="0" baseline="0" noProof="0" dirty="0">
                <a:ln>
                  <a:noFill/>
                </a:ln>
                <a:solidFill>
                  <a:srgbClr val="FFFFFF"/>
                </a:solidFill>
                <a:effectLst/>
                <a:uLnTx/>
                <a:uFillTx/>
                <a:latin typeface="Courier New"/>
                <a:ea typeface="+mn-ea"/>
                <a:cs typeface="Courier New"/>
              </a:rPr>
              <a:t> </a:t>
            </a:r>
            <a:r>
              <a:rPr kumimoji="0" sz="2400" b="0" i="0" u="none" strike="noStrike" kern="1200" cap="none" spc="-10" normalizeH="0" baseline="0" noProof="0" dirty="0">
                <a:ln>
                  <a:noFill/>
                </a:ln>
                <a:solidFill>
                  <a:srgbClr val="FFFFFF"/>
                </a:solidFill>
                <a:effectLst/>
                <a:uLnTx/>
                <a:uFillTx/>
                <a:latin typeface="Courier New"/>
                <a:ea typeface="+mn-ea"/>
                <a:cs typeface="Courier New"/>
              </a:rPr>
              <a:t>switches.yaml</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l" defTabSz="914400" rtl="0" eaLnBrk="1" fontAlgn="auto" latinLnBrk="0" hangingPunct="1">
              <a:lnSpc>
                <a:spcPts val="2735"/>
              </a:lnSpc>
              <a:spcBef>
                <a:spcPts val="0"/>
              </a:spcBef>
              <a:spcAft>
                <a:spcPts val="0"/>
              </a:spcAft>
              <a:buClrTx/>
              <a:buSzTx/>
              <a:buFontTx/>
              <a:buNone/>
              <a:tabLst/>
              <a:defRPr/>
            </a:pPr>
            <a:r>
              <a:rPr kumimoji="0" sz="2400" b="0" i="0" u="none" strike="noStrike" kern="1200" cap="none" spc="-5" normalizeH="0" baseline="0" noProof="0" dirty="0">
                <a:ln>
                  <a:noFill/>
                </a:ln>
                <a:solidFill>
                  <a:srgbClr val="FFFFFF"/>
                </a:solidFill>
                <a:effectLst/>
                <a:uLnTx/>
                <a:uFillTx/>
                <a:latin typeface="Courier New"/>
                <a:ea typeface="+mn-ea"/>
                <a:cs typeface="Courier New"/>
              </a:rPr>
              <a:t>├──</a:t>
            </a:r>
            <a:r>
              <a:rPr kumimoji="0" sz="2400" b="0" i="0" u="none" strike="noStrike" kern="1200" cap="none" spc="-85" normalizeH="0" baseline="0" noProof="0" dirty="0">
                <a:ln>
                  <a:noFill/>
                </a:ln>
                <a:solidFill>
                  <a:srgbClr val="FFFFFF"/>
                </a:solidFill>
                <a:effectLst/>
                <a:uLnTx/>
                <a:uFillTx/>
                <a:latin typeface="Courier New"/>
                <a:ea typeface="+mn-ea"/>
                <a:cs typeface="Courier New"/>
              </a:rPr>
              <a:t> </a:t>
            </a:r>
            <a:r>
              <a:rPr kumimoji="0" sz="2400" b="0" i="0" u="none" strike="noStrike" kern="1200" cap="none" spc="-5" normalizeH="0" baseline="0" noProof="0" dirty="0">
                <a:ln>
                  <a:noFill/>
                </a:ln>
                <a:solidFill>
                  <a:srgbClr val="FFFFFF"/>
                </a:solidFill>
                <a:effectLst/>
                <a:uLnTx/>
                <a:uFillTx/>
                <a:latin typeface="Courier New"/>
                <a:ea typeface="+mn-ea"/>
                <a:cs typeface="Courier New"/>
              </a:rPr>
              <a:t>host_vars</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l" defTabSz="914400" rtl="0" eaLnBrk="1" fontAlgn="auto" latinLnBrk="0" hangingPunct="1">
              <a:lnSpc>
                <a:spcPts val="2735"/>
              </a:lnSpc>
              <a:spcBef>
                <a:spcPts val="0"/>
              </a:spcBef>
              <a:spcAft>
                <a:spcPts val="0"/>
              </a:spcAft>
              <a:buClrTx/>
              <a:buSzTx/>
              <a:buFontTx/>
              <a:buNone/>
              <a:tabLst>
                <a:tab pos="810260" algn="l"/>
              </a:tabLst>
              <a:defRPr/>
            </a:pPr>
            <a:r>
              <a:rPr kumimoji="0" sz="2400" b="0" i="0" u="none" strike="noStrike" kern="1200" cap="none" spc="0" normalizeH="0" baseline="0" noProof="0" dirty="0">
                <a:ln>
                  <a:noFill/>
                </a:ln>
                <a:solidFill>
                  <a:srgbClr val="FFFFFF"/>
                </a:solidFill>
                <a:effectLst/>
                <a:uLnTx/>
                <a:uFillTx/>
                <a:latin typeface="Courier New"/>
                <a:ea typeface="+mn-ea"/>
                <a:cs typeface="Courier New"/>
              </a:rPr>
              <a:t>│	</a:t>
            </a:r>
            <a:r>
              <a:rPr kumimoji="0" sz="2400" b="0" i="0" u="none" strike="noStrike" kern="1200" cap="none" spc="-5" normalizeH="0" baseline="0" noProof="0" dirty="0">
                <a:ln>
                  <a:noFill/>
                </a:ln>
                <a:solidFill>
                  <a:srgbClr val="FFFFFF"/>
                </a:solidFill>
                <a:effectLst/>
                <a:uLnTx/>
                <a:uFillTx/>
                <a:latin typeface="Courier New"/>
                <a:ea typeface="+mn-ea"/>
                <a:cs typeface="Courier New"/>
              </a:rPr>
              <a:t>├──</a:t>
            </a:r>
            <a:r>
              <a:rPr kumimoji="0" sz="2400" b="0" i="0" u="none" strike="noStrike" kern="1200" cap="none" spc="-50" normalizeH="0" baseline="0" noProof="0" dirty="0">
                <a:ln>
                  <a:noFill/>
                </a:ln>
                <a:solidFill>
                  <a:srgbClr val="FFFFFF"/>
                </a:solidFill>
                <a:effectLst/>
                <a:uLnTx/>
                <a:uFillTx/>
                <a:latin typeface="Courier New"/>
                <a:ea typeface="+mn-ea"/>
                <a:cs typeface="Courier New"/>
              </a:rPr>
              <a:t> </a:t>
            </a:r>
            <a:r>
              <a:rPr kumimoji="0" sz="2400" b="0" i="0" u="none" strike="noStrike" kern="1200" cap="none" spc="-10" normalizeH="0" baseline="0" noProof="0" dirty="0">
                <a:ln>
                  <a:noFill/>
                </a:ln>
                <a:solidFill>
                  <a:srgbClr val="FFFFFF"/>
                </a:solidFill>
                <a:effectLst/>
                <a:uLnTx/>
                <a:uFillTx/>
                <a:latin typeface="Courier New"/>
                <a:ea typeface="+mn-ea"/>
                <a:cs typeface="Courier New"/>
              </a:rPr>
              <a:t>172.16.30.101.yaml</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l" defTabSz="914400" rtl="0" eaLnBrk="1" fontAlgn="auto" latinLnBrk="0" hangingPunct="1">
              <a:lnSpc>
                <a:spcPts val="2735"/>
              </a:lnSpc>
              <a:spcBef>
                <a:spcPts val="0"/>
              </a:spcBef>
              <a:spcAft>
                <a:spcPts val="0"/>
              </a:spcAft>
              <a:buClrTx/>
              <a:buSzTx/>
              <a:buFontTx/>
              <a:buNone/>
              <a:tabLst>
                <a:tab pos="810260" algn="l"/>
              </a:tabLst>
              <a:defRPr/>
            </a:pPr>
            <a:r>
              <a:rPr kumimoji="0" sz="2400" b="0" i="0" u="none" strike="noStrike" kern="1200" cap="none" spc="0" normalizeH="0" baseline="0" noProof="0" dirty="0">
                <a:ln>
                  <a:noFill/>
                </a:ln>
                <a:solidFill>
                  <a:srgbClr val="FFFFFF"/>
                </a:solidFill>
                <a:effectLst/>
                <a:uLnTx/>
                <a:uFillTx/>
                <a:latin typeface="Courier New"/>
                <a:ea typeface="+mn-ea"/>
                <a:cs typeface="Courier New"/>
              </a:rPr>
              <a:t>│	</a:t>
            </a:r>
            <a:r>
              <a:rPr kumimoji="0" sz="2400" b="0" i="0" u="none" strike="noStrike" kern="1200" cap="none" spc="-5" normalizeH="0" baseline="0" noProof="0" dirty="0">
                <a:ln>
                  <a:noFill/>
                </a:ln>
                <a:solidFill>
                  <a:srgbClr val="FFFFFF"/>
                </a:solidFill>
                <a:effectLst/>
                <a:uLnTx/>
                <a:uFillTx/>
                <a:latin typeface="Courier New"/>
                <a:ea typeface="+mn-ea"/>
                <a:cs typeface="Courier New"/>
              </a:rPr>
              <a:t>├──</a:t>
            </a:r>
            <a:r>
              <a:rPr kumimoji="0" sz="2400" b="0" i="0" u="none" strike="noStrike" kern="1200" cap="none" spc="-30" normalizeH="0" baseline="0" noProof="0" dirty="0">
                <a:ln>
                  <a:noFill/>
                </a:ln>
                <a:solidFill>
                  <a:srgbClr val="FFFFFF"/>
                </a:solidFill>
                <a:effectLst/>
                <a:uLnTx/>
                <a:uFillTx/>
                <a:latin typeface="Courier New"/>
                <a:ea typeface="+mn-ea"/>
                <a:cs typeface="Courier New"/>
              </a:rPr>
              <a:t> </a:t>
            </a:r>
            <a:r>
              <a:rPr kumimoji="0" sz="2400" b="0" i="0" u="none" strike="noStrike" kern="1200" cap="none" spc="-10" normalizeH="0" baseline="0" noProof="0" dirty="0">
                <a:ln>
                  <a:noFill/>
                </a:ln>
                <a:solidFill>
                  <a:srgbClr val="FFFFFF"/>
                </a:solidFill>
                <a:effectLst/>
                <a:uLnTx/>
                <a:uFillTx/>
                <a:latin typeface="Courier New"/>
                <a:ea typeface="+mn-ea"/>
                <a:cs typeface="Courier New"/>
              </a:rPr>
              <a:t>172.16.30.102.yaml</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l" defTabSz="914400" rtl="0" eaLnBrk="1" fontAlgn="auto" latinLnBrk="0" hangingPunct="1">
              <a:lnSpc>
                <a:spcPts val="2735"/>
              </a:lnSpc>
              <a:spcBef>
                <a:spcPts val="0"/>
              </a:spcBef>
              <a:spcAft>
                <a:spcPts val="0"/>
              </a:spcAft>
              <a:buClrTx/>
              <a:buSzTx/>
              <a:buFontTx/>
              <a:buNone/>
              <a:tabLst>
                <a:tab pos="810260" algn="l"/>
              </a:tabLst>
              <a:defRPr/>
            </a:pPr>
            <a:r>
              <a:rPr kumimoji="0" sz="2400" b="0" i="0" u="none" strike="noStrike" kern="1200" cap="none" spc="0" normalizeH="0" baseline="0" noProof="0" dirty="0">
                <a:ln>
                  <a:noFill/>
                </a:ln>
                <a:solidFill>
                  <a:srgbClr val="FFFFFF"/>
                </a:solidFill>
                <a:effectLst/>
                <a:uLnTx/>
                <a:uFillTx/>
                <a:latin typeface="Courier New"/>
                <a:ea typeface="+mn-ea"/>
                <a:cs typeface="Courier New"/>
              </a:rPr>
              <a:t>│	</a:t>
            </a:r>
            <a:r>
              <a:rPr kumimoji="0" sz="2400" b="0" i="0" u="none" strike="noStrike" kern="1200" cap="none" spc="-5" normalizeH="0" baseline="0" noProof="0" dirty="0">
                <a:ln>
                  <a:noFill/>
                </a:ln>
                <a:solidFill>
                  <a:srgbClr val="FFFFFF"/>
                </a:solidFill>
                <a:effectLst/>
                <a:uLnTx/>
                <a:uFillTx/>
                <a:latin typeface="Courier New"/>
                <a:ea typeface="+mn-ea"/>
                <a:cs typeface="Courier New"/>
              </a:rPr>
              <a:t>├──</a:t>
            </a:r>
            <a:r>
              <a:rPr kumimoji="0" sz="2400" b="0" i="0" u="none" strike="noStrike" kern="1200" cap="none" spc="-50" normalizeH="0" baseline="0" noProof="0" dirty="0">
                <a:ln>
                  <a:noFill/>
                </a:ln>
                <a:solidFill>
                  <a:srgbClr val="FFFFFF"/>
                </a:solidFill>
                <a:effectLst/>
                <a:uLnTx/>
                <a:uFillTx/>
                <a:latin typeface="Courier New"/>
                <a:ea typeface="+mn-ea"/>
                <a:cs typeface="Courier New"/>
              </a:rPr>
              <a:t> </a:t>
            </a:r>
            <a:r>
              <a:rPr kumimoji="0" sz="2400" b="0" i="0" u="none" strike="noStrike" kern="1200" cap="none" spc="-10" normalizeH="0" baseline="0" noProof="0" dirty="0">
                <a:ln>
                  <a:noFill/>
                </a:ln>
                <a:solidFill>
                  <a:srgbClr val="FFFFFF"/>
                </a:solidFill>
                <a:effectLst/>
                <a:uLnTx/>
                <a:uFillTx/>
                <a:latin typeface="Courier New"/>
                <a:ea typeface="+mn-ea"/>
                <a:cs typeface="Courier New"/>
              </a:rPr>
              <a:t>172.16.30.103.yaml</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a:p>
            <a:pPr marL="78740" marR="0" lvl="0" indent="0" algn="l" defTabSz="914400" rtl="0" eaLnBrk="1" fontAlgn="auto" latinLnBrk="0" hangingPunct="1">
              <a:lnSpc>
                <a:spcPts val="2810"/>
              </a:lnSpc>
              <a:spcBef>
                <a:spcPts val="0"/>
              </a:spcBef>
              <a:spcAft>
                <a:spcPts val="0"/>
              </a:spcAft>
              <a:buClrTx/>
              <a:buSzTx/>
              <a:buFontTx/>
              <a:buNone/>
              <a:tabLst>
                <a:tab pos="810260" algn="l"/>
              </a:tabLst>
              <a:defRPr/>
            </a:pPr>
            <a:r>
              <a:rPr kumimoji="0" sz="2400" b="0" i="0" u="none" strike="noStrike" kern="1200" cap="none" spc="0" normalizeH="0" baseline="0" noProof="0" dirty="0">
                <a:ln>
                  <a:noFill/>
                </a:ln>
                <a:solidFill>
                  <a:srgbClr val="FFFFFF"/>
                </a:solidFill>
                <a:effectLst/>
                <a:uLnTx/>
                <a:uFillTx/>
                <a:latin typeface="Courier New"/>
                <a:ea typeface="+mn-ea"/>
                <a:cs typeface="Courier New"/>
              </a:rPr>
              <a:t>│	</a:t>
            </a:r>
            <a:r>
              <a:rPr kumimoji="0" sz="2400" b="0" i="0" u="none" strike="noStrike" kern="1200" cap="none" spc="-5" normalizeH="0" baseline="0" noProof="0" dirty="0">
                <a:ln>
                  <a:noFill/>
                </a:ln>
                <a:solidFill>
                  <a:srgbClr val="FFFFFF"/>
                </a:solidFill>
                <a:effectLst/>
                <a:uLnTx/>
                <a:uFillTx/>
                <a:latin typeface="Courier New"/>
                <a:ea typeface="+mn-ea"/>
                <a:cs typeface="Courier New"/>
              </a:rPr>
              <a:t>└──</a:t>
            </a:r>
            <a:r>
              <a:rPr kumimoji="0" sz="2400" b="0" i="0" u="none" strike="noStrike" kern="1200" cap="none" spc="-30" normalizeH="0" baseline="0" noProof="0" dirty="0">
                <a:ln>
                  <a:noFill/>
                </a:ln>
                <a:solidFill>
                  <a:srgbClr val="FFFFFF"/>
                </a:solidFill>
                <a:effectLst/>
                <a:uLnTx/>
                <a:uFillTx/>
                <a:latin typeface="Courier New"/>
                <a:ea typeface="+mn-ea"/>
                <a:cs typeface="Courier New"/>
              </a:rPr>
              <a:t> </a:t>
            </a:r>
            <a:r>
              <a:rPr kumimoji="0" sz="2400" b="0" i="0" u="none" strike="noStrike" kern="1200" cap="none" spc="-10" normalizeH="0" baseline="0" noProof="0" dirty="0">
                <a:ln>
                  <a:noFill/>
                </a:ln>
                <a:solidFill>
                  <a:srgbClr val="FFFFFF"/>
                </a:solidFill>
                <a:effectLst/>
                <a:uLnTx/>
                <a:uFillTx/>
                <a:latin typeface="Courier New"/>
                <a:ea typeface="+mn-ea"/>
                <a:cs typeface="Courier New"/>
              </a:rPr>
              <a:t>172.16.30.104.yaml</a:t>
            </a:r>
            <a:endParaRPr kumimoji="0" sz="24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4" name="object 4"/>
          <p:cNvSpPr txBox="1">
            <a:spLocks noGrp="1"/>
          </p:cNvSpPr>
          <p:nvPr>
            <p:ph type="title"/>
          </p:nvPr>
        </p:nvSpPr>
        <p:spPr>
          <a:xfrm>
            <a:off x="662736" y="587501"/>
            <a:ext cx="5473065" cy="596265"/>
          </a:xfrm>
          <a:prstGeom prst="rect">
            <a:avLst/>
          </a:prstGeom>
        </p:spPr>
        <p:txBody>
          <a:bodyPr vert="horz" wrap="square" lIns="0" tIns="12065" rIns="0" bIns="0" rtlCol="0">
            <a:spAutoFit/>
          </a:bodyPr>
          <a:lstStyle/>
          <a:p>
            <a:pPr marL="12700">
              <a:lnSpc>
                <a:spcPct val="100000"/>
              </a:lnSpc>
              <a:spcBef>
                <a:spcPts val="95"/>
              </a:spcBef>
            </a:pPr>
            <a:r>
              <a:rPr spc="-5" dirty="0">
                <a:solidFill>
                  <a:srgbClr val="005073"/>
                </a:solidFill>
              </a:rPr>
              <a:t>Host </a:t>
            </a:r>
            <a:r>
              <a:rPr spc="-15" dirty="0">
                <a:solidFill>
                  <a:srgbClr val="005073"/>
                </a:solidFill>
              </a:rPr>
              <a:t>and Group</a:t>
            </a:r>
            <a:r>
              <a:rPr spc="135" dirty="0">
                <a:solidFill>
                  <a:srgbClr val="005073"/>
                </a:solidFill>
              </a:rPr>
              <a:t> </a:t>
            </a:r>
            <a:r>
              <a:rPr spc="-40" dirty="0">
                <a:solidFill>
                  <a:srgbClr val="005073"/>
                </a:solidFill>
              </a:rPr>
              <a:t>Variables</a:t>
            </a:r>
          </a:p>
        </p:txBody>
      </p:sp>
    </p:spTree>
    <p:extLst>
      <p:ext uri="{BB962C8B-B14F-4D97-AF65-F5344CB8AC3E}">
        <p14:creationId xmlns:p14="http://schemas.microsoft.com/office/powerpoint/2010/main" val="36213057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9327" y="6367881"/>
            <a:ext cx="3615690" cy="137160"/>
          </a:xfrm>
          <a:prstGeom prst="rect">
            <a:avLst/>
          </a:prstGeom>
        </p:spPr>
        <p:txBody>
          <a:bodyPr vert="horz" wrap="square" lIns="0" tIns="0" rIns="0" bIns="0" rtlCol="0">
            <a:spAutoFit/>
          </a:bodyPr>
          <a:lstStyle/>
          <a:p>
            <a:pPr marL="0" marR="0" lvl="0" indent="0" algn="l" defTabSz="457200" rtl="0" eaLnBrk="1" fontAlgn="base" latinLnBrk="0" hangingPunct="1">
              <a:lnSpc>
                <a:spcPts val="950"/>
              </a:lnSpc>
              <a:spcBef>
                <a:spcPct val="0"/>
              </a:spcBef>
              <a:spcAft>
                <a:spcPct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40" normalizeH="0" baseline="0" noProof="0" dirty="0">
                <a:ln>
                  <a:noFill/>
                </a:ln>
                <a:solidFill>
                  <a:srgbClr val="A6A6A6"/>
                </a:solidFill>
                <a:effectLst/>
                <a:uLnTx/>
                <a:uFillTx/>
                <a:latin typeface="Arial"/>
                <a:ea typeface="ＭＳ Ｐゴシック" charset="0"/>
                <a:cs typeface="Arial"/>
              </a:rPr>
              <a:t>2017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Cisco </a:t>
            </a:r>
            <a:r>
              <a:rPr kumimoji="0" sz="800" b="0" i="0" u="none" strike="noStrike" kern="1200" cap="none" spc="15" normalizeH="0" baseline="0" noProof="0" dirty="0">
                <a:ln>
                  <a:noFill/>
                </a:ln>
                <a:solidFill>
                  <a:srgbClr val="A6A6A6"/>
                </a:solidFill>
                <a:effectLst/>
                <a:uLnTx/>
                <a:uFillTx/>
                <a:latin typeface="Arial"/>
                <a:ea typeface="ＭＳ Ｐゴシック" charset="0"/>
                <a:cs typeface="Arial"/>
              </a:rPr>
              <a:t>and/or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its affiliates.  </a:t>
            </a:r>
            <a:r>
              <a:rPr kumimoji="0" sz="800" b="0" i="0" u="none" strike="noStrike" kern="1200" cap="none" spc="0" normalizeH="0" baseline="0" noProof="0" dirty="0">
                <a:ln>
                  <a:noFill/>
                </a:ln>
                <a:solidFill>
                  <a:srgbClr val="A6A6A6"/>
                </a:solidFill>
                <a:effectLst/>
                <a:uLnTx/>
                <a:uFillTx/>
                <a:latin typeface="Arial"/>
                <a:ea typeface="ＭＳ Ｐゴシック" charset="0"/>
                <a:cs typeface="Arial"/>
              </a:rPr>
              <a:t>All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rights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reserved.    Cisco</a:t>
            </a:r>
            <a:r>
              <a:rPr kumimoji="0" sz="800" b="0" i="0" u="none" strike="noStrike" kern="1200" cap="none" spc="10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Confidential</a:t>
            </a:r>
            <a:endParaRPr kumimoji="0" sz="800" b="0" i="0" u="none" strike="noStrike" kern="1200" cap="none" spc="0" normalizeH="0" baseline="0" noProof="0">
              <a:ln>
                <a:noFill/>
              </a:ln>
              <a:solidFill>
                <a:srgbClr val="282828"/>
              </a:solidFill>
              <a:effectLst/>
              <a:uLnTx/>
              <a:uFillTx/>
              <a:latin typeface="Arial"/>
              <a:ea typeface="ＭＳ Ｐゴシック" charset="0"/>
              <a:cs typeface="Arial"/>
            </a:endParaRPr>
          </a:p>
        </p:txBody>
      </p:sp>
      <p:sp>
        <p:nvSpPr>
          <p:cNvPr id="4" name="object 4"/>
          <p:cNvSpPr txBox="1"/>
          <p:nvPr/>
        </p:nvSpPr>
        <p:spPr>
          <a:xfrm>
            <a:off x="634085" y="3654628"/>
            <a:ext cx="4272915" cy="962660"/>
          </a:xfrm>
          <a:prstGeom prst="rect">
            <a:avLst/>
          </a:prstGeom>
        </p:spPr>
        <p:txBody>
          <a:bodyPr vert="horz" wrap="square" lIns="0" tIns="12065" rIns="0" bIns="0" rtlCol="0">
            <a:spAutoFit/>
          </a:bodyPr>
          <a:lstStyle/>
          <a:p>
            <a:pPr marL="12700" marR="0" lvl="0" indent="0" algn="l" defTabSz="457200" rtl="0" eaLnBrk="1" fontAlgn="base" latinLnBrk="0" hangingPunct="1">
              <a:lnSpc>
                <a:spcPct val="100000"/>
              </a:lnSpc>
              <a:spcBef>
                <a:spcPts val="95"/>
              </a:spcBef>
              <a:spcAft>
                <a:spcPct val="0"/>
              </a:spcAft>
              <a:buClrTx/>
              <a:buSzTx/>
              <a:buFontTx/>
              <a:buNone/>
              <a:tabLst/>
              <a:defRPr/>
            </a:pPr>
            <a:r>
              <a:rPr kumimoji="0" sz="6150" b="0" i="0" u="none" strike="noStrike" kern="1200" cap="none" spc="10" normalizeH="0" baseline="0" noProof="0" dirty="0">
                <a:ln>
                  <a:noFill/>
                </a:ln>
                <a:solidFill>
                  <a:srgbClr val="005073"/>
                </a:solidFill>
                <a:effectLst/>
                <a:uLnTx/>
                <a:uFillTx/>
                <a:latin typeface="CiscoSansTT ExtraLight"/>
                <a:ea typeface="ＭＳ Ｐゴシック" charset="0"/>
                <a:cs typeface="Arial"/>
              </a:rPr>
              <a:t>Demo</a:t>
            </a:r>
            <a:r>
              <a:rPr kumimoji="0" sz="6150" b="0" i="0" u="none" strike="noStrike" kern="1200" cap="none" spc="35" normalizeH="0" baseline="0" noProof="0" dirty="0">
                <a:ln>
                  <a:noFill/>
                </a:ln>
                <a:solidFill>
                  <a:srgbClr val="005073"/>
                </a:solidFill>
                <a:effectLst/>
                <a:uLnTx/>
                <a:uFillTx/>
                <a:latin typeface="CiscoSansTT ExtraLight"/>
                <a:ea typeface="ＭＳ Ｐゴシック" charset="0"/>
                <a:cs typeface="Arial"/>
              </a:rPr>
              <a:t> </a:t>
            </a:r>
            <a:r>
              <a:rPr kumimoji="0" sz="6150" b="0" i="0" u="none" strike="noStrike" kern="1200" cap="none" spc="-50" normalizeH="0" baseline="0" noProof="0" dirty="0">
                <a:ln>
                  <a:noFill/>
                </a:ln>
                <a:solidFill>
                  <a:srgbClr val="005073"/>
                </a:solidFill>
                <a:effectLst/>
                <a:uLnTx/>
                <a:uFillTx/>
                <a:latin typeface="CiscoSansTT ExtraLight"/>
                <a:ea typeface="ＭＳ Ｐゴシック" charset="0"/>
                <a:cs typeface="Arial"/>
              </a:rPr>
              <a:t>Time!</a:t>
            </a:r>
            <a:endParaRPr kumimoji="0" sz="6150" b="0" i="0" u="none" strike="noStrike" kern="1200" cap="none" spc="0" normalizeH="0" baseline="0" noProof="0" dirty="0">
              <a:ln>
                <a:noFill/>
              </a:ln>
              <a:solidFill>
                <a:srgbClr val="282828"/>
              </a:solidFill>
              <a:effectLst/>
              <a:uLnTx/>
              <a:uFillTx/>
              <a:latin typeface="CiscoSansTT ExtraLight"/>
              <a:ea typeface="ＭＳ Ｐゴシック" charset="0"/>
              <a:cs typeface="Arial"/>
            </a:endParaRPr>
          </a:p>
        </p:txBody>
      </p:sp>
      <p:sp>
        <p:nvSpPr>
          <p:cNvPr id="5" name="object 5"/>
          <p:cNvSpPr/>
          <p:nvPr/>
        </p:nvSpPr>
        <p:spPr>
          <a:xfrm>
            <a:off x="5678423" y="1438655"/>
            <a:ext cx="5007864" cy="3883152"/>
          </a:xfrm>
          <a:prstGeom prst="rect">
            <a:avLst/>
          </a:prstGeom>
          <a:blipFill>
            <a:blip r:embed="rId2" cstate="print"/>
            <a:stretch>
              <a:fillRect/>
            </a:stretch>
          </a:blip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 name="TextBox 5">
            <a:extLst>
              <a:ext uri="{FF2B5EF4-FFF2-40B4-BE49-F238E27FC236}">
                <a16:creationId xmlns:a16="http://schemas.microsoft.com/office/drawing/2014/main" id="{6DFBF00C-4ECF-1248-84F2-0D8BC21D4FC5}"/>
              </a:ext>
            </a:extLst>
          </p:cNvPr>
          <p:cNvSpPr txBox="1"/>
          <p:nvPr/>
        </p:nvSpPr>
        <p:spPr>
          <a:xfrm>
            <a:off x="634085" y="5137141"/>
            <a:ext cx="1662635"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zh-CN" sz="1800" b="0" i="0" u="none" strike="noStrike" kern="1200" cap="none" spc="0" normalizeH="0" baseline="0" noProof="0" dirty="0" err="1">
                <a:ln>
                  <a:noFill/>
                </a:ln>
                <a:solidFill>
                  <a:srgbClr val="282828"/>
                </a:solidFill>
                <a:effectLst/>
                <a:uLnTx/>
                <a:uFillTx/>
                <a:latin typeface="CiscoSansTT ExtraLight"/>
                <a:ea typeface="ＭＳ Ｐゴシック" charset="0"/>
              </a:rPr>
              <a:t>var_demo.yml</a:t>
            </a:r>
            <a:endParaRPr kumimoji="0" lang="en-CN"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Tree>
    <p:extLst>
      <p:ext uri="{BB962C8B-B14F-4D97-AF65-F5344CB8AC3E}">
        <p14:creationId xmlns:p14="http://schemas.microsoft.com/office/powerpoint/2010/main" val="29242326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sz="half" idx="2"/>
          </p:nvPr>
        </p:nvSpPr>
        <p:spPr>
          <a:prstGeom prst="rect">
            <a:avLst/>
          </a:prstGeom>
        </p:spPr>
        <p:txBody>
          <a:bodyPr vert="horz" wrap="square" lIns="0" tIns="184785" rIns="0" bIns="0" rtlCol="0">
            <a:spAutoFit/>
          </a:bodyPr>
          <a:lstStyle/>
          <a:p>
            <a:pPr marL="167640" indent="-154940">
              <a:lnSpc>
                <a:spcPct val="100000"/>
              </a:lnSpc>
              <a:spcBef>
                <a:spcPts val="1455"/>
              </a:spcBef>
              <a:buSzPct val="60377"/>
              <a:buChar char="•"/>
              <a:tabLst>
                <a:tab pos="168275" algn="l"/>
              </a:tabLst>
            </a:pPr>
            <a:r>
              <a:rPr spc="25" dirty="0"/>
              <a:t>Not </a:t>
            </a:r>
            <a:r>
              <a:rPr dirty="0"/>
              <a:t>just </a:t>
            </a:r>
            <a:r>
              <a:rPr spc="35" dirty="0"/>
              <a:t>for </a:t>
            </a:r>
            <a:r>
              <a:rPr spc="-5" dirty="0"/>
              <a:t>Ansible</a:t>
            </a:r>
            <a:r>
              <a:rPr spc="215" dirty="0"/>
              <a:t> </a:t>
            </a:r>
            <a:r>
              <a:rPr spc="25" dirty="0"/>
              <a:t>templates</a:t>
            </a:r>
          </a:p>
          <a:p>
            <a:pPr marL="167640" indent="-154940">
              <a:lnSpc>
                <a:spcPct val="100000"/>
              </a:lnSpc>
              <a:spcBef>
                <a:spcPts val="1355"/>
              </a:spcBef>
              <a:buSzPct val="60377"/>
              <a:buChar char="•"/>
              <a:tabLst>
                <a:tab pos="168275" algn="l"/>
              </a:tabLst>
            </a:pPr>
            <a:r>
              <a:rPr spc="10" dirty="0"/>
              <a:t>Powerful </a:t>
            </a:r>
            <a:r>
              <a:rPr spc="15" dirty="0"/>
              <a:t>templating</a:t>
            </a:r>
            <a:r>
              <a:rPr spc="125" dirty="0"/>
              <a:t> </a:t>
            </a:r>
            <a:r>
              <a:rPr spc="-5" dirty="0"/>
              <a:t>language</a:t>
            </a:r>
          </a:p>
          <a:p>
            <a:pPr marL="320040" lvl="1" indent="-152400">
              <a:lnSpc>
                <a:spcPts val="2810"/>
              </a:lnSpc>
              <a:spcBef>
                <a:spcPts val="450"/>
              </a:spcBef>
              <a:buSzPct val="58333"/>
              <a:buChar char="•"/>
              <a:tabLst>
                <a:tab pos="320675" algn="l"/>
              </a:tabLst>
            </a:pPr>
            <a:r>
              <a:rPr sz="2400" spc="10" dirty="0">
                <a:solidFill>
                  <a:srgbClr val="282828"/>
                </a:solidFill>
                <a:latin typeface="Arial"/>
                <a:cs typeface="Arial"/>
              </a:rPr>
              <a:t>Loops, </a:t>
            </a:r>
            <a:r>
              <a:rPr sz="2400" spc="0" dirty="0">
                <a:solidFill>
                  <a:srgbClr val="282828"/>
                </a:solidFill>
                <a:latin typeface="Arial"/>
                <a:cs typeface="Arial"/>
              </a:rPr>
              <a:t>conditionals </a:t>
            </a:r>
            <a:r>
              <a:rPr sz="2400" spc="-10" dirty="0">
                <a:solidFill>
                  <a:srgbClr val="282828"/>
                </a:solidFill>
                <a:latin typeface="Arial"/>
                <a:cs typeface="Arial"/>
              </a:rPr>
              <a:t>and</a:t>
            </a:r>
            <a:r>
              <a:rPr sz="2400" spc="110" dirty="0">
                <a:solidFill>
                  <a:srgbClr val="282828"/>
                </a:solidFill>
                <a:latin typeface="Arial"/>
                <a:cs typeface="Arial"/>
              </a:rPr>
              <a:t> </a:t>
            </a:r>
            <a:r>
              <a:rPr sz="2400" spc="25" dirty="0">
                <a:solidFill>
                  <a:srgbClr val="282828"/>
                </a:solidFill>
                <a:latin typeface="Arial"/>
                <a:cs typeface="Arial"/>
              </a:rPr>
              <a:t>more</a:t>
            </a:r>
            <a:endParaRPr sz="2400">
              <a:latin typeface="Arial"/>
              <a:cs typeface="Arial"/>
            </a:endParaRPr>
          </a:p>
          <a:p>
            <a:pPr marL="320040">
              <a:lnSpc>
                <a:spcPts val="2810"/>
              </a:lnSpc>
            </a:pPr>
            <a:r>
              <a:rPr sz="2400" spc="25" dirty="0"/>
              <a:t>supported</a:t>
            </a:r>
            <a:endParaRPr sz="2400"/>
          </a:p>
          <a:p>
            <a:pPr marL="167640" indent="-154940">
              <a:lnSpc>
                <a:spcPct val="100000"/>
              </a:lnSpc>
              <a:spcBef>
                <a:spcPts val="1120"/>
              </a:spcBef>
              <a:buClr>
                <a:srgbClr val="282828"/>
              </a:buClr>
              <a:buSzPct val="60377"/>
              <a:buChar char="•"/>
              <a:tabLst>
                <a:tab pos="168275" algn="l"/>
              </a:tabLst>
            </a:pPr>
            <a:r>
              <a:rPr spc="10" dirty="0">
                <a:solidFill>
                  <a:srgbClr val="E2231B"/>
                </a:solidFill>
              </a:rPr>
              <a:t>Leverage </a:t>
            </a:r>
            <a:r>
              <a:rPr spc="5" dirty="0">
                <a:solidFill>
                  <a:srgbClr val="E2231B"/>
                </a:solidFill>
                <a:latin typeface="Courier New"/>
                <a:cs typeface="Courier New"/>
              </a:rPr>
              <a:t>template</a:t>
            </a:r>
            <a:r>
              <a:rPr spc="-785" dirty="0">
                <a:solidFill>
                  <a:srgbClr val="E2231B"/>
                </a:solidFill>
                <a:latin typeface="Courier New"/>
                <a:cs typeface="Courier New"/>
              </a:rPr>
              <a:t> </a:t>
            </a:r>
            <a:r>
              <a:rPr spc="25" dirty="0">
                <a:solidFill>
                  <a:srgbClr val="E2231B"/>
                </a:solidFill>
              </a:rPr>
              <a:t>module</a:t>
            </a:r>
          </a:p>
          <a:p>
            <a:pPr marL="320040" lvl="1" indent="-152400">
              <a:lnSpc>
                <a:spcPct val="100000"/>
              </a:lnSpc>
              <a:spcBef>
                <a:spcPts val="695"/>
              </a:spcBef>
              <a:buSzPct val="58333"/>
              <a:buChar char="•"/>
              <a:tabLst>
                <a:tab pos="320675" algn="l"/>
              </a:tabLst>
            </a:pPr>
            <a:r>
              <a:rPr sz="2400" spc="15" dirty="0">
                <a:solidFill>
                  <a:srgbClr val="282828"/>
                </a:solidFill>
                <a:latin typeface="Arial"/>
                <a:cs typeface="Arial"/>
              </a:rPr>
              <a:t>Attributes</a:t>
            </a:r>
            <a:endParaRPr sz="2400">
              <a:latin typeface="Arial"/>
              <a:cs typeface="Arial"/>
            </a:endParaRPr>
          </a:p>
          <a:p>
            <a:pPr marL="472440" lvl="2" indent="-152400">
              <a:lnSpc>
                <a:spcPct val="100000"/>
              </a:lnSpc>
              <a:spcBef>
                <a:spcPts val="515"/>
              </a:spcBef>
              <a:buSzPct val="59523"/>
              <a:buFont typeface="Arial"/>
              <a:buChar char="•"/>
              <a:tabLst>
                <a:tab pos="473075" algn="l"/>
              </a:tabLst>
            </a:pPr>
            <a:r>
              <a:rPr sz="2100" spc="5" dirty="0">
                <a:solidFill>
                  <a:srgbClr val="282828"/>
                </a:solidFill>
                <a:latin typeface="Courier New"/>
                <a:cs typeface="Courier New"/>
              </a:rPr>
              <a:t>src:</a:t>
            </a:r>
            <a:r>
              <a:rPr sz="2100" spc="-635" dirty="0">
                <a:solidFill>
                  <a:srgbClr val="282828"/>
                </a:solidFill>
                <a:latin typeface="Courier New"/>
                <a:cs typeface="Courier New"/>
              </a:rPr>
              <a:t> </a:t>
            </a:r>
            <a:r>
              <a:rPr sz="2100" dirty="0">
                <a:solidFill>
                  <a:srgbClr val="282828"/>
                </a:solidFill>
                <a:latin typeface="Arial"/>
                <a:cs typeface="Arial"/>
              </a:rPr>
              <a:t>The </a:t>
            </a:r>
            <a:r>
              <a:rPr sz="2100" spc="30" dirty="0">
                <a:solidFill>
                  <a:srgbClr val="282828"/>
                </a:solidFill>
                <a:latin typeface="Arial"/>
                <a:cs typeface="Arial"/>
              </a:rPr>
              <a:t>template </a:t>
            </a:r>
            <a:r>
              <a:rPr sz="2100" spc="10" dirty="0">
                <a:solidFill>
                  <a:srgbClr val="282828"/>
                </a:solidFill>
                <a:latin typeface="Arial"/>
                <a:cs typeface="Arial"/>
              </a:rPr>
              <a:t>file</a:t>
            </a:r>
            <a:endParaRPr sz="2100">
              <a:latin typeface="Arial"/>
              <a:cs typeface="Arial"/>
            </a:endParaRPr>
          </a:p>
          <a:p>
            <a:pPr marL="472440" lvl="2" indent="-152400">
              <a:lnSpc>
                <a:spcPct val="100000"/>
              </a:lnSpc>
              <a:spcBef>
                <a:spcPts val="715"/>
              </a:spcBef>
              <a:buSzPct val="59523"/>
              <a:buFont typeface="Arial"/>
              <a:buChar char="•"/>
              <a:tabLst>
                <a:tab pos="473075" algn="l"/>
              </a:tabLst>
            </a:pPr>
            <a:r>
              <a:rPr sz="2100" spc="5" dirty="0">
                <a:solidFill>
                  <a:srgbClr val="282828"/>
                </a:solidFill>
                <a:latin typeface="Courier New"/>
                <a:cs typeface="Courier New"/>
              </a:rPr>
              <a:t>dest:</a:t>
            </a:r>
            <a:r>
              <a:rPr sz="2100" spc="-570" dirty="0">
                <a:solidFill>
                  <a:srgbClr val="282828"/>
                </a:solidFill>
                <a:latin typeface="Courier New"/>
                <a:cs typeface="Courier New"/>
              </a:rPr>
              <a:t> </a:t>
            </a:r>
            <a:r>
              <a:rPr sz="2100" spc="30" dirty="0">
                <a:solidFill>
                  <a:srgbClr val="282828"/>
                </a:solidFill>
                <a:latin typeface="Arial"/>
                <a:cs typeface="Arial"/>
              </a:rPr>
              <a:t>Where </a:t>
            </a:r>
            <a:r>
              <a:rPr sz="2100" spc="50" dirty="0">
                <a:solidFill>
                  <a:srgbClr val="282828"/>
                </a:solidFill>
                <a:latin typeface="Arial"/>
                <a:cs typeface="Arial"/>
              </a:rPr>
              <a:t>to </a:t>
            </a:r>
            <a:r>
              <a:rPr sz="2100" dirty="0">
                <a:solidFill>
                  <a:srgbClr val="282828"/>
                </a:solidFill>
                <a:latin typeface="Arial"/>
                <a:cs typeface="Arial"/>
              </a:rPr>
              <a:t>save </a:t>
            </a:r>
            <a:r>
              <a:rPr sz="2100" spc="30" dirty="0">
                <a:solidFill>
                  <a:srgbClr val="282828"/>
                </a:solidFill>
                <a:latin typeface="Arial"/>
                <a:cs typeface="Arial"/>
              </a:rPr>
              <a:t>generated</a:t>
            </a:r>
            <a:endParaRPr sz="2100">
              <a:latin typeface="Arial"/>
              <a:cs typeface="Arial"/>
            </a:endParaRPr>
          </a:p>
          <a:p>
            <a:pPr marR="2666365" algn="ctr">
              <a:lnSpc>
                <a:spcPct val="100000"/>
              </a:lnSpc>
              <a:spcBef>
                <a:spcPts val="95"/>
              </a:spcBef>
            </a:pPr>
            <a:r>
              <a:rPr sz="2100" spc="30" dirty="0"/>
              <a:t>template</a:t>
            </a:r>
            <a:endParaRPr sz="2100"/>
          </a:p>
        </p:txBody>
      </p:sp>
      <p:sp>
        <p:nvSpPr>
          <p:cNvPr id="3" name="object 3"/>
          <p:cNvSpPr txBox="1">
            <a:spLocks noGrp="1"/>
          </p:cNvSpPr>
          <p:nvPr>
            <p:ph type="title"/>
          </p:nvPr>
        </p:nvSpPr>
        <p:spPr>
          <a:xfrm>
            <a:off x="662736" y="587501"/>
            <a:ext cx="8789670" cy="596265"/>
          </a:xfrm>
          <a:prstGeom prst="rect">
            <a:avLst/>
          </a:prstGeom>
        </p:spPr>
        <p:txBody>
          <a:bodyPr vert="horz" wrap="square" lIns="0" tIns="12065" rIns="0" bIns="0" rtlCol="0">
            <a:spAutoFit/>
          </a:bodyPr>
          <a:lstStyle/>
          <a:p>
            <a:pPr marL="12700">
              <a:lnSpc>
                <a:spcPct val="100000"/>
              </a:lnSpc>
              <a:spcBef>
                <a:spcPts val="95"/>
              </a:spcBef>
            </a:pPr>
            <a:r>
              <a:rPr spc="-5" dirty="0">
                <a:solidFill>
                  <a:srgbClr val="005073"/>
                </a:solidFill>
              </a:rPr>
              <a:t>Jinja2 Templating </a:t>
            </a:r>
            <a:r>
              <a:rPr spc="35" dirty="0">
                <a:solidFill>
                  <a:srgbClr val="005073"/>
                </a:solidFill>
                <a:latin typeface="Tahoma"/>
                <a:cs typeface="Tahoma"/>
              </a:rPr>
              <a:t>– </a:t>
            </a:r>
            <a:r>
              <a:rPr spc="-45" dirty="0">
                <a:solidFill>
                  <a:srgbClr val="005073"/>
                </a:solidFill>
              </a:rPr>
              <a:t>Variables </a:t>
            </a:r>
            <a:r>
              <a:rPr spc="65" dirty="0">
                <a:solidFill>
                  <a:srgbClr val="005073"/>
                </a:solidFill>
              </a:rPr>
              <a:t>to </a:t>
            </a:r>
            <a:r>
              <a:rPr spc="35" dirty="0">
                <a:solidFill>
                  <a:srgbClr val="005073"/>
                </a:solidFill>
              </a:rPr>
              <a:t>the</a:t>
            </a:r>
            <a:r>
              <a:rPr spc="235" dirty="0">
                <a:solidFill>
                  <a:srgbClr val="005073"/>
                </a:solidFill>
              </a:rPr>
              <a:t> </a:t>
            </a:r>
            <a:r>
              <a:rPr spc="-30" dirty="0">
                <a:solidFill>
                  <a:srgbClr val="005073"/>
                </a:solidFill>
              </a:rPr>
              <a:t>Max!</a:t>
            </a:r>
          </a:p>
        </p:txBody>
      </p:sp>
      <p:sp>
        <p:nvSpPr>
          <p:cNvPr id="4" name="object 4"/>
          <p:cNvSpPr/>
          <p:nvPr/>
        </p:nvSpPr>
        <p:spPr>
          <a:xfrm>
            <a:off x="6419088" y="2609088"/>
            <a:ext cx="4727448" cy="3255264"/>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8811768" y="1609344"/>
            <a:ext cx="2727960" cy="771143"/>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8807195" y="1604772"/>
            <a:ext cx="2737485" cy="780415"/>
          </a:xfrm>
          <a:custGeom>
            <a:avLst/>
            <a:gdLst/>
            <a:ahLst/>
            <a:cxnLst/>
            <a:rect l="l" t="t" r="r" b="b"/>
            <a:pathLst>
              <a:path w="2737484" h="780414">
                <a:moveTo>
                  <a:pt x="0" y="780288"/>
                </a:moveTo>
                <a:lnTo>
                  <a:pt x="2737104" y="780288"/>
                </a:lnTo>
                <a:lnTo>
                  <a:pt x="2737104" y="0"/>
                </a:lnTo>
                <a:lnTo>
                  <a:pt x="0" y="0"/>
                </a:lnTo>
                <a:lnTo>
                  <a:pt x="0" y="780288"/>
                </a:lnTo>
                <a:close/>
              </a:path>
            </a:pathLst>
          </a:custGeom>
          <a:ln w="9144">
            <a:solidFill>
              <a:srgbClr val="28282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8801227" y="1586483"/>
            <a:ext cx="1262380" cy="0"/>
          </a:xfrm>
          <a:custGeom>
            <a:avLst/>
            <a:gdLst/>
            <a:ahLst/>
            <a:cxnLst/>
            <a:rect l="l" t="t" r="r" b="b"/>
            <a:pathLst>
              <a:path w="1262379">
                <a:moveTo>
                  <a:pt x="0" y="0"/>
                </a:moveTo>
                <a:lnTo>
                  <a:pt x="1261872" y="0"/>
                </a:lnTo>
              </a:path>
            </a:pathLst>
          </a:custGeom>
          <a:ln w="18287">
            <a:solidFill>
              <a:srgbClr val="28282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txBox="1"/>
          <p:nvPr/>
        </p:nvSpPr>
        <p:spPr>
          <a:xfrm>
            <a:off x="8790813" y="1324483"/>
            <a:ext cx="1286510"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10" normalizeH="0" baseline="0" noProof="0" dirty="0">
                <a:ln>
                  <a:noFill/>
                </a:ln>
                <a:solidFill>
                  <a:srgbClr val="282828"/>
                </a:solidFill>
                <a:effectLst/>
                <a:uLnTx/>
                <a:uFillTx/>
                <a:latin typeface="Arial"/>
                <a:ea typeface="+mn-ea"/>
                <a:cs typeface="Arial"/>
              </a:rPr>
              <a:t>example3.j2</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
        <p:nvSpPr>
          <p:cNvPr id="10" name="object 10"/>
          <p:cNvSpPr txBox="1"/>
          <p:nvPr/>
        </p:nvSpPr>
        <p:spPr>
          <a:xfrm>
            <a:off x="706627" y="5994908"/>
            <a:ext cx="5218430" cy="506730"/>
          </a:xfrm>
          <a:prstGeom prst="rect">
            <a:avLst/>
          </a:prstGeom>
        </p:spPr>
        <p:txBody>
          <a:bodyPr vert="horz" wrap="square" lIns="0" tIns="11430" rIns="0" bIns="0" rtlCol="0">
            <a:spAutoFit/>
          </a:bodyPr>
          <a:lstStyle/>
          <a:p>
            <a:pPr marL="15875" marR="0" lvl="0" indent="0" algn="l" defTabSz="914400" rtl="0" eaLnBrk="1" fontAlgn="auto" latinLnBrk="0" hangingPunct="1">
              <a:lnSpc>
                <a:spcPct val="100000"/>
              </a:lnSpc>
              <a:spcBef>
                <a:spcPts val="90"/>
              </a:spcBef>
              <a:spcAft>
                <a:spcPts val="0"/>
              </a:spcAft>
              <a:buClrTx/>
              <a:buSzTx/>
              <a:buFontTx/>
              <a:buNone/>
              <a:tabLst/>
              <a:defRPr/>
            </a:pPr>
            <a:r>
              <a:rPr kumimoji="0" sz="1400" b="0" i="0" u="heavy" strike="noStrike" kern="1200" cap="none" spc="5" normalizeH="0" baseline="0" noProof="0" dirty="0">
                <a:ln>
                  <a:noFill/>
                </a:ln>
                <a:solidFill>
                  <a:srgbClr val="00BBEB"/>
                </a:solidFill>
                <a:effectLst/>
                <a:uLnTx/>
                <a:uFillTx/>
                <a:latin typeface="Arial"/>
                <a:ea typeface="+mn-ea"/>
                <a:cs typeface="Arial"/>
                <a:hlinkClick r:id="rId4"/>
              </a:rPr>
              <a:t>http://docs.ansible.com/ansible/latest/playbooks_templating.html</a:t>
            </a:r>
            <a:endParaRPr kumimoji="0" sz="1400" b="0" i="0" u="none" strike="noStrike" kern="1200" cap="none" spc="0" normalizeH="0" baseline="0" noProof="0" dirty="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1155"/>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11" name="object 11"/>
          <p:cNvSpPr/>
          <p:nvPr/>
        </p:nvSpPr>
        <p:spPr>
          <a:xfrm>
            <a:off x="6880859" y="4183379"/>
            <a:ext cx="2185670" cy="277495"/>
          </a:xfrm>
          <a:custGeom>
            <a:avLst/>
            <a:gdLst/>
            <a:ahLst/>
            <a:cxnLst/>
            <a:rect l="l" t="t" r="r" b="b"/>
            <a:pathLst>
              <a:path w="2185670" h="277495">
                <a:moveTo>
                  <a:pt x="0" y="277368"/>
                </a:moveTo>
                <a:lnTo>
                  <a:pt x="2185416" y="277368"/>
                </a:lnTo>
                <a:lnTo>
                  <a:pt x="2185416" y="0"/>
                </a:lnTo>
                <a:lnTo>
                  <a:pt x="0" y="0"/>
                </a:lnTo>
                <a:lnTo>
                  <a:pt x="0" y="277368"/>
                </a:lnTo>
                <a:close/>
              </a:path>
            </a:pathLst>
          </a:custGeom>
          <a:ln w="39624">
            <a:solidFill>
              <a:srgbClr val="6DBD4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10148316" y="2116835"/>
            <a:ext cx="1393190" cy="277495"/>
          </a:xfrm>
          <a:custGeom>
            <a:avLst/>
            <a:gdLst/>
            <a:ahLst/>
            <a:cxnLst/>
            <a:rect l="l" t="t" r="r" b="b"/>
            <a:pathLst>
              <a:path w="1393190" h="277494">
                <a:moveTo>
                  <a:pt x="0" y="277367"/>
                </a:moveTo>
                <a:lnTo>
                  <a:pt x="1392935" y="277367"/>
                </a:lnTo>
                <a:lnTo>
                  <a:pt x="1392935" y="0"/>
                </a:lnTo>
                <a:lnTo>
                  <a:pt x="0" y="0"/>
                </a:lnTo>
                <a:lnTo>
                  <a:pt x="0" y="277367"/>
                </a:lnTo>
                <a:close/>
              </a:path>
            </a:pathLst>
          </a:custGeom>
          <a:ln w="39624">
            <a:solidFill>
              <a:srgbClr val="6DBD4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7078980" y="5131308"/>
            <a:ext cx="2590800" cy="734695"/>
          </a:xfrm>
          <a:custGeom>
            <a:avLst/>
            <a:gdLst/>
            <a:ahLst/>
            <a:cxnLst/>
            <a:rect l="l" t="t" r="r" b="b"/>
            <a:pathLst>
              <a:path w="2590800" h="734695">
                <a:moveTo>
                  <a:pt x="0" y="734568"/>
                </a:moveTo>
                <a:lnTo>
                  <a:pt x="2590800" y="734568"/>
                </a:lnTo>
                <a:lnTo>
                  <a:pt x="2590800" y="0"/>
                </a:lnTo>
                <a:lnTo>
                  <a:pt x="0" y="0"/>
                </a:lnTo>
                <a:lnTo>
                  <a:pt x="0" y="734568"/>
                </a:lnTo>
                <a:close/>
              </a:path>
            </a:pathLst>
          </a:custGeom>
          <a:ln w="39624">
            <a:solidFill>
              <a:srgbClr val="E2231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45081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15695" y="1493519"/>
            <a:ext cx="11036935" cy="4806950"/>
          </a:xfrm>
          <a:custGeom>
            <a:avLst/>
            <a:gdLst/>
            <a:ahLst/>
            <a:cxnLst/>
            <a:rect l="l" t="t" r="r" b="b"/>
            <a:pathLst>
              <a:path w="11036935" h="4806950">
                <a:moveTo>
                  <a:pt x="0" y="4806696"/>
                </a:moveTo>
                <a:lnTo>
                  <a:pt x="11036808" y="4806696"/>
                </a:lnTo>
                <a:lnTo>
                  <a:pt x="11036808" y="0"/>
                </a:lnTo>
                <a:lnTo>
                  <a:pt x="0" y="0"/>
                </a:lnTo>
                <a:lnTo>
                  <a:pt x="0" y="4806696"/>
                </a:lnTo>
                <a:close/>
              </a:path>
            </a:pathLst>
          </a:custGeom>
          <a:solidFill>
            <a:srgbClr val="28282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txBox="1"/>
          <p:nvPr/>
        </p:nvSpPr>
        <p:spPr>
          <a:xfrm>
            <a:off x="771550" y="1491488"/>
            <a:ext cx="10402570" cy="368744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DevNe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ansible-playbook </a:t>
            </a:r>
            <a:r>
              <a:rPr kumimoji="0" sz="1800" b="0" i="0" u="none" strike="noStrike" kern="1200" cap="none" spc="-5" normalizeH="0" baseline="0" noProof="0" dirty="0">
                <a:ln>
                  <a:noFill/>
                </a:ln>
                <a:solidFill>
                  <a:srgbClr val="FFFFFF"/>
                </a:solidFill>
                <a:effectLst/>
                <a:uLnTx/>
                <a:uFillTx/>
                <a:latin typeface="Courier New"/>
                <a:ea typeface="+mn-ea"/>
                <a:cs typeface="Courier New"/>
              </a:rPr>
              <a:t>-u </a:t>
            </a:r>
            <a:r>
              <a:rPr kumimoji="0" sz="1800" b="0" i="0" u="none" strike="noStrike" kern="1200" cap="none" spc="-10" normalizeH="0" baseline="0" noProof="0" dirty="0">
                <a:ln>
                  <a:noFill/>
                </a:ln>
                <a:solidFill>
                  <a:srgbClr val="FFFFFF"/>
                </a:solidFill>
                <a:effectLst/>
                <a:uLnTx/>
                <a:uFillTx/>
                <a:latin typeface="Courier New"/>
                <a:ea typeface="+mn-ea"/>
                <a:cs typeface="Courier New"/>
              </a:rPr>
              <a:t>root</a:t>
            </a:r>
            <a:r>
              <a:rPr kumimoji="0" sz="1800" b="0" i="0" u="none" strike="noStrike" kern="1200" cap="none" spc="-40" normalizeH="0" baseline="0" noProof="0" dirty="0">
                <a:ln>
                  <a:noFill/>
                </a:ln>
                <a:solidFill>
                  <a:srgbClr val="FFFFFF"/>
                </a:solidFill>
                <a:effectLst/>
                <a:uLnTx/>
                <a:uFillTx/>
                <a:latin typeface="Courier New"/>
                <a:ea typeface="+mn-ea"/>
                <a:cs typeface="Courier New"/>
              </a:rPr>
              <a:t> </a:t>
            </a:r>
            <a:r>
              <a:rPr kumimoji="0" sz="1800" b="0" i="0" u="none" strike="noStrike" kern="1200" cap="none" spc="-15" normalizeH="0" baseline="0" noProof="0" dirty="0">
                <a:ln>
                  <a:noFill/>
                </a:ln>
                <a:solidFill>
                  <a:srgbClr val="FFFFFF"/>
                </a:solidFill>
                <a:effectLst/>
                <a:uLnTx/>
                <a:uFillTx/>
                <a:latin typeface="Courier New"/>
                <a:ea typeface="+mn-ea"/>
                <a:cs typeface="Courier New"/>
              </a:rPr>
              <a:t>example3.yaml</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45"/>
              </a:spcBef>
              <a:spcAft>
                <a:spcPts val="0"/>
              </a:spcAft>
              <a:buClrTx/>
              <a:buSzTx/>
              <a:buFontTx/>
              <a:buNone/>
              <a:tabLst/>
              <a:defRPr/>
            </a:pPr>
            <a:endParaRPr kumimoji="0" sz="165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PLAY </a:t>
            </a:r>
            <a:r>
              <a:rPr kumimoji="0" sz="1800" b="0" i="0" u="none" strike="noStrike" kern="1200" cap="none" spc="-10" normalizeH="0" baseline="0" noProof="0" dirty="0">
                <a:ln>
                  <a:noFill/>
                </a:ln>
                <a:solidFill>
                  <a:srgbClr val="FFFFFF"/>
                </a:solidFill>
                <a:effectLst/>
                <a:uLnTx/>
                <a:uFillTx/>
                <a:latin typeface="Courier New"/>
                <a:ea typeface="+mn-ea"/>
                <a:cs typeface="Courier New"/>
              </a:rPr>
              <a:t>[Generate Configuration </a:t>
            </a:r>
            <a:r>
              <a:rPr kumimoji="0" sz="1800" b="0" i="0" u="none" strike="noStrike" kern="1200" cap="none" spc="-5" normalizeH="0" baseline="0" noProof="0" dirty="0">
                <a:ln>
                  <a:noFill/>
                </a:ln>
                <a:solidFill>
                  <a:srgbClr val="FFFFFF"/>
                </a:solidFill>
                <a:effectLst/>
                <a:uLnTx/>
                <a:uFillTx/>
                <a:latin typeface="Courier New"/>
                <a:ea typeface="+mn-ea"/>
                <a:cs typeface="Courier New"/>
              </a:rPr>
              <a:t>from </a:t>
            </a:r>
            <a:r>
              <a:rPr kumimoji="0" sz="1800" b="0" i="0" u="none" strike="noStrike" kern="1200" cap="none" spc="-10" normalizeH="0" baseline="0" noProof="0" dirty="0">
                <a:ln>
                  <a:noFill/>
                </a:ln>
                <a:solidFill>
                  <a:srgbClr val="FFFFFF"/>
                </a:solidFill>
                <a:effectLst/>
                <a:uLnTx/>
                <a:uFillTx/>
                <a:latin typeface="Courier New"/>
                <a:ea typeface="+mn-ea"/>
                <a:cs typeface="Courier New"/>
              </a:rPr>
              <a:t>Template]</a:t>
            </a:r>
            <a:r>
              <a:rPr kumimoji="0" sz="1800" b="0" i="0" u="none" strike="noStrike" kern="1200" cap="none" spc="-80" normalizeH="0" baseline="0" noProof="0" dirty="0">
                <a:ln>
                  <a:noFill/>
                </a:ln>
                <a:solidFill>
                  <a:srgbClr val="FFFFFF"/>
                </a:solidFill>
                <a:effectLst/>
                <a:uLnTx/>
                <a:uFillTx/>
                <a:latin typeface="Courier New"/>
                <a:ea typeface="+mn-ea"/>
                <a:cs typeface="Courier New"/>
              </a:rPr>
              <a: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40"/>
              </a:spcBef>
              <a:spcAft>
                <a:spcPts val="0"/>
              </a:spcAft>
              <a:buClrTx/>
              <a:buSzTx/>
              <a:buFontTx/>
              <a:buNone/>
              <a:tabLst/>
              <a:defRPr/>
            </a:pPr>
            <a:endParaRPr kumimoji="0" sz="165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ts val="2100"/>
              </a:lnSpc>
              <a:spcBef>
                <a:spcPts val="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TASK </a:t>
            </a:r>
            <a:r>
              <a:rPr kumimoji="0" sz="1800" b="0" i="0" u="none" strike="noStrike" kern="1200" cap="none" spc="-10" normalizeH="0" baseline="0" noProof="0" dirty="0">
                <a:ln>
                  <a:noFill/>
                </a:ln>
                <a:solidFill>
                  <a:srgbClr val="FFFFFF"/>
                </a:solidFill>
                <a:effectLst/>
                <a:uLnTx/>
                <a:uFillTx/>
                <a:latin typeface="Courier New"/>
                <a:ea typeface="+mn-ea"/>
                <a:cs typeface="Courier New"/>
              </a:rPr>
              <a:t>[Generate </a:t>
            </a:r>
            <a:r>
              <a:rPr kumimoji="0" sz="1800" b="0" i="0" u="none" strike="noStrike" kern="1200" cap="none" spc="-15" normalizeH="0" baseline="0" noProof="0" dirty="0">
                <a:ln>
                  <a:noFill/>
                </a:ln>
                <a:solidFill>
                  <a:srgbClr val="FFFFFF"/>
                </a:solidFill>
                <a:effectLst/>
                <a:uLnTx/>
                <a:uFillTx/>
                <a:latin typeface="Courier New"/>
                <a:ea typeface="+mn-ea"/>
                <a:cs typeface="Courier New"/>
              </a:rPr>
              <a:t>config]</a:t>
            </a:r>
            <a:r>
              <a:rPr kumimoji="0" sz="1800" b="0" i="0" u="none" strike="noStrike" kern="1200" cap="none" spc="-45" normalizeH="0" baseline="0" noProof="0" dirty="0">
                <a:ln>
                  <a:noFill/>
                </a:ln>
                <a:solidFill>
                  <a:srgbClr val="FFFFFF"/>
                </a:solidFill>
                <a:effectLst/>
                <a:uLnTx/>
                <a:uFillTx/>
                <a:latin typeface="Courier New"/>
                <a:ea typeface="+mn-ea"/>
                <a:cs typeface="Courier New"/>
              </a:rPr>
              <a: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2100"/>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changed:</a:t>
            </a:r>
            <a:r>
              <a:rPr kumimoji="0" sz="1800" b="0" i="0" u="none" strike="noStrike" kern="1200" cap="none" spc="-65" normalizeH="0" baseline="0" noProof="0" dirty="0">
                <a:ln>
                  <a:noFill/>
                </a:ln>
                <a:solidFill>
                  <a:srgbClr val="FFFFFF"/>
                </a:solidFill>
                <a:effectLst/>
                <a:uLnTx/>
                <a:uFillTx/>
                <a:latin typeface="Courier New"/>
                <a:ea typeface="+mn-ea"/>
                <a:cs typeface="Courier New"/>
              </a:rPr>
              <a: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localhos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45"/>
              </a:spcBef>
              <a:spcAft>
                <a:spcPts val="0"/>
              </a:spcAft>
              <a:buClrTx/>
              <a:buSzTx/>
              <a:buFontTx/>
              <a:buNone/>
              <a:tabLst/>
              <a:defRPr/>
            </a:pPr>
            <a:endParaRPr kumimoji="0" sz="165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ts val="2115"/>
              </a:lnSpc>
              <a:spcBef>
                <a:spcPts val="5"/>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PLAY </a:t>
            </a:r>
            <a:r>
              <a:rPr kumimoji="0" sz="1800" b="0" i="0" u="none" strike="noStrike" kern="1200" cap="none" spc="-10" normalizeH="0" baseline="0" noProof="0" dirty="0">
                <a:ln>
                  <a:noFill/>
                </a:ln>
                <a:solidFill>
                  <a:srgbClr val="FFFFFF"/>
                </a:solidFill>
                <a:effectLst/>
                <a:uLnTx/>
                <a:uFillTx/>
                <a:latin typeface="Courier New"/>
                <a:ea typeface="+mn-ea"/>
                <a:cs typeface="Courier New"/>
              </a:rPr>
              <a:t>RECAP</a:t>
            </a:r>
            <a:r>
              <a:rPr kumimoji="0" sz="1800" b="0" i="0" u="none" strike="noStrike" kern="1200" cap="none" spc="225" normalizeH="0" baseline="0" noProof="0" dirty="0">
                <a:ln>
                  <a:noFill/>
                </a:ln>
                <a:solidFill>
                  <a:srgbClr val="FFFFFF"/>
                </a:solidFill>
                <a:effectLst/>
                <a:uLnTx/>
                <a:uFillTx/>
                <a:latin typeface="Courier New"/>
                <a:ea typeface="+mn-ea"/>
                <a:cs typeface="Courier New"/>
              </a:rPr>
              <a:t> </a:t>
            </a:r>
            <a:r>
              <a:rPr kumimoji="0" sz="1800" b="0" i="0" u="none" strike="noStrike" kern="1200" cap="none" spc="-15" normalizeH="0" baseline="0" noProof="0" dirty="0">
                <a:ln>
                  <a:noFill/>
                </a:ln>
                <a:solidFill>
                  <a:srgbClr val="FFFFFF"/>
                </a:solidFill>
                <a:effectLst/>
                <a:uLnTx/>
                <a:uFillTx/>
                <a:latin typeface="Courier New"/>
                <a:ea typeface="+mn-ea"/>
                <a:cs typeface="Courier New"/>
              </a:rPr>
              <a:t>*****************************************************************</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2700" marR="0" lvl="0" indent="0" algn="l" defTabSz="914400" rtl="0" eaLnBrk="1" fontAlgn="auto" latinLnBrk="0" hangingPunct="1">
              <a:lnSpc>
                <a:spcPts val="2115"/>
              </a:lnSpc>
              <a:spcBef>
                <a:spcPts val="0"/>
              </a:spcBef>
              <a:spcAft>
                <a:spcPts val="0"/>
              </a:spcAft>
              <a:buClrTx/>
              <a:buSzTx/>
              <a:buFontTx/>
              <a:buNone/>
              <a:tabLst>
                <a:tab pos="3700779" algn="l"/>
                <a:tab pos="5066030" algn="l"/>
                <a:tab pos="6840220" algn="l"/>
                <a:tab pos="9157335" algn="l"/>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localhost	</a:t>
            </a:r>
            <a:r>
              <a:rPr kumimoji="0" sz="1800" b="0" i="0" u="none" strike="noStrike" kern="1200" cap="none" spc="0" normalizeH="0" baseline="0" noProof="0" dirty="0">
                <a:ln>
                  <a:noFill/>
                </a:ln>
                <a:solidFill>
                  <a:srgbClr val="FFFFFF"/>
                </a:solidFill>
                <a:effectLst/>
                <a:uLnTx/>
                <a:uFillTx/>
                <a:latin typeface="Courier New"/>
                <a:ea typeface="+mn-ea"/>
                <a:cs typeface="Courier New"/>
              </a:rPr>
              <a:t>:</a:t>
            </a:r>
            <a:r>
              <a:rPr kumimoji="0" sz="1800" b="0" i="0" u="none" strike="noStrike" kern="1200" cap="none" spc="-25" normalizeH="0" baseline="0" noProof="0" dirty="0">
                <a:ln>
                  <a:noFill/>
                </a:ln>
                <a:solidFill>
                  <a:srgbClr val="FFFFFF"/>
                </a:solidFill>
                <a:effectLst/>
                <a:uLnTx/>
                <a:uFillTx/>
                <a:latin typeface="Courier New"/>
                <a:ea typeface="+mn-ea"/>
                <a:cs typeface="Courier New"/>
              </a:rPr>
              <a:t> </a:t>
            </a:r>
            <a:r>
              <a:rPr kumimoji="0" sz="1800" b="0" i="0" u="none" strike="noStrike" kern="1200" cap="none" spc="-5" normalizeH="0" baseline="0" noProof="0" dirty="0">
                <a:ln>
                  <a:noFill/>
                </a:ln>
                <a:solidFill>
                  <a:srgbClr val="FFFFFF"/>
                </a:solidFill>
                <a:effectLst/>
                <a:uLnTx/>
                <a:uFillTx/>
                <a:latin typeface="Courier New"/>
                <a:ea typeface="+mn-ea"/>
                <a:cs typeface="Courier New"/>
              </a:rPr>
              <a:t>ok=1	</a:t>
            </a:r>
            <a:r>
              <a:rPr kumimoji="0" sz="1800" b="0" i="0" u="none" strike="noStrike" kern="1200" cap="none" spc="-15" normalizeH="0" baseline="0" noProof="0" dirty="0">
                <a:ln>
                  <a:noFill/>
                </a:ln>
                <a:solidFill>
                  <a:srgbClr val="FFFFFF"/>
                </a:solidFill>
                <a:effectLst/>
                <a:uLnTx/>
                <a:uFillTx/>
                <a:latin typeface="Courier New"/>
                <a:ea typeface="+mn-ea"/>
                <a:cs typeface="Courier New"/>
              </a:rPr>
              <a:t>changed=1	</a:t>
            </a:r>
            <a:r>
              <a:rPr kumimoji="0" sz="1800" b="0" i="0" u="none" strike="noStrike" kern="1200" cap="none" spc="-10" normalizeH="0" baseline="0" noProof="0" dirty="0">
                <a:ln>
                  <a:noFill/>
                </a:ln>
                <a:solidFill>
                  <a:srgbClr val="FFFFFF"/>
                </a:solidFill>
                <a:effectLst/>
                <a:uLnTx/>
                <a:uFillTx/>
                <a:latin typeface="Courier New"/>
                <a:ea typeface="+mn-ea"/>
                <a:cs typeface="Courier New"/>
              </a:rPr>
              <a:t>unreachable=0	failed=0</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45"/>
              </a:spcBef>
              <a:spcAft>
                <a:spcPts val="0"/>
              </a:spcAft>
              <a:buClrTx/>
              <a:buSzTx/>
              <a:buFontTx/>
              <a:buNone/>
              <a:tabLst/>
              <a:defRPr/>
            </a:pPr>
            <a:endParaRPr kumimoji="0" sz="1650" b="0" i="0" u="none" strike="noStrike" kern="1200" cap="none" spc="0" normalizeH="0" baseline="0" noProof="0">
              <a:ln>
                <a:noFill/>
              </a:ln>
              <a:solidFill>
                <a:prstClr val="black"/>
              </a:solidFill>
              <a:effectLst/>
              <a:uLnTx/>
              <a:uFillTx/>
              <a:latin typeface="Times New Roman"/>
              <a:ea typeface="+mn-ea"/>
              <a:cs typeface="Times New Roman"/>
            </a:endParaRPr>
          </a:p>
          <a:p>
            <a:pPr marL="12700" marR="0" lvl="0" indent="0" algn="l" defTabSz="914400" rtl="0" eaLnBrk="1" fontAlgn="auto" latinLnBrk="0" hangingPunct="1">
              <a:lnSpc>
                <a:spcPts val="2100"/>
              </a:lnSpc>
              <a:spcBef>
                <a:spcPts val="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DevNet$ cat</a:t>
            </a:r>
            <a:r>
              <a:rPr kumimoji="0" sz="1800" b="0" i="0" u="none" strike="noStrike" kern="1200" cap="none" spc="-75" normalizeH="0" baseline="0" noProof="0" dirty="0">
                <a:ln>
                  <a:noFill/>
                </a:ln>
                <a:solidFill>
                  <a:srgbClr val="FFFFFF"/>
                </a:solidFill>
                <a:effectLst/>
                <a:uLnTx/>
                <a:uFillTx/>
                <a:latin typeface="Courier New"/>
                <a:ea typeface="+mn-ea"/>
                <a:cs typeface="Courier New"/>
              </a:rPr>
              <a:t> </a:t>
            </a:r>
            <a:r>
              <a:rPr kumimoji="0" sz="1800" b="0" i="0" u="none" strike="noStrike" kern="1200" cap="none" spc="-15" normalizeH="0" baseline="0" noProof="0" dirty="0">
                <a:ln>
                  <a:noFill/>
                </a:ln>
                <a:solidFill>
                  <a:srgbClr val="FFFFFF"/>
                </a:solidFill>
                <a:effectLst/>
                <a:uLnTx/>
                <a:uFillTx/>
                <a:latin typeface="Courier New"/>
                <a:ea typeface="+mn-ea"/>
                <a:cs typeface="Courier New"/>
              </a:rPr>
              <a:t>example3.conf</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12700" marR="8192770" lvl="0" indent="0" algn="l" defTabSz="914400" rtl="0" eaLnBrk="1" fontAlgn="auto" latinLnBrk="0" hangingPunct="1">
              <a:lnSpc>
                <a:spcPts val="2060"/>
              </a:lnSpc>
              <a:spcBef>
                <a:spcPts val="90"/>
              </a:spcBef>
              <a:spcAft>
                <a:spcPts val="0"/>
              </a:spcAft>
              <a:buClrTx/>
              <a:buSzTx/>
              <a:buFontTx/>
              <a:buNone/>
              <a:tabLst/>
              <a:defRPr/>
            </a:pPr>
            <a:r>
              <a:rPr kumimoji="0" sz="1800" b="0" i="0" u="none" strike="noStrike" kern="1200" cap="none" spc="-5" normalizeH="0" baseline="0" noProof="0" dirty="0">
                <a:ln>
                  <a:noFill/>
                </a:ln>
                <a:solidFill>
                  <a:srgbClr val="FFFFFF"/>
                </a:solidFill>
                <a:effectLst/>
                <a:uLnTx/>
                <a:uFillTx/>
                <a:latin typeface="Courier New"/>
                <a:ea typeface="+mn-ea"/>
                <a:cs typeface="Courier New"/>
              </a:rPr>
              <a:t>feature bgp  router bgp</a:t>
            </a:r>
            <a:r>
              <a:rPr kumimoji="0" sz="1800" b="0" i="0" u="none" strike="noStrike" kern="1200" cap="none" spc="-110" normalizeH="0" baseline="0" noProof="0" dirty="0">
                <a:ln>
                  <a:noFill/>
                </a:ln>
                <a:solidFill>
                  <a:srgbClr val="FFFFFF"/>
                </a:solidFill>
                <a:effectLst/>
                <a:uLnTx/>
                <a:uFillTx/>
                <a:latin typeface="Courier New"/>
                <a:ea typeface="+mn-ea"/>
                <a:cs typeface="Courier New"/>
              </a:rPr>
              <a: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65001</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a:p>
            <a:pPr marL="287020" marR="0" lvl="0" indent="0" algn="l" defTabSz="914400" rtl="0" eaLnBrk="1" fontAlgn="auto" latinLnBrk="0" hangingPunct="1">
              <a:lnSpc>
                <a:spcPts val="1989"/>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ourier New"/>
                <a:ea typeface="+mn-ea"/>
                <a:cs typeface="Courier New"/>
              </a:rPr>
              <a:t>router-id</a:t>
            </a:r>
            <a:r>
              <a:rPr kumimoji="0" sz="1800" b="0" i="0" u="none" strike="noStrike" kern="1200" cap="none" spc="-85" normalizeH="0" baseline="0" noProof="0" dirty="0">
                <a:ln>
                  <a:noFill/>
                </a:ln>
                <a:solidFill>
                  <a:srgbClr val="FFFFFF"/>
                </a:solidFill>
                <a:effectLst/>
                <a:uLnTx/>
                <a:uFillTx/>
                <a:latin typeface="Courier New"/>
                <a:ea typeface="+mn-ea"/>
                <a:cs typeface="Courier New"/>
              </a:rPr>
              <a:t> </a:t>
            </a:r>
            <a:r>
              <a:rPr kumimoji="0" sz="1800" b="0" i="0" u="none" strike="noStrike" kern="1200" cap="none" spc="-10" normalizeH="0" baseline="0" noProof="0" dirty="0">
                <a:ln>
                  <a:noFill/>
                </a:ln>
                <a:solidFill>
                  <a:srgbClr val="FFFFFF"/>
                </a:solidFill>
                <a:effectLst/>
                <a:uLnTx/>
                <a:uFillTx/>
                <a:latin typeface="Courier New"/>
                <a:ea typeface="+mn-ea"/>
                <a:cs typeface="Courier New"/>
              </a:rPr>
              <a:t>10.10.10.1</a:t>
            </a:r>
            <a:endParaRPr kumimoji="0" sz="1800" b="0" i="0" u="none" strike="noStrike" kern="1200" cap="none" spc="0" normalizeH="0" baseline="0" noProof="0">
              <a:ln>
                <a:noFill/>
              </a:ln>
              <a:solidFill>
                <a:prstClr val="black"/>
              </a:solidFill>
              <a:effectLst/>
              <a:uLnTx/>
              <a:uFillTx/>
              <a:latin typeface="Courier New"/>
              <a:ea typeface="+mn-ea"/>
              <a:cs typeface="Courier New"/>
            </a:endParaRPr>
          </a:p>
        </p:txBody>
      </p:sp>
      <p:sp>
        <p:nvSpPr>
          <p:cNvPr id="5" name="object 5"/>
          <p:cNvSpPr txBox="1"/>
          <p:nvPr/>
        </p:nvSpPr>
        <p:spPr>
          <a:xfrm>
            <a:off x="706627" y="6355181"/>
            <a:ext cx="3641090" cy="16256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 name="object 4"/>
          <p:cNvSpPr txBox="1">
            <a:spLocks noGrp="1"/>
          </p:cNvSpPr>
          <p:nvPr>
            <p:ph type="title"/>
          </p:nvPr>
        </p:nvSpPr>
        <p:spPr>
          <a:xfrm>
            <a:off x="662736" y="650875"/>
            <a:ext cx="8789670" cy="596265"/>
          </a:xfrm>
          <a:prstGeom prst="rect">
            <a:avLst/>
          </a:prstGeom>
        </p:spPr>
        <p:txBody>
          <a:bodyPr vert="horz" wrap="square" lIns="0" tIns="12065" rIns="0" bIns="0" rtlCol="0">
            <a:spAutoFit/>
          </a:bodyPr>
          <a:lstStyle/>
          <a:p>
            <a:pPr marL="12700">
              <a:lnSpc>
                <a:spcPct val="100000"/>
              </a:lnSpc>
              <a:spcBef>
                <a:spcPts val="95"/>
              </a:spcBef>
            </a:pPr>
            <a:r>
              <a:rPr spc="-5" dirty="0">
                <a:solidFill>
                  <a:srgbClr val="005073"/>
                </a:solidFill>
              </a:rPr>
              <a:t>Jinja2 Templating </a:t>
            </a:r>
            <a:r>
              <a:rPr spc="35" dirty="0">
                <a:solidFill>
                  <a:srgbClr val="005073"/>
                </a:solidFill>
                <a:latin typeface="Tahoma"/>
                <a:cs typeface="Tahoma"/>
              </a:rPr>
              <a:t>– </a:t>
            </a:r>
            <a:r>
              <a:rPr spc="-45" dirty="0">
                <a:solidFill>
                  <a:srgbClr val="005073"/>
                </a:solidFill>
              </a:rPr>
              <a:t>Variables </a:t>
            </a:r>
            <a:r>
              <a:rPr spc="65" dirty="0">
                <a:solidFill>
                  <a:srgbClr val="005073"/>
                </a:solidFill>
              </a:rPr>
              <a:t>to </a:t>
            </a:r>
            <a:r>
              <a:rPr spc="35" dirty="0">
                <a:solidFill>
                  <a:srgbClr val="005073"/>
                </a:solidFill>
              </a:rPr>
              <a:t>the</a:t>
            </a:r>
            <a:r>
              <a:rPr spc="235" dirty="0">
                <a:solidFill>
                  <a:srgbClr val="005073"/>
                </a:solidFill>
              </a:rPr>
              <a:t> </a:t>
            </a:r>
            <a:r>
              <a:rPr spc="-30" dirty="0">
                <a:solidFill>
                  <a:srgbClr val="005073"/>
                </a:solidFill>
              </a:rPr>
              <a:t>Max!</a:t>
            </a:r>
          </a:p>
        </p:txBody>
      </p:sp>
    </p:spTree>
    <p:extLst>
      <p:ext uri="{BB962C8B-B14F-4D97-AF65-F5344CB8AC3E}">
        <p14:creationId xmlns:p14="http://schemas.microsoft.com/office/powerpoint/2010/main" val="11679842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9327" y="6367881"/>
            <a:ext cx="3615690" cy="137160"/>
          </a:xfrm>
          <a:prstGeom prst="rect">
            <a:avLst/>
          </a:prstGeom>
        </p:spPr>
        <p:txBody>
          <a:bodyPr vert="horz" wrap="square" lIns="0" tIns="0" rIns="0" bIns="0" rtlCol="0">
            <a:spAutoFit/>
          </a:bodyPr>
          <a:lstStyle/>
          <a:p>
            <a:pPr marL="0" marR="0" lvl="0" indent="0" algn="l" defTabSz="457200" rtl="0" eaLnBrk="1" fontAlgn="base" latinLnBrk="0" hangingPunct="1">
              <a:lnSpc>
                <a:spcPts val="950"/>
              </a:lnSpc>
              <a:spcBef>
                <a:spcPct val="0"/>
              </a:spcBef>
              <a:spcAft>
                <a:spcPct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40" normalizeH="0" baseline="0" noProof="0" dirty="0">
                <a:ln>
                  <a:noFill/>
                </a:ln>
                <a:solidFill>
                  <a:srgbClr val="A6A6A6"/>
                </a:solidFill>
                <a:effectLst/>
                <a:uLnTx/>
                <a:uFillTx/>
                <a:latin typeface="Arial"/>
                <a:ea typeface="ＭＳ Ｐゴシック" charset="0"/>
                <a:cs typeface="Arial"/>
              </a:rPr>
              <a:t>2017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Cisco </a:t>
            </a:r>
            <a:r>
              <a:rPr kumimoji="0" sz="800" b="0" i="0" u="none" strike="noStrike" kern="1200" cap="none" spc="15" normalizeH="0" baseline="0" noProof="0" dirty="0">
                <a:ln>
                  <a:noFill/>
                </a:ln>
                <a:solidFill>
                  <a:srgbClr val="A6A6A6"/>
                </a:solidFill>
                <a:effectLst/>
                <a:uLnTx/>
                <a:uFillTx/>
                <a:latin typeface="Arial"/>
                <a:ea typeface="ＭＳ Ｐゴシック" charset="0"/>
                <a:cs typeface="Arial"/>
              </a:rPr>
              <a:t>and/or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its affiliates.  </a:t>
            </a:r>
            <a:r>
              <a:rPr kumimoji="0" sz="800" b="0" i="0" u="none" strike="noStrike" kern="1200" cap="none" spc="0" normalizeH="0" baseline="0" noProof="0" dirty="0">
                <a:ln>
                  <a:noFill/>
                </a:ln>
                <a:solidFill>
                  <a:srgbClr val="A6A6A6"/>
                </a:solidFill>
                <a:effectLst/>
                <a:uLnTx/>
                <a:uFillTx/>
                <a:latin typeface="Arial"/>
                <a:ea typeface="ＭＳ Ｐゴシック" charset="0"/>
                <a:cs typeface="Arial"/>
              </a:rPr>
              <a:t>All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rights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reserved.    Cisco</a:t>
            </a:r>
            <a:r>
              <a:rPr kumimoji="0" sz="800" b="0" i="0" u="none" strike="noStrike" kern="1200" cap="none" spc="10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Confidential</a:t>
            </a:r>
            <a:endParaRPr kumimoji="0" sz="800" b="0" i="0" u="none" strike="noStrike" kern="1200" cap="none" spc="0" normalizeH="0" baseline="0" noProof="0">
              <a:ln>
                <a:noFill/>
              </a:ln>
              <a:solidFill>
                <a:srgbClr val="282828"/>
              </a:solidFill>
              <a:effectLst/>
              <a:uLnTx/>
              <a:uFillTx/>
              <a:latin typeface="Arial"/>
              <a:ea typeface="ＭＳ Ｐゴシック" charset="0"/>
              <a:cs typeface="Arial"/>
            </a:endParaRPr>
          </a:p>
        </p:txBody>
      </p:sp>
      <p:sp>
        <p:nvSpPr>
          <p:cNvPr id="4" name="object 4"/>
          <p:cNvSpPr txBox="1"/>
          <p:nvPr/>
        </p:nvSpPr>
        <p:spPr>
          <a:xfrm>
            <a:off x="634085" y="3654628"/>
            <a:ext cx="4272915" cy="962660"/>
          </a:xfrm>
          <a:prstGeom prst="rect">
            <a:avLst/>
          </a:prstGeom>
        </p:spPr>
        <p:txBody>
          <a:bodyPr vert="horz" wrap="square" lIns="0" tIns="12065" rIns="0" bIns="0" rtlCol="0">
            <a:spAutoFit/>
          </a:bodyPr>
          <a:lstStyle/>
          <a:p>
            <a:pPr marL="12700" marR="0" lvl="0" indent="0" algn="l" defTabSz="457200" rtl="0" eaLnBrk="1" fontAlgn="base" latinLnBrk="0" hangingPunct="1">
              <a:lnSpc>
                <a:spcPct val="100000"/>
              </a:lnSpc>
              <a:spcBef>
                <a:spcPts val="95"/>
              </a:spcBef>
              <a:spcAft>
                <a:spcPct val="0"/>
              </a:spcAft>
              <a:buClrTx/>
              <a:buSzTx/>
              <a:buFontTx/>
              <a:buNone/>
              <a:tabLst/>
              <a:defRPr/>
            </a:pPr>
            <a:r>
              <a:rPr kumimoji="0" sz="6150" b="0" i="0" u="none" strike="noStrike" kern="1200" cap="none" spc="10" normalizeH="0" baseline="0" noProof="0" dirty="0">
                <a:ln>
                  <a:noFill/>
                </a:ln>
                <a:solidFill>
                  <a:srgbClr val="005073"/>
                </a:solidFill>
                <a:effectLst/>
                <a:uLnTx/>
                <a:uFillTx/>
                <a:latin typeface="CiscoSansTT ExtraLight"/>
                <a:ea typeface="ＭＳ Ｐゴシック" charset="0"/>
                <a:cs typeface="Arial"/>
              </a:rPr>
              <a:t>Demo</a:t>
            </a:r>
            <a:r>
              <a:rPr kumimoji="0" sz="6150" b="0" i="0" u="none" strike="noStrike" kern="1200" cap="none" spc="35" normalizeH="0" baseline="0" noProof="0" dirty="0">
                <a:ln>
                  <a:noFill/>
                </a:ln>
                <a:solidFill>
                  <a:srgbClr val="005073"/>
                </a:solidFill>
                <a:effectLst/>
                <a:uLnTx/>
                <a:uFillTx/>
                <a:latin typeface="CiscoSansTT ExtraLight"/>
                <a:ea typeface="ＭＳ Ｐゴシック" charset="0"/>
                <a:cs typeface="Arial"/>
              </a:rPr>
              <a:t> </a:t>
            </a:r>
            <a:r>
              <a:rPr kumimoji="0" sz="6150" b="0" i="0" u="none" strike="noStrike" kern="1200" cap="none" spc="-50" normalizeH="0" baseline="0" noProof="0" dirty="0">
                <a:ln>
                  <a:noFill/>
                </a:ln>
                <a:solidFill>
                  <a:srgbClr val="005073"/>
                </a:solidFill>
                <a:effectLst/>
                <a:uLnTx/>
                <a:uFillTx/>
                <a:latin typeface="CiscoSansTT ExtraLight"/>
                <a:ea typeface="ＭＳ Ｐゴシック" charset="0"/>
                <a:cs typeface="Arial"/>
              </a:rPr>
              <a:t>Time!</a:t>
            </a:r>
            <a:endParaRPr kumimoji="0" sz="6150" b="0" i="0" u="none" strike="noStrike" kern="1200" cap="none" spc="0" normalizeH="0" baseline="0" noProof="0" dirty="0">
              <a:ln>
                <a:noFill/>
              </a:ln>
              <a:solidFill>
                <a:srgbClr val="282828"/>
              </a:solidFill>
              <a:effectLst/>
              <a:uLnTx/>
              <a:uFillTx/>
              <a:latin typeface="CiscoSansTT ExtraLight"/>
              <a:ea typeface="ＭＳ Ｐゴシック" charset="0"/>
              <a:cs typeface="Arial"/>
            </a:endParaRPr>
          </a:p>
        </p:txBody>
      </p:sp>
      <p:sp>
        <p:nvSpPr>
          <p:cNvPr id="5" name="object 5"/>
          <p:cNvSpPr/>
          <p:nvPr/>
        </p:nvSpPr>
        <p:spPr>
          <a:xfrm>
            <a:off x="5678423" y="1438655"/>
            <a:ext cx="5007864" cy="3883152"/>
          </a:xfrm>
          <a:prstGeom prst="rect">
            <a:avLst/>
          </a:prstGeom>
          <a:blipFill>
            <a:blip r:embed="rId2" cstate="print"/>
            <a:stretch>
              <a:fillRect/>
            </a:stretch>
          </a:blip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 name="TextBox 5">
            <a:extLst>
              <a:ext uri="{FF2B5EF4-FFF2-40B4-BE49-F238E27FC236}">
                <a16:creationId xmlns:a16="http://schemas.microsoft.com/office/drawing/2014/main" id="{6DFBF00C-4ECF-1248-84F2-0D8BC21D4FC5}"/>
              </a:ext>
            </a:extLst>
          </p:cNvPr>
          <p:cNvSpPr txBox="1"/>
          <p:nvPr/>
        </p:nvSpPr>
        <p:spPr>
          <a:xfrm>
            <a:off x="634085" y="5137141"/>
            <a:ext cx="2249334"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zh-CN" sz="1800" b="0" i="0" u="none" strike="noStrike" kern="1200" cap="none" spc="0" normalizeH="0" baseline="0" noProof="0" dirty="0" err="1">
                <a:ln>
                  <a:noFill/>
                </a:ln>
                <a:solidFill>
                  <a:srgbClr val="282828"/>
                </a:solidFill>
                <a:effectLst/>
                <a:uLnTx/>
                <a:uFillTx/>
                <a:latin typeface="CiscoSansTT ExtraLight"/>
                <a:ea typeface="ＭＳ Ｐゴシック" charset="0"/>
              </a:rPr>
              <a:t>template_demo.yml</a:t>
            </a:r>
            <a:endParaRPr kumimoji="0" lang="en-CN"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Tree>
    <p:extLst>
      <p:ext uri="{BB962C8B-B14F-4D97-AF65-F5344CB8AC3E}">
        <p14:creationId xmlns:p14="http://schemas.microsoft.com/office/powerpoint/2010/main" val="30231546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62736" y="587501"/>
            <a:ext cx="5069205" cy="596265"/>
          </a:xfrm>
          <a:prstGeom prst="rect">
            <a:avLst/>
          </a:prstGeom>
        </p:spPr>
        <p:txBody>
          <a:bodyPr vert="horz" wrap="square" lIns="0" tIns="12065" rIns="0" bIns="0" rtlCol="0">
            <a:spAutoFit/>
          </a:bodyPr>
          <a:lstStyle/>
          <a:p>
            <a:pPr marL="12700">
              <a:lnSpc>
                <a:spcPct val="100000"/>
              </a:lnSpc>
              <a:spcBef>
                <a:spcPts val="95"/>
              </a:spcBef>
            </a:pPr>
            <a:r>
              <a:rPr spc="-10" dirty="0"/>
              <a:t>Ansible </a:t>
            </a:r>
            <a:r>
              <a:rPr spc="-15" dirty="0"/>
              <a:t>and</a:t>
            </a:r>
            <a:r>
              <a:rPr spc="75" dirty="0"/>
              <a:t> </a:t>
            </a:r>
            <a:r>
              <a:rPr spc="25" dirty="0"/>
              <a:t>Networking</a:t>
            </a:r>
          </a:p>
        </p:txBody>
      </p:sp>
      <p:sp>
        <p:nvSpPr>
          <p:cNvPr id="3" name="object 3"/>
          <p:cNvSpPr/>
          <p:nvPr/>
        </p:nvSpPr>
        <p:spPr>
          <a:xfrm>
            <a:off x="6104536" y="2318927"/>
            <a:ext cx="4730750" cy="2573655"/>
          </a:xfrm>
          <a:custGeom>
            <a:avLst/>
            <a:gdLst/>
            <a:ahLst/>
            <a:cxnLst/>
            <a:rect l="l" t="t" r="r" b="b"/>
            <a:pathLst>
              <a:path w="4730750" h="2573654">
                <a:moveTo>
                  <a:pt x="430121" y="847182"/>
                </a:moveTo>
                <a:lnTo>
                  <a:pt x="424697" y="806512"/>
                </a:lnTo>
                <a:lnTo>
                  <a:pt x="423342" y="766254"/>
                </a:lnTo>
                <a:lnTo>
                  <a:pt x="425934" y="726527"/>
                </a:lnTo>
                <a:lnTo>
                  <a:pt x="432350" y="687450"/>
                </a:lnTo>
                <a:lnTo>
                  <a:pt x="442468" y="649143"/>
                </a:lnTo>
                <a:lnTo>
                  <a:pt x="456166" y="611725"/>
                </a:lnTo>
                <a:lnTo>
                  <a:pt x="473321" y="575314"/>
                </a:lnTo>
                <a:lnTo>
                  <a:pt x="493812" y="540030"/>
                </a:lnTo>
                <a:lnTo>
                  <a:pt x="517516" y="505992"/>
                </a:lnTo>
                <a:lnTo>
                  <a:pt x="544312" y="473320"/>
                </a:lnTo>
                <a:lnTo>
                  <a:pt x="574075" y="442131"/>
                </a:lnTo>
                <a:lnTo>
                  <a:pt x="606686" y="412546"/>
                </a:lnTo>
                <a:lnTo>
                  <a:pt x="642020" y="384684"/>
                </a:lnTo>
                <a:lnTo>
                  <a:pt x="679956" y="358664"/>
                </a:lnTo>
                <a:lnTo>
                  <a:pt x="720373" y="334605"/>
                </a:lnTo>
                <a:lnTo>
                  <a:pt x="763147" y="312625"/>
                </a:lnTo>
                <a:lnTo>
                  <a:pt x="808156" y="292845"/>
                </a:lnTo>
                <a:lnTo>
                  <a:pt x="855278" y="275384"/>
                </a:lnTo>
                <a:lnTo>
                  <a:pt x="904391" y="260360"/>
                </a:lnTo>
                <a:lnTo>
                  <a:pt x="955373" y="247893"/>
                </a:lnTo>
                <a:lnTo>
                  <a:pt x="1008101" y="238101"/>
                </a:lnTo>
                <a:lnTo>
                  <a:pt x="1062454" y="231105"/>
                </a:lnTo>
                <a:lnTo>
                  <a:pt x="1111622" y="227386"/>
                </a:lnTo>
                <a:lnTo>
                  <a:pt x="1160797" y="226118"/>
                </a:lnTo>
                <a:lnTo>
                  <a:pt x="1209821" y="227277"/>
                </a:lnTo>
                <a:lnTo>
                  <a:pt x="1258532" y="230837"/>
                </a:lnTo>
                <a:lnTo>
                  <a:pt x="1306770" y="236772"/>
                </a:lnTo>
                <a:lnTo>
                  <a:pt x="1354376" y="245059"/>
                </a:lnTo>
                <a:lnTo>
                  <a:pt x="1401189" y="255671"/>
                </a:lnTo>
                <a:lnTo>
                  <a:pt x="1447050" y="268583"/>
                </a:lnTo>
                <a:lnTo>
                  <a:pt x="1491799" y="283771"/>
                </a:lnTo>
                <a:lnTo>
                  <a:pt x="1535275" y="301209"/>
                </a:lnTo>
                <a:lnTo>
                  <a:pt x="1562286" y="267253"/>
                </a:lnTo>
                <a:lnTo>
                  <a:pt x="1592759" y="235784"/>
                </a:lnTo>
                <a:lnTo>
                  <a:pt x="1626415" y="206867"/>
                </a:lnTo>
                <a:lnTo>
                  <a:pt x="1662975" y="180563"/>
                </a:lnTo>
                <a:lnTo>
                  <a:pt x="1702162" y="156935"/>
                </a:lnTo>
                <a:lnTo>
                  <a:pt x="1743696" y="136048"/>
                </a:lnTo>
                <a:lnTo>
                  <a:pt x="1787300" y="117963"/>
                </a:lnTo>
                <a:lnTo>
                  <a:pt x="1832695" y="102743"/>
                </a:lnTo>
                <a:lnTo>
                  <a:pt x="1879604" y="90452"/>
                </a:lnTo>
                <a:lnTo>
                  <a:pt x="1927747" y="81153"/>
                </a:lnTo>
                <a:lnTo>
                  <a:pt x="1976846" y="74908"/>
                </a:lnTo>
                <a:lnTo>
                  <a:pt x="2026624" y="71781"/>
                </a:lnTo>
                <a:lnTo>
                  <a:pt x="2076801" y="71834"/>
                </a:lnTo>
                <a:lnTo>
                  <a:pt x="2127100" y="75131"/>
                </a:lnTo>
                <a:lnTo>
                  <a:pt x="2177242" y="81734"/>
                </a:lnTo>
                <a:lnTo>
                  <a:pt x="2226949" y="91707"/>
                </a:lnTo>
                <a:lnTo>
                  <a:pt x="2275943" y="105112"/>
                </a:lnTo>
                <a:lnTo>
                  <a:pt x="2323945" y="122012"/>
                </a:lnTo>
                <a:lnTo>
                  <a:pt x="2360477" y="137720"/>
                </a:lnTo>
                <a:lnTo>
                  <a:pt x="2395319" y="155286"/>
                </a:lnTo>
                <a:lnTo>
                  <a:pt x="2428351" y="174661"/>
                </a:lnTo>
                <a:lnTo>
                  <a:pt x="2459454" y="195799"/>
                </a:lnTo>
                <a:lnTo>
                  <a:pt x="2485187" y="162223"/>
                </a:lnTo>
                <a:lnTo>
                  <a:pt x="2515033" y="131511"/>
                </a:lnTo>
                <a:lnTo>
                  <a:pt x="2548603" y="103759"/>
                </a:lnTo>
                <a:lnTo>
                  <a:pt x="2585505" y="79067"/>
                </a:lnTo>
                <a:lnTo>
                  <a:pt x="2625349" y="57529"/>
                </a:lnTo>
                <a:lnTo>
                  <a:pt x="2667744" y="39243"/>
                </a:lnTo>
                <a:lnTo>
                  <a:pt x="2712300" y="24307"/>
                </a:lnTo>
                <a:lnTo>
                  <a:pt x="2758626" y="12818"/>
                </a:lnTo>
                <a:lnTo>
                  <a:pt x="2806331" y="4872"/>
                </a:lnTo>
                <a:lnTo>
                  <a:pt x="2855026" y="567"/>
                </a:lnTo>
                <a:lnTo>
                  <a:pt x="2904319" y="0"/>
                </a:lnTo>
                <a:lnTo>
                  <a:pt x="2953819" y="3267"/>
                </a:lnTo>
                <a:lnTo>
                  <a:pt x="3003137" y="10466"/>
                </a:lnTo>
                <a:lnTo>
                  <a:pt x="3051881" y="21694"/>
                </a:lnTo>
                <a:lnTo>
                  <a:pt x="3099661" y="37049"/>
                </a:lnTo>
                <a:lnTo>
                  <a:pt x="3147054" y="57129"/>
                </a:lnTo>
                <a:lnTo>
                  <a:pt x="3190863" y="81007"/>
                </a:lnTo>
                <a:lnTo>
                  <a:pt x="3230695" y="108433"/>
                </a:lnTo>
                <a:lnTo>
                  <a:pt x="3266158" y="139157"/>
                </a:lnTo>
                <a:lnTo>
                  <a:pt x="3301098" y="111464"/>
                </a:lnTo>
                <a:lnTo>
                  <a:pt x="3338744" y="86804"/>
                </a:lnTo>
                <a:lnTo>
                  <a:pt x="3378782" y="65195"/>
                </a:lnTo>
                <a:lnTo>
                  <a:pt x="3420897" y="46657"/>
                </a:lnTo>
                <a:lnTo>
                  <a:pt x="3464778" y="31207"/>
                </a:lnTo>
                <a:lnTo>
                  <a:pt x="3510109" y="18864"/>
                </a:lnTo>
                <a:lnTo>
                  <a:pt x="3556577" y="9648"/>
                </a:lnTo>
                <a:lnTo>
                  <a:pt x="3603870" y="3577"/>
                </a:lnTo>
                <a:lnTo>
                  <a:pt x="3651672" y="670"/>
                </a:lnTo>
                <a:lnTo>
                  <a:pt x="3699671" y="946"/>
                </a:lnTo>
                <a:lnTo>
                  <a:pt x="3747553" y="4422"/>
                </a:lnTo>
                <a:lnTo>
                  <a:pt x="3795004" y="11119"/>
                </a:lnTo>
                <a:lnTo>
                  <a:pt x="3841711" y="21055"/>
                </a:lnTo>
                <a:lnTo>
                  <a:pt x="3887360" y="34249"/>
                </a:lnTo>
                <a:lnTo>
                  <a:pt x="3931637" y="50719"/>
                </a:lnTo>
                <a:lnTo>
                  <a:pt x="3974229" y="70485"/>
                </a:lnTo>
                <a:lnTo>
                  <a:pt x="4014823" y="93564"/>
                </a:lnTo>
                <a:lnTo>
                  <a:pt x="4059265" y="124826"/>
                </a:lnTo>
                <a:lnTo>
                  <a:pt x="4098285" y="159430"/>
                </a:lnTo>
                <a:lnTo>
                  <a:pt x="4131583" y="196990"/>
                </a:lnTo>
                <a:lnTo>
                  <a:pt x="4158860" y="237121"/>
                </a:lnTo>
                <a:lnTo>
                  <a:pt x="4179814" y="279440"/>
                </a:lnTo>
                <a:lnTo>
                  <a:pt x="4194147" y="323561"/>
                </a:lnTo>
                <a:lnTo>
                  <a:pt x="4247637" y="336416"/>
                </a:lnTo>
                <a:lnTo>
                  <a:pt x="4298312" y="352689"/>
                </a:lnTo>
                <a:lnTo>
                  <a:pt x="4345998" y="372156"/>
                </a:lnTo>
                <a:lnTo>
                  <a:pt x="4390525" y="394596"/>
                </a:lnTo>
                <a:lnTo>
                  <a:pt x="4431720" y="419784"/>
                </a:lnTo>
                <a:lnTo>
                  <a:pt x="4469413" y="447497"/>
                </a:lnTo>
                <a:lnTo>
                  <a:pt x="4503430" y="477513"/>
                </a:lnTo>
                <a:lnTo>
                  <a:pt x="4533601" y="509607"/>
                </a:lnTo>
                <a:lnTo>
                  <a:pt x="4559754" y="543557"/>
                </a:lnTo>
                <a:lnTo>
                  <a:pt x="4581718" y="579140"/>
                </a:lnTo>
                <a:lnTo>
                  <a:pt x="4599319" y="616132"/>
                </a:lnTo>
                <a:lnTo>
                  <a:pt x="4612388" y="654310"/>
                </a:lnTo>
                <a:lnTo>
                  <a:pt x="4620751" y="693451"/>
                </a:lnTo>
                <a:lnTo>
                  <a:pt x="4624238" y="733333"/>
                </a:lnTo>
                <a:lnTo>
                  <a:pt x="4622676" y="773730"/>
                </a:lnTo>
                <a:lnTo>
                  <a:pt x="4615895" y="814421"/>
                </a:lnTo>
                <a:lnTo>
                  <a:pt x="4603722" y="855183"/>
                </a:lnTo>
                <a:lnTo>
                  <a:pt x="4584612" y="898099"/>
                </a:lnTo>
                <a:lnTo>
                  <a:pt x="4576925" y="912079"/>
                </a:lnTo>
                <a:lnTo>
                  <a:pt x="4610433" y="947104"/>
                </a:lnTo>
                <a:lnTo>
                  <a:pt x="4639748" y="983377"/>
                </a:lnTo>
                <a:lnTo>
                  <a:pt x="4664902" y="1020726"/>
                </a:lnTo>
                <a:lnTo>
                  <a:pt x="4685923" y="1058980"/>
                </a:lnTo>
                <a:lnTo>
                  <a:pt x="4702844" y="1097968"/>
                </a:lnTo>
                <a:lnTo>
                  <a:pt x="4715694" y="1137519"/>
                </a:lnTo>
                <a:lnTo>
                  <a:pt x="4724503" y="1177462"/>
                </a:lnTo>
                <a:lnTo>
                  <a:pt x="4729303" y="1217625"/>
                </a:lnTo>
                <a:lnTo>
                  <a:pt x="4730123" y="1257838"/>
                </a:lnTo>
                <a:lnTo>
                  <a:pt x="4726995" y="1297929"/>
                </a:lnTo>
                <a:lnTo>
                  <a:pt x="4719947" y="1337727"/>
                </a:lnTo>
                <a:lnTo>
                  <a:pt x="4709012" y="1377062"/>
                </a:lnTo>
                <a:lnTo>
                  <a:pt x="4694219" y="1415761"/>
                </a:lnTo>
                <a:lnTo>
                  <a:pt x="4675599" y="1453654"/>
                </a:lnTo>
                <a:lnTo>
                  <a:pt x="4653182" y="1490569"/>
                </a:lnTo>
                <a:lnTo>
                  <a:pt x="4626999" y="1526336"/>
                </a:lnTo>
                <a:lnTo>
                  <a:pt x="4597080" y="1560784"/>
                </a:lnTo>
                <a:lnTo>
                  <a:pt x="4563455" y="1593740"/>
                </a:lnTo>
                <a:lnTo>
                  <a:pt x="4526156" y="1625035"/>
                </a:lnTo>
                <a:lnTo>
                  <a:pt x="4485212" y="1654496"/>
                </a:lnTo>
                <a:lnTo>
                  <a:pt x="4440654" y="1681953"/>
                </a:lnTo>
                <a:lnTo>
                  <a:pt x="4396290" y="1705355"/>
                </a:lnTo>
                <a:lnTo>
                  <a:pt x="4349875" y="1726206"/>
                </a:lnTo>
                <a:lnTo>
                  <a:pt x="4301614" y="1744445"/>
                </a:lnTo>
                <a:lnTo>
                  <a:pt x="4251712" y="1760009"/>
                </a:lnTo>
                <a:lnTo>
                  <a:pt x="4200372" y="1772836"/>
                </a:lnTo>
                <a:lnTo>
                  <a:pt x="4147799" y="1782863"/>
                </a:lnTo>
                <a:lnTo>
                  <a:pt x="4094198" y="1790030"/>
                </a:lnTo>
                <a:lnTo>
                  <a:pt x="4091439" y="1830433"/>
                </a:lnTo>
                <a:lnTo>
                  <a:pt x="4084173" y="1869854"/>
                </a:lnTo>
                <a:lnTo>
                  <a:pt x="4072592" y="1908154"/>
                </a:lnTo>
                <a:lnTo>
                  <a:pt x="4056886" y="1945194"/>
                </a:lnTo>
                <a:lnTo>
                  <a:pt x="4037247" y="1980834"/>
                </a:lnTo>
                <a:lnTo>
                  <a:pt x="4013866" y="2014934"/>
                </a:lnTo>
                <a:lnTo>
                  <a:pt x="3986935" y="2047356"/>
                </a:lnTo>
                <a:lnTo>
                  <a:pt x="3956646" y="2077959"/>
                </a:lnTo>
                <a:lnTo>
                  <a:pt x="3923189" y="2106605"/>
                </a:lnTo>
                <a:lnTo>
                  <a:pt x="3886757" y="2133154"/>
                </a:lnTo>
                <a:lnTo>
                  <a:pt x="3847539" y="2157467"/>
                </a:lnTo>
                <a:lnTo>
                  <a:pt x="3805729" y="2179403"/>
                </a:lnTo>
                <a:lnTo>
                  <a:pt x="3761517" y="2198824"/>
                </a:lnTo>
                <a:lnTo>
                  <a:pt x="3715095" y="2215591"/>
                </a:lnTo>
                <a:lnTo>
                  <a:pt x="3666654" y="2229563"/>
                </a:lnTo>
                <a:lnTo>
                  <a:pt x="3616386" y="2240602"/>
                </a:lnTo>
                <a:lnTo>
                  <a:pt x="3564482" y="2248568"/>
                </a:lnTo>
                <a:lnTo>
                  <a:pt x="3511133" y="2253321"/>
                </a:lnTo>
                <a:lnTo>
                  <a:pt x="3456531" y="2254723"/>
                </a:lnTo>
                <a:lnTo>
                  <a:pt x="3406703" y="2252949"/>
                </a:lnTo>
                <a:lnTo>
                  <a:pt x="3357406" y="2248310"/>
                </a:lnTo>
                <a:lnTo>
                  <a:pt x="3308861" y="2240847"/>
                </a:lnTo>
                <a:lnTo>
                  <a:pt x="3261285" y="2230603"/>
                </a:lnTo>
                <a:lnTo>
                  <a:pt x="3214901" y="2217619"/>
                </a:lnTo>
                <a:lnTo>
                  <a:pt x="3169928" y="2201938"/>
                </a:lnTo>
                <a:lnTo>
                  <a:pt x="3126585" y="2183603"/>
                </a:lnTo>
                <a:lnTo>
                  <a:pt x="3109522" y="2220712"/>
                </a:lnTo>
                <a:lnTo>
                  <a:pt x="3089281" y="2256329"/>
                </a:lnTo>
                <a:lnTo>
                  <a:pt x="3066019" y="2290392"/>
                </a:lnTo>
                <a:lnTo>
                  <a:pt x="3039890" y="2322839"/>
                </a:lnTo>
                <a:lnTo>
                  <a:pt x="3011051" y="2353608"/>
                </a:lnTo>
                <a:lnTo>
                  <a:pt x="2979656" y="2382636"/>
                </a:lnTo>
                <a:lnTo>
                  <a:pt x="2945863" y="2409863"/>
                </a:lnTo>
                <a:lnTo>
                  <a:pt x="2909825" y="2435225"/>
                </a:lnTo>
                <a:lnTo>
                  <a:pt x="2871699" y="2458662"/>
                </a:lnTo>
                <a:lnTo>
                  <a:pt x="2831641" y="2480111"/>
                </a:lnTo>
                <a:lnTo>
                  <a:pt x="2789805" y="2499510"/>
                </a:lnTo>
                <a:lnTo>
                  <a:pt x="2746349" y="2516797"/>
                </a:lnTo>
                <a:lnTo>
                  <a:pt x="2701427" y="2531911"/>
                </a:lnTo>
                <a:lnTo>
                  <a:pt x="2655195" y="2544789"/>
                </a:lnTo>
                <a:lnTo>
                  <a:pt x="2607808" y="2555370"/>
                </a:lnTo>
                <a:lnTo>
                  <a:pt x="2559423" y="2563591"/>
                </a:lnTo>
                <a:lnTo>
                  <a:pt x="2510195" y="2569390"/>
                </a:lnTo>
                <a:lnTo>
                  <a:pt x="2460279" y="2572707"/>
                </a:lnTo>
                <a:lnTo>
                  <a:pt x="2409831" y="2573478"/>
                </a:lnTo>
                <a:lnTo>
                  <a:pt x="2359007" y="2571642"/>
                </a:lnTo>
                <a:lnTo>
                  <a:pt x="2307963" y="2567137"/>
                </a:lnTo>
                <a:lnTo>
                  <a:pt x="2256853" y="2559900"/>
                </a:lnTo>
                <a:lnTo>
                  <a:pt x="2205835" y="2549871"/>
                </a:lnTo>
                <a:lnTo>
                  <a:pt x="2152166" y="2536093"/>
                </a:lnTo>
                <a:lnTo>
                  <a:pt x="2100343" y="2519387"/>
                </a:lnTo>
                <a:lnTo>
                  <a:pt x="2050566" y="2499861"/>
                </a:lnTo>
                <a:lnTo>
                  <a:pt x="2003033" y="2477626"/>
                </a:lnTo>
                <a:lnTo>
                  <a:pt x="1957946" y="2452792"/>
                </a:lnTo>
                <a:lnTo>
                  <a:pt x="1915503" y="2425467"/>
                </a:lnTo>
                <a:lnTo>
                  <a:pt x="1875905" y="2395763"/>
                </a:lnTo>
                <a:lnTo>
                  <a:pt x="1839350" y="2363788"/>
                </a:lnTo>
                <a:lnTo>
                  <a:pt x="1806039" y="2329653"/>
                </a:lnTo>
                <a:lnTo>
                  <a:pt x="1761162" y="2348366"/>
                </a:lnTo>
                <a:lnTo>
                  <a:pt x="1715426" y="2364841"/>
                </a:lnTo>
                <a:lnTo>
                  <a:pt x="1668954" y="2379101"/>
                </a:lnTo>
                <a:lnTo>
                  <a:pt x="1621865" y="2391166"/>
                </a:lnTo>
                <a:lnTo>
                  <a:pt x="1574281" y="2401061"/>
                </a:lnTo>
                <a:lnTo>
                  <a:pt x="1526324" y="2408808"/>
                </a:lnTo>
                <a:lnTo>
                  <a:pt x="1478114" y="2414428"/>
                </a:lnTo>
                <a:lnTo>
                  <a:pt x="1429773" y="2417945"/>
                </a:lnTo>
                <a:lnTo>
                  <a:pt x="1381421" y="2419381"/>
                </a:lnTo>
                <a:lnTo>
                  <a:pt x="1333180" y="2418758"/>
                </a:lnTo>
                <a:lnTo>
                  <a:pt x="1285172" y="2416100"/>
                </a:lnTo>
                <a:lnTo>
                  <a:pt x="1237516" y="2411428"/>
                </a:lnTo>
                <a:lnTo>
                  <a:pt x="1190334" y="2404765"/>
                </a:lnTo>
                <a:lnTo>
                  <a:pt x="1143748" y="2396133"/>
                </a:lnTo>
                <a:lnTo>
                  <a:pt x="1097878" y="2385556"/>
                </a:lnTo>
                <a:lnTo>
                  <a:pt x="1052846" y="2373054"/>
                </a:lnTo>
                <a:lnTo>
                  <a:pt x="1008772" y="2358652"/>
                </a:lnTo>
                <a:lnTo>
                  <a:pt x="965779" y="2342372"/>
                </a:lnTo>
                <a:lnTo>
                  <a:pt x="923986" y="2324235"/>
                </a:lnTo>
                <a:lnTo>
                  <a:pt x="883515" y="2304265"/>
                </a:lnTo>
                <a:lnTo>
                  <a:pt x="844488" y="2282483"/>
                </a:lnTo>
                <a:lnTo>
                  <a:pt x="807026" y="2258914"/>
                </a:lnTo>
                <a:lnTo>
                  <a:pt x="771248" y="2233578"/>
                </a:lnTo>
                <a:lnTo>
                  <a:pt x="737278" y="2206498"/>
                </a:lnTo>
                <a:lnTo>
                  <a:pt x="705235" y="2177697"/>
                </a:lnTo>
                <a:lnTo>
                  <a:pt x="675241" y="2147198"/>
                </a:lnTo>
                <a:lnTo>
                  <a:pt x="647418" y="2115023"/>
                </a:lnTo>
                <a:lnTo>
                  <a:pt x="638528" y="2103593"/>
                </a:lnTo>
                <a:lnTo>
                  <a:pt x="582911" y="2106038"/>
                </a:lnTo>
                <a:lnTo>
                  <a:pt x="528450" y="2103785"/>
                </a:lnTo>
                <a:lnTo>
                  <a:pt x="475539" y="2097067"/>
                </a:lnTo>
                <a:lnTo>
                  <a:pt x="424577" y="2086114"/>
                </a:lnTo>
                <a:lnTo>
                  <a:pt x="375959" y="2071160"/>
                </a:lnTo>
                <a:lnTo>
                  <a:pt x="330081" y="2052434"/>
                </a:lnTo>
                <a:lnTo>
                  <a:pt x="287341" y="2030171"/>
                </a:lnTo>
                <a:lnTo>
                  <a:pt x="248135" y="2004601"/>
                </a:lnTo>
                <a:lnTo>
                  <a:pt x="212859" y="1975956"/>
                </a:lnTo>
                <a:lnTo>
                  <a:pt x="181911" y="1944469"/>
                </a:lnTo>
                <a:lnTo>
                  <a:pt x="155686" y="1910371"/>
                </a:lnTo>
                <a:lnTo>
                  <a:pt x="134581" y="1873893"/>
                </a:lnTo>
                <a:lnTo>
                  <a:pt x="118993" y="1835269"/>
                </a:lnTo>
                <a:lnTo>
                  <a:pt x="109319" y="1794729"/>
                </a:lnTo>
                <a:lnTo>
                  <a:pt x="106079" y="1750660"/>
                </a:lnTo>
                <a:lnTo>
                  <a:pt x="110257" y="1707054"/>
                </a:lnTo>
                <a:lnTo>
                  <a:pt x="121635" y="1664394"/>
                </a:lnTo>
                <a:lnTo>
                  <a:pt x="139996" y="1623157"/>
                </a:lnTo>
                <a:lnTo>
                  <a:pt x="165121" y="1583824"/>
                </a:lnTo>
                <a:lnTo>
                  <a:pt x="196793" y="1546874"/>
                </a:lnTo>
                <a:lnTo>
                  <a:pt x="234795" y="1512789"/>
                </a:lnTo>
                <a:lnTo>
                  <a:pt x="188594" y="1489871"/>
                </a:lnTo>
                <a:lnTo>
                  <a:pt x="147125" y="1463704"/>
                </a:lnTo>
                <a:lnTo>
                  <a:pt x="110513" y="1434651"/>
                </a:lnTo>
                <a:lnTo>
                  <a:pt x="78887" y="1403076"/>
                </a:lnTo>
                <a:lnTo>
                  <a:pt x="52374" y="1369340"/>
                </a:lnTo>
                <a:lnTo>
                  <a:pt x="31101" y="1333808"/>
                </a:lnTo>
                <a:lnTo>
                  <a:pt x="15196" y="1296841"/>
                </a:lnTo>
                <a:lnTo>
                  <a:pt x="4786" y="1258804"/>
                </a:lnTo>
                <a:lnTo>
                  <a:pt x="0" y="1220058"/>
                </a:lnTo>
                <a:lnTo>
                  <a:pt x="963" y="1180967"/>
                </a:lnTo>
                <a:lnTo>
                  <a:pt x="7804" y="1141894"/>
                </a:lnTo>
                <a:lnTo>
                  <a:pt x="20651" y="1103202"/>
                </a:lnTo>
                <a:lnTo>
                  <a:pt x="39630" y="1065253"/>
                </a:lnTo>
                <a:lnTo>
                  <a:pt x="64869" y="1028411"/>
                </a:lnTo>
                <a:lnTo>
                  <a:pt x="96203" y="993511"/>
                </a:lnTo>
                <a:lnTo>
                  <a:pt x="132451" y="961928"/>
                </a:lnTo>
                <a:lnTo>
                  <a:pt x="173130" y="933897"/>
                </a:lnTo>
                <a:lnTo>
                  <a:pt x="217761" y="909650"/>
                </a:lnTo>
                <a:lnTo>
                  <a:pt x="265862" y="889422"/>
                </a:lnTo>
                <a:lnTo>
                  <a:pt x="316954" y="873445"/>
                </a:lnTo>
                <a:lnTo>
                  <a:pt x="370555" y="861954"/>
                </a:lnTo>
                <a:lnTo>
                  <a:pt x="426184" y="855183"/>
                </a:lnTo>
                <a:lnTo>
                  <a:pt x="430121" y="847182"/>
                </a:lnTo>
                <a:close/>
              </a:path>
            </a:pathLst>
          </a:custGeom>
          <a:ln w="24384">
            <a:solidFill>
              <a:srgbClr val="003B55"/>
            </a:solidFill>
          </a:ln>
        </p:spPr>
        <p:txBody>
          <a:bodyPr wrap="square" lIns="0" tIns="0" rIns="0" bIns="0" rtlCol="0"/>
          <a:lstStyle/>
          <a:p>
            <a:endParaRPr/>
          </a:p>
        </p:txBody>
      </p:sp>
      <p:sp>
        <p:nvSpPr>
          <p:cNvPr id="4" name="object 4"/>
          <p:cNvSpPr/>
          <p:nvPr/>
        </p:nvSpPr>
        <p:spPr>
          <a:xfrm>
            <a:off x="6344411" y="3821684"/>
            <a:ext cx="277495" cy="48895"/>
          </a:xfrm>
          <a:custGeom>
            <a:avLst/>
            <a:gdLst/>
            <a:ahLst/>
            <a:cxnLst/>
            <a:rect l="l" t="t" r="r" b="b"/>
            <a:pathLst>
              <a:path w="277495" h="48895">
                <a:moveTo>
                  <a:pt x="276987" y="47498"/>
                </a:moveTo>
                <a:lnTo>
                  <a:pt x="228723" y="48459"/>
                </a:lnTo>
                <a:lnTo>
                  <a:pt x="180819" y="45795"/>
                </a:lnTo>
                <a:lnTo>
                  <a:pt x="133635" y="39560"/>
                </a:lnTo>
                <a:lnTo>
                  <a:pt x="87531" y="29812"/>
                </a:lnTo>
                <a:lnTo>
                  <a:pt x="42866" y="16606"/>
                </a:lnTo>
                <a:lnTo>
                  <a:pt x="0" y="0"/>
                </a:lnTo>
              </a:path>
            </a:pathLst>
          </a:custGeom>
          <a:ln w="24384">
            <a:solidFill>
              <a:srgbClr val="003B55"/>
            </a:solidFill>
          </a:ln>
        </p:spPr>
        <p:txBody>
          <a:bodyPr wrap="square" lIns="0" tIns="0" rIns="0" bIns="0" rtlCol="0"/>
          <a:lstStyle/>
          <a:p>
            <a:endParaRPr/>
          </a:p>
        </p:txBody>
      </p:sp>
      <p:sp>
        <p:nvSpPr>
          <p:cNvPr id="5" name="object 5"/>
          <p:cNvSpPr/>
          <p:nvPr/>
        </p:nvSpPr>
        <p:spPr>
          <a:xfrm>
            <a:off x="6744589" y="4388611"/>
            <a:ext cx="121285" cy="22860"/>
          </a:xfrm>
          <a:custGeom>
            <a:avLst/>
            <a:gdLst/>
            <a:ahLst/>
            <a:cxnLst/>
            <a:rect l="l" t="t" r="r" b="b"/>
            <a:pathLst>
              <a:path w="121284" h="22860">
                <a:moveTo>
                  <a:pt x="121284" y="0"/>
                </a:moveTo>
                <a:lnTo>
                  <a:pt x="91797" y="7856"/>
                </a:lnTo>
                <a:lnTo>
                  <a:pt x="61690" y="14271"/>
                </a:lnTo>
                <a:lnTo>
                  <a:pt x="31059" y="19234"/>
                </a:lnTo>
                <a:lnTo>
                  <a:pt x="0" y="22732"/>
                </a:lnTo>
              </a:path>
            </a:pathLst>
          </a:custGeom>
          <a:ln w="24384">
            <a:solidFill>
              <a:srgbClr val="003B55"/>
            </a:solidFill>
          </a:ln>
        </p:spPr>
        <p:txBody>
          <a:bodyPr wrap="square" lIns="0" tIns="0" rIns="0" bIns="0" rtlCol="0"/>
          <a:lstStyle/>
          <a:p>
            <a:endParaRPr/>
          </a:p>
        </p:txBody>
      </p:sp>
      <p:sp>
        <p:nvSpPr>
          <p:cNvPr id="6" name="object 6"/>
          <p:cNvSpPr/>
          <p:nvPr/>
        </p:nvSpPr>
        <p:spPr>
          <a:xfrm>
            <a:off x="7837169" y="4534534"/>
            <a:ext cx="73025" cy="104139"/>
          </a:xfrm>
          <a:custGeom>
            <a:avLst/>
            <a:gdLst/>
            <a:ahLst/>
            <a:cxnLst/>
            <a:rect l="l" t="t" r="r" b="b"/>
            <a:pathLst>
              <a:path w="73025" h="104139">
                <a:moveTo>
                  <a:pt x="73025" y="103631"/>
                </a:moveTo>
                <a:lnTo>
                  <a:pt x="52006" y="78831"/>
                </a:lnTo>
                <a:lnTo>
                  <a:pt x="32797" y="53244"/>
                </a:lnTo>
                <a:lnTo>
                  <a:pt x="15446" y="26943"/>
                </a:lnTo>
                <a:lnTo>
                  <a:pt x="0" y="0"/>
                </a:lnTo>
              </a:path>
            </a:pathLst>
          </a:custGeom>
          <a:ln w="24384">
            <a:solidFill>
              <a:srgbClr val="003B55"/>
            </a:solidFill>
          </a:ln>
        </p:spPr>
        <p:txBody>
          <a:bodyPr wrap="square" lIns="0" tIns="0" rIns="0" bIns="0" rtlCol="0"/>
          <a:lstStyle/>
          <a:p>
            <a:endParaRPr/>
          </a:p>
        </p:txBody>
      </p:sp>
      <p:sp>
        <p:nvSpPr>
          <p:cNvPr id="7" name="object 7"/>
          <p:cNvSpPr/>
          <p:nvPr/>
        </p:nvSpPr>
        <p:spPr>
          <a:xfrm>
            <a:off x="9231630" y="4379721"/>
            <a:ext cx="29209" cy="114300"/>
          </a:xfrm>
          <a:custGeom>
            <a:avLst/>
            <a:gdLst/>
            <a:ahLst/>
            <a:cxnLst/>
            <a:rect l="l" t="t" r="r" b="b"/>
            <a:pathLst>
              <a:path w="29209" h="114300">
                <a:moveTo>
                  <a:pt x="29083" y="0"/>
                </a:moveTo>
                <a:lnTo>
                  <a:pt x="24824" y="28852"/>
                </a:lnTo>
                <a:lnTo>
                  <a:pt x="18542" y="57467"/>
                </a:lnTo>
                <a:lnTo>
                  <a:pt x="10259" y="85796"/>
                </a:lnTo>
                <a:lnTo>
                  <a:pt x="0" y="113791"/>
                </a:lnTo>
              </a:path>
            </a:pathLst>
          </a:custGeom>
          <a:ln w="24383">
            <a:solidFill>
              <a:srgbClr val="003B55"/>
            </a:solidFill>
          </a:ln>
        </p:spPr>
        <p:txBody>
          <a:bodyPr wrap="square" lIns="0" tIns="0" rIns="0" bIns="0" rtlCol="0"/>
          <a:lstStyle/>
          <a:p>
            <a:endParaRPr/>
          </a:p>
        </p:txBody>
      </p:sp>
      <p:sp>
        <p:nvSpPr>
          <p:cNvPr id="8" name="object 8"/>
          <p:cNvSpPr/>
          <p:nvPr/>
        </p:nvSpPr>
        <p:spPr>
          <a:xfrm>
            <a:off x="9840594" y="3677284"/>
            <a:ext cx="355600" cy="425450"/>
          </a:xfrm>
          <a:custGeom>
            <a:avLst/>
            <a:gdLst/>
            <a:ahLst/>
            <a:cxnLst/>
            <a:rect l="l" t="t" r="r" b="b"/>
            <a:pathLst>
              <a:path w="355600" h="425450">
                <a:moveTo>
                  <a:pt x="0" y="0"/>
                </a:moveTo>
                <a:lnTo>
                  <a:pt x="53080" y="21506"/>
                </a:lnTo>
                <a:lnTo>
                  <a:pt x="102584" y="46364"/>
                </a:lnTo>
                <a:lnTo>
                  <a:pt x="148306" y="74326"/>
                </a:lnTo>
                <a:lnTo>
                  <a:pt x="190039" y="105146"/>
                </a:lnTo>
                <a:lnTo>
                  <a:pt x="227577" y="138576"/>
                </a:lnTo>
                <a:lnTo>
                  <a:pt x="260715" y="174371"/>
                </a:lnTo>
                <a:lnTo>
                  <a:pt x="289246" y="212281"/>
                </a:lnTo>
                <a:lnTo>
                  <a:pt x="312965" y="252062"/>
                </a:lnTo>
                <a:lnTo>
                  <a:pt x="331666" y="293465"/>
                </a:lnTo>
                <a:lnTo>
                  <a:pt x="345143" y="336244"/>
                </a:lnTo>
                <a:lnTo>
                  <a:pt x="353189" y="380152"/>
                </a:lnTo>
                <a:lnTo>
                  <a:pt x="355600" y="424941"/>
                </a:lnTo>
              </a:path>
            </a:pathLst>
          </a:custGeom>
          <a:ln w="24384">
            <a:solidFill>
              <a:srgbClr val="003B55"/>
            </a:solidFill>
          </a:ln>
        </p:spPr>
        <p:txBody>
          <a:bodyPr wrap="square" lIns="0" tIns="0" rIns="0" bIns="0" rtlCol="0"/>
          <a:lstStyle/>
          <a:p>
            <a:endParaRPr/>
          </a:p>
        </p:txBody>
      </p:sp>
      <p:sp>
        <p:nvSpPr>
          <p:cNvPr id="9" name="object 9"/>
          <p:cNvSpPr/>
          <p:nvPr/>
        </p:nvSpPr>
        <p:spPr>
          <a:xfrm>
            <a:off x="10520933" y="3224657"/>
            <a:ext cx="158750" cy="159385"/>
          </a:xfrm>
          <a:custGeom>
            <a:avLst/>
            <a:gdLst/>
            <a:ahLst/>
            <a:cxnLst/>
            <a:rect l="l" t="t" r="r" b="b"/>
            <a:pathLst>
              <a:path w="158750" h="159385">
                <a:moveTo>
                  <a:pt x="158369" y="0"/>
                </a:moveTo>
                <a:lnTo>
                  <a:pt x="134827" y="36022"/>
                </a:lnTo>
                <a:lnTo>
                  <a:pt x="107012" y="70185"/>
                </a:lnTo>
                <a:lnTo>
                  <a:pt x="75131" y="102275"/>
                </a:lnTo>
                <a:lnTo>
                  <a:pt x="39391" y="132079"/>
                </a:lnTo>
                <a:lnTo>
                  <a:pt x="0" y="159384"/>
                </a:lnTo>
              </a:path>
            </a:pathLst>
          </a:custGeom>
          <a:ln w="24384">
            <a:solidFill>
              <a:srgbClr val="003B55"/>
            </a:solidFill>
          </a:ln>
        </p:spPr>
        <p:txBody>
          <a:bodyPr wrap="square" lIns="0" tIns="0" rIns="0" bIns="0" rtlCol="0"/>
          <a:lstStyle/>
          <a:p>
            <a:endParaRPr/>
          </a:p>
        </p:txBody>
      </p:sp>
      <p:sp>
        <p:nvSpPr>
          <p:cNvPr id="10" name="object 10"/>
          <p:cNvSpPr/>
          <p:nvPr/>
        </p:nvSpPr>
        <p:spPr>
          <a:xfrm>
            <a:off x="10299318" y="2633472"/>
            <a:ext cx="8890" cy="75565"/>
          </a:xfrm>
          <a:custGeom>
            <a:avLst/>
            <a:gdLst/>
            <a:ahLst/>
            <a:cxnLst/>
            <a:rect l="l" t="t" r="r" b="b"/>
            <a:pathLst>
              <a:path w="8890" h="75564">
                <a:moveTo>
                  <a:pt x="0" y="0"/>
                </a:moveTo>
                <a:lnTo>
                  <a:pt x="3952" y="18714"/>
                </a:lnTo>
                <a:lnTo>
                  <a:pt x="6667" y="37512"/>
                </a:lnTo>
                <a:lnTo>
                  <a:pt x="8143" y="56382"/>
                </a:lnTo>
                <a:lnTo>
                  <a:pt x="8381" y="75311"/>
                </a:lnTo>
              </a:path>
            </a:pathLst>
          </a:custGeom>
          <a:ln w="24384">
            <a:solidFill>
              <a:srgbClr val="003B55"/>
            </a:solidFill>
          </a:ln>
        </p:spPr>
        <p:txBody>
          <a:bodyPr wrap="square" lIns="0" tIns="0" rIns="0" bIns="0" rtlCol="0"/>
          <a:lstStyle/>
          <a:p>
            <a:endParaRPr/>
          </a:p>
        </p:txBody>
      </p:sp>
      <p:sp>
        <p:nvSpPr>
          <p:cNvPr id="11" name="object 11"/>
          <p:cNvSpPr/>
          <p:nvPr/>
        </p:nvSpPr>
        <p:spPr>
          <a:xfrm>
            <a:off x="9288144" y="2449702"/>
            <a:ext cx="81280" cy="96520"/>
          </a:xfrm>
          <a:custGeom>
            <a:avLst/>
            <a:gdLst/>
            <a:ahLst/>
            <a:cxnLst/>
            <a:rect l="l" t="t" r="r" b="b"/>
            <a:pathLst>
              <a:path w="81279" h="96519">
                <a:moveTo>
                  <a:pt x="0" y="96012"/>
                </a:moveTo>
                <a:lnTo>
                  <a:pt x="16752" y="70455"/>
                </a:lnTo>
                <a:lnTo>
                  <a:pt x="35909" y="45862"/>
                </a:lnTo>
                <a:lnTo>
                  <a:pt x="57400" y="22342"/>
                </a:lnTo>
                <a:lnTo>
                  <a:pt x="81152" y="0"/>
                </a:lnTo>
              </a:path>
            </a:pathLst>
          </a:custGeom>
          <a:ln w="24383">
            <a:solidFill>
              <a:srgbClr val="003B55"/>
            </a:solidFill>
          </a:ln>
        </p:spPr>
        <p:txBody>
          <a:bodyPr wrap="square" lIns="0" tIns="0" rIns="0" bIns="0" rtlCol="0"/>
          <a:lstStyle/>
          <a:p>
            <a:endParaRPr/>
          </a:p>
        </p:txBody>
      </p:sp>
      <p:sp>
        <p:nvSpPr>
          <p:cNvPr id="12" name="object 12"/>
          <p:cNvSpPr/>
          <p:nvPr/>
        </p:nvSpPr>
        <p:spPr>
          <a:xfrm>
            <a:off x="8529573" y="2508630"/>
            <a:ext cx="39370" cy="83185"/>
          </a:xfrm>
          <a:custGeom>
            <a:avLst/>
            <a:gdLst/>
            <a:ahLst/>
            <a:cxnLst/>
            <a:rect l="l" t="t" r="r" b="b"/>
            <a:pathLst>
              <a:path w="39370" h="83185">
                <a:moveTo>
                  <a:pt x="0" y="82804"/>
                </a:moveTo>
                <a:lnTo>
                  <a:pt x="7185" y="61454"/>
                </a:lnTo>
                <a:lnTo>
                  <a:pt x="16144" y="40497"/>
                </a:lnTo>
                <a:lnTo>
                  <a:pt x="26842" y="19992"/>
                </a:lnTo>
                <a:lnTo>
                  <a:pt x="39243" y="0"/>
                </a:lnTo>
              </a:path>
            </a:pathLst>
          </a:custGeom>
          <a:ln w="24384">
            <a:solidFill>
              <a:srgbClr val="003B55"/>
            </a:solidFill>
          </a:ln>
        </p:spPr>
        <p:txBody>
          <a:bodyPr wrap="square" lIns="0" tIns="0" rIns="0" bIns="0" rtlCol="0"/>
          <a:lstStyle/>
          <a:p>
            <a:endParaRPr/>
          </a:p>
        </p:txBody>
      </p:sp>
      <p:sp>
        <p:nvSpPr>
          <p:cNvPr id="13" name="object 13"/>
          <p:cNvSpPr/>
          <p:nvPr/>
        </p:nvSpPr>
        <p:spPr>
          <a:xfrm>
            <a:off x="7639304" y="2619501"/>
            <a:ext cx="142240" cy="80645"/>
          </a:xfrm>
          <a:custGeom>
            <a:avLst/>
            <a:gdLst/>
            <a:ahLst/>
            <a:cxnLst/>
            <a:rect l="l" t="t" r="r" b="b"/>
            <a:pathLst>
              <a:path w="142240" h="80644">
                <a:moveTo>
                  <a:pt x="0" y="0"/>
                </a:moveTo>
                <a:lnTo>
                  <a:pt x="37939" y="17686"/>
                </a:lnTo>
                <a:lnTo>
                  <a:pt x="74342" y="37004"/>
                </a:lnTo>
                <a:lnTo>
                  <a:pt x="109102" y="57917"/>
                </a:lnTo>
                <a:lnTo>
                  <a:pt x="142113" y="80390"/>
                </a:lnTo>
              </a:path>
            </a:pathLst>
          </a:custGeom>
          <a:ln w="24384">
            <a:solidFill>
              <a:srgbClr val="003B55"/>
            </a:solidFill>
          </a:ln>
        </p:spPr>
        <p:txBody>
          <a:bodyPr wrap="square" lIns="0" tIns="0" rIns="0" bIns="0" rtlCol="0"/>
          <a:lstStyle/>
          <a:p>
            <a:endParaRPr/>
          </a:p>
        </p:txBody>
      </p:sp>
      <p:sp>
        <p:nvSpPr>
          <p:cNvPr id="14" name="object 14"/>
          <p:cNvSpPr/>
          <p:nvPr/>
        </p:nvSpPr>
        <p:spPr>
          <a:xfrm>
            <a:off x="6534657" y="3166110"/>
            <a:ext cx="25400" cy="84455"/>
          </a:xfrm>
          <a:custGeom>
            <a:avLst/>
            <a:gdLst/>
            <a:ahLst/>
            <a:cxnLst/>
            <a:rect l="l" t="t" r="r" b="b"/>
            <a:pathLst>
              <a:path w="25400" h="84455">
                <a:moveTo>
                  <a:pt x="24892" y="84454"/>
                </a:moveTo>
                <a:lnTo>
                  <a:pt x="16984" y="63650"/>
                </a:lnTo>
                <a:lnTo>
                  <a:pt x="10207" y="42608"/>
                </a:lnTo>
                <a:lnTo>
                  <a:pt x="4550" y="21375"/>
                </a:lnTo>
                <a:lnTo>
                  <a:pt x="0" y="0"/>
                </a:lnTo>
              </a:path>
            </a:pathLst>
          </a:custGeom>
          <a:ln w="24384">
            <a:solidFill>
              <a:srgbClr val="003B55"/>
            </a:solidFill>
          </a:ln>
        </p:spPr>
        <p:txBody>
          <a:bodyPr wrap="square" lIns="0" tIns="0" rIns="0" bIns="0" rtlCol="0"/>
          <a:lstStyle/>
          <a:p>
            <a:endParaRPr/>
          </a:p>
        </p:txBody>
      </p:sp>
      <p:sp>
        <p:nvSpPr>
          <p:cNvPr id="15" name="object 15"/>
          <p:cNvSpPr txBox="1"/>
          <p:nvPr/>
        </p:nvSpPr>
        <p:spPr>
          <a:xfrm>
            <a:off x="706627" y="5847384"/>
            <a:ext cx="4912995" cy="654050"/>
          </a:xfrm>
          <a:prstGeom prst="rect">
            <a:avLst/>
          </a:prstGeom>
        </p:spPr>
        <p:txBody>
          <a:bodyPr vert="horz" wrap="square" lIns="0" tIns="17145" rIns="0" bIns="0" rtlCol="0">
            <a:spAutoFit/>
          </a:bodyPr>
          <a:lstStyle/>
          <a:p>
            <a:pPr marL="2146300">
              <a:lnSpc>
                <a:spcPct val="100000"/>
              </a:lnSpc>
              <a:spcBef>
                <a:spcPts val="135"/>
              </a:spcBef>
            </a:pPr>
            <a:r>
              <a:rPr sz="2100" spc="5" dirty="0">
                <a:solidFill>
                  <a:srgbClr val="003B55"/>
                </a:solidFill>
                <a:latin typeface="Arial"/>
                <a:cs typeface="Arial"/>
              </a:rPr>
              <a:t>Ansible Control</a:t>
            </a:r>
            <a:r>
              <a:rPr sz="2100" spc="-40" dirty="0">
                <a:solidFill>
                  <a:srgbClr val="003B55"/>
                </a:solidFill>
                <a:latin typeface="Arial"/>
                <a:cs typeface="Arial"/>
              </a:rPr>
              <a:t> </a:t>
            </a:r>
            <a:r>
              <a:rPr sz="2100" spc="5" dirty="0">
                <a:solidFill>
                  <a:srgbClr val="003B55"/>
                </a:solidFill>
                <a:latin typeface="Arial"/>
                <a:cs typeface="Arial"/>
              </a:rPr>
              <a:t>Station</a:t>
            </a:r>
            <a:endParaRPr sz="2100">
              <a:latin typeface="Arial"/>
              <a:cs typeface="Arial"/>
            </a:endParaRPr>
          </a:p>
          <a:p>
            <a:pPr marL="12700">
              <a:lnSpc>
                <a:spcPct val="100000"/>
              </a:lnSpc>
              <a:spcBef>
                <a:spcPts val="1430"/>
              </a:spcBef>
            </a:pPr>
            <a:r>
              <a:rPr sz="800" spc="80" dirty="0">
                <a:solidFill>
                  <a:srgbClr val="A6A6A6"/>
                </a:solidFill>
                <a:latin typeface="Arial"/>
                <a:cs typeface="Arial"/>
              </a:rPr>
              <a:t>© </a:t>
            </a:r>
            <a:r>
              <a:rPr sz="800" spc="40" dirty="0">
                <a:solidFill>
                  <a:srgbClr val="A6A6A6"/>
                </a:solidFill>
                <a:latin typeface="Arial"/>
                <a:cs typeface="Arial"/>
              </a:rPr>
              <a:t>2017  </a:t>
            </a:r>
            <a:r>
              <a:rPr sz="800" spc="10" dirty="0">
                <a:solidFill>
                  <a:srgbClr val="A6A6A6"/>
                </a:solidFill>
                <a:latin typeface="Arial"/>
                <a:cs typeface="Arial"/>
              </a:rPr>
              <a:t>Cisco </a:t>
            </a:r>
            <a:r>
              <a:rPr sz="800" spc="15" dirty="0">
                <a:solidFill>
                  <a:srgbClr val="A6A6A6"/>
                </a:solidFill>
                <a:latin typeface="Arial"/>
                <a:cs typeface="Arial"/>
              </a:rPr>
              <a:t>and/or  </a:t>
            </a:r>
            <a:r>
              <a:rPr sz="800" spc="5" dirty="0">
                <a:solidFill>
                  <a:srgbClr val="A6A6A6"/>
                </a:solidFill>
                <a:latin typeface="Arial"/>
                <a:cs typeface="Arial"/>
              </a:rPr>
              <a:t>its affiliates.  </a:t>
            </a:r>
            <a:r>
              <a:rPr sz="800" dirty="0">
                <a:solidFill>
                  <a:srgbClr val="A6A6A6"/>
                </a:solidFill>
                <a:latin typeface="Arial"/>
                <a:cs typeface="Arial"/>
              </a:rPr>
              <a:t>All </a:t>
            </a:r>
            <a:r>
              <a:rPr sz="800" spc="5" dirty="0">
                <a:solidFill>
                  <a:srgbClr val="A6A6A6"/>
                </a:solidFill>
                <a:latin typeface="Arial"/>
                <a:cs typeface="Arial"/>
              </a:rPr>
              <a:t>rights  </a:t>
            </a:r>
            <a:r>
              <a:rPr sz="800" spc="10" dirty="0">
                <a:solidFill>
                  <a:srgbClr val="A6A6A6"/>
                </a:solidFill>
                <a:latin typeface="Arial"/>
                <a:cs typeface="Arial"/>
              </a:rPr>
              <a:t>reserved.    Cisco</a:t>
            </a:r>
            <a:r>
              <a:rPr sz="800" spc="100" dirty="0">
                <a:solidFill>
                  <a:srgbClr val="A6A6A6"/>
                </a:solidFill>
                <a:latin typeface="Arial"/>
                <a:cs typeface="Arial"/>
              </a:rPr>
              <a:t> </a:t>
            </a:r>
            <a:r>
              <a:rPr sz="800" spc="5" dirty="0">
                <a:solidFill>
                  <a:srgbClr val="A6A6A6"/>
                </a:solidFill>
                <a:latin typeface="Arial"/>
                <a:cs typeface="Arial"/>
              </a:rPr>
              <a:t>Confidential</a:t>
            </a:r>
            <a:endParaRPr sz="800">
              <a:latin typeface="Arial"/>
              <a:cs typeface="Arial"/>
            </a:endParaRPr>
          </a:p>
        </p:txBody>
      </p:sp>
      <p:sp>
        <p:nvSpPr>
          <p:cNvPr id="16" name="object 16"/>
          <p:cNvSpPr/>
          <p:nvPr/>
        </p:nvSpPr>
        <p:spPr>
          <a:xfrm>
            <a:off x="3313176" y="1347216"/>
            <a:ext cx="487679" cy="490727"/>
          </a:xfrm>
          <a:prstGeom prst="rect">
            <a:avLst/>
          </a:prstGeom>
          <a:blipFill>
            <a:blip r:embed="rId2" cstate="print"/>
            <a:stretch>
              <a:fillRect/>
            </a:stretch>
          </a:blipFill>
        </p:spPr>
        <p:txBody>
          <a:bodyPr wrap="square" lIns="0" tIns="0" rIns="0" bIns="0" rtlCol="0"/>
          <a:lstStyle/>
          <a:p>
            <a:endParaRPr/>
          </a:p>
        </p:txBody>
      </p:sp>
      <p:sp>
        <p:nvSpPr>
          <p:cNvPr id="17" name="object 17"/>
          <p:cNvSpPr/>
          <p:nvPr/>
        </p:nvSpPr>
        <p:spPr>
          <a:xfrm>
            <a:off x="3313176" y="1837944"/>
            <a:ext cx="774191" cy="890015"/>
          </a:xfrm>
          <a:prstGeom prst="rect">
            <a:avLst/>
          </a:prstGeom>
          <a:blipFill>
            <a:blip r:embed="rId3" cstate="print"/>
            <a:stretch>
              <a:fillRect/>
            </a:stretch>
          </a:blipFill>
        </p:spPr>
        <p:txBody>
          <a:bodyPr wrap="square" lIns="0" tIns="0" rIns="0" bIns="0" rtlCol="0"/>
          <a:lstStyle/>
          <a:p>
            <a:endParaRPr/>
          </a:p>
        </p:txBody>
      </p:sp>
      <p:sp>
        <p:nvSpPr>
          <p:cNvPr id="18" name="object 18"/>
          <p:cNvSpPr/>
          <p:nvPr/>
        </p:nvSpPr>
        <p:spPr>
          <a:xfrm>
            <a:off x="4008501" y="2726308"/>
            <a:ext cx="685800" cy="1190625"/>
          </a:xfrm>
          <a:custGeom>
            <a:avLst/>
            <a:gdLst/>
            <a:ahLst/>
            <a:cxnLst/>
            <a:rect l="l" t="t" r="r" b="b"/>
            <a:pathLst>
              <a:path w="685800" h="1190625">
                <a:moveTo>
                  <a:pt x="11429" y="0"/>
                </a:moveTo>
                <a:lnTo>
                  <a:pt x="0" y="21589"/>
                </a:lnTo>
                <a:lnTo>
                  <a:pt x="64515" y="55879"/>
                </a:lnTo>
                <a:lnTo>
                  <a:pt x="76073" y="34416"/>
                </a:lnTo>
                <a:lnTo>
                  <a:pt x="11429" y="0"/>
                </a:lnTo>
                <a:close/>
              </a:path>
              <a:path w="685800" h="1190625">
                <a:moveTo>
                  <a:pt x="97662" y="46227"/>
                </a:moveTo>
                <a:lnTo>
                  <a:pt x="85725" y="67437"/>
                </a:lnTo>
                <a:lnTo>
                  <a:pt x="142748" y="99060"/>
                </a:lnTo>
                <a:lnTo>
                  <a:pt x="149351" y="102996"/>
                </a:lnTo>
                <a:lnTo>
                  <a:pt x="161798" y="81914"/>
                </a:lnTo>
                <a:lnTo>
                  <a:pt x="154559" y="77724"/>
                </a:lnTo>
                <a:lnTo>
                  <a:pt x="97662" y="46227"/>
                </a:lnTo>
                <a:close/>
              </a:path>
              <a:path w="685800" h="1190625">
                <a:moveTo>
                  <a:pt x="182752" y="94361"/>
                </a:moveTo>
                <a:lnTo>
                  <a:pt x="170434" y="115315"/>
                </a:lnTo>
                <a:lnTo>
                  <a:pt x="177419" y="119379"/>
                </a:lnTo>
                <a:lnTo>
                  <a:pt x="211327" y="140462"/>
                </a:lnTo>
                <a:lnTo>
                  <a:pt x="231901" y="153924"/>
                </a:lnTo>
                <a:lnTo>
                  <a:pt x="245237" y="133476"/>
                </a:lnTo>
                <a:lnTo>
                  <a:pt x="224154" y="119633"/>
                </a:lnTo>
                <a:lnTo>
                  <a:pt x="189737" y="98425"/>
                </a:lnTo>
                <a:lnTo>
                  <a:pt x="182752" y="94361"/>
                </a:lnTo>
                <a:close/>
              </a:path>
              <a:path w="685800" h="1190625">
                <a:moveTo>
                  <a:pt x="265811" y="147319"/>
                </a:moveTo>
                <a:lnTo>
                  <a:pt x="251840" y="167258"/>
                </a:lnTo>
                <a:lnTo>
                  <a:pt x="276860" y="184912"/>
                </a:lnTo>
                <a:lnTo>
                  <a:pt x="308228" y="208661"/>
                </a:lnTo>
                <a:lnTo>
                  <a:pt x="309879" y="210057"/>
                </a:lnTo>
                <a:lnTo>
                  <a:pt x="325374" y="191388"/>
                </a:lnTo>
                <a:lnTo>
                  <a:pt x="322961" y="189356"/>
                </a:lnTo>
                <a:lnTo>
                  <a:pt x="290829" y="164973"/>
                </a:lnTo>
                <a:lnTo>
                  <a:pt x="265811" y="147319"/>
                </a:lnTo>
                <a:close/>
              </a:path>
              <a:path w="685800" h="1190625">
                <a:moveTo>
                  <a:pt x="344170" y="206882"/>
                </a:moveTo>
                <a:lnTo>
                  <a:pt x="328549" y="225678"/>
                </a:lnTo>
                <a:lnTo>
                  <a:pt x="338200" y="233679"/>
                </a:lnTo>
                <a:lnTo>
                  <a:pt x="367157" y="260095"/>
                </a:lnTo>
                <a:lnTo>
                  <a:pt x="381508" y="274446"/>
                </a:lnTo>
                <a:lnTo>
                  <a:pt x="398779" y="257301"/>
                </a:lnTo>
                <a:lnTo>
                  <a:pt x="383539" y="241935"/>
                </a:lnTo>
                <a:lnTo>
                  <a:pt x="353822" y="215011"/>
                </a:lnTo>
                <a:lnTo>
                  <a:pt x="344170" y="206882"/>
                </a:lnTo>
                <a:close/>
              </a:path>
              <a:path w="685800" h="1190625">
                <a:moveTo>
                  <a:pt x="416178" y="275336"/>
                </a:moveTo>
                <a:lnTo>
                  <a:pt x="397890" y="291591"/>
                </a:lnTo>
                <a:lnTo>
                  <a:pt x="420877" y="317373"/>
                </a:lnTo>
                <a:lnTo>
                  <a:pt x="444246" y="347090"/>
                </a:lnTo>
                <a:lnTo>
                  <a:pt x="463423" y="332104"/>
                </a:lnTo>
                <a:lnTo>
                  <a:pt x="439038" y="301116"/>
                </a:lnTo>
                <a:lnTo>
                  <a:pt x="416178" y="275336"/>
                </a:lnTo>
                <a:close/>
              </a:path>
              <a:path w="685800" h="1190625">
                <a:moveTo>
                  <a:pt x="477900" y="352678"/>
                </a:moveTo>
                <a:lnTo>
                  <a:pt x="457835" y="366521"/>
                </a:lnTo>
                <a:lnTo>
                  <a:pt x="468122" y="381507"/>
                </a:lnTo>
                <a:lnTo>
                  <a:pt x="489076" y="416687"/>
                </a:lnTo>
                <a:lnTo>
                  <a:pt x="494919" y="427736"/>
                </a:lnTo>
                <a:lnTo>
                  <a:pt x="516509" y="416432"/>
                </a:lnTo>
                <a:lnTo>
                  <a:pt x="510032" y="404113"/>
                </a:lnTo>
                <a:lnTo>
                  <a:pt x="488188" y="367664"/>
                </a:lnTo>
                <a:lnTo>
                  <a:pt x="477900" y="352678"/>
                </a:lnTo>
                <a:close/>
              </a:path>
              <a:path w="685800" h="1190625">
                <a:moveTo>
                  <a:pt x="527303" y="439038"/>
                </a:moveTo>
                <a:lnTo>
                  <a:pt x="505206" y="449199"/>
                </a:lnTo>
                <a:lnTo>
                  <a:pt x="507873" y="455167"/>
                </a:lnTo>
                <a:lnTo>
                  <a:pt x="516763" y="476630"/>
                </a:lnTo>
                <a:lnTo>
                  <a:pt x="525272" y="499237"/>
                </a:lnTo>
                <a:lnTo>
                  <a:pt x="530860" y="516254"/>
                </a:lnTo>
                <a:lnTo>
                  <a:pt x="553974" y="508507"/>
                </a:lnTo>
                <a:lnTo>
                  <a:pt x="548004" y="490854"/>
                </a:lnTo>
                <a:lnTo>
                  <a:pt x="539369" y="467360"/>
                </a:lnTo>
                <a:lnTo>
                  <a:pt x="530098" y="445007"/>
                </a:lnTo>
                <a:lnTo>
                  <a:pt x="527303" y="439038"/>
                </a:lnTo>
                <a:close/>
              </a:path>
              <a:path w="685800" h="1190625">
                <a:moveTo>
                  <a:pt x="561339" y="532002"/>
                </a:moveTo>
                <a:lnTo>
                  <a:pt x="538099" y="539241"/>
                </a:lnTo>
                <a:lnTo>
                  <a:pt x="540638" y="547751"/>
                </a:lnTo>
                <a:lnTo>
                  <a:pt x="547877" y="573404"/>
                </a:lnTo>
                <a:lnTo>
                  <a:pt x="554609" y="599948"/>
                </a:lnTo>
                <a:lnTo>
                  <a:pt x="556768" y="609091"/>
                </a:lnTo>
                <a:lnTo>
                  <a:pt x="580516" y="603503"/>
                </a:lnTo>
                <a:lnTo>
                  <a:pt x="578231" y="593851"/>
                </a:lnTo>
                <a:lnTo>
                  <a:pt x="571373" y="566927"/>
                </a:lnTo>
                <a:lnTo>
                  <a:pt x="564007" y="540638"/>
                </a:lnTo>
                <a:lnTo>
                  <a:pt x="561339" y="532002"/>
                </a:lnTo>
                <a:close/>
              </a:path>
              <a:path w="685800" h="1190625">
                <a:moveTo>
                  <a:pt x="586104" y="627379"/>
                </a:moveTo>
                <a:lnTo>
                  <a:pt x="562228" y="632587"/>
                </a:lnTo>
                <a:lnTo>
                  <a:pt x="567182" y="654812"/>
                </a:lnTo>
                <a:lnTo>
                  <a:pt x="576961" y="703961"/>
                </a:lnTo>
                <a:lnTo>
                  <a:pt x="600837" y="699262"/>
                </a:lnTo>
                <a:lnTo>
                  <a:pt x="591058" y="649604"/>
                </a:lnTo>
                <a:lnTo>
                  <a:pt x="586104" y="627379"/>
                </a:lnTo>
                <a:close/>
              </a:path>
              <a:path w="685800" h="1190625">
                <a:moveTo>
                  <a:pt x="605154" y="723645"/>
                </a:moveTo>
                <a:lnTo>
                  <a:pt x="581151" y="727710"/>
                </a:lnTo>
                <a:lnTo>
                  <a:pt x="588390" y="769365"/>
                </a:lnTo>
                <a:lnTo>
                  <a:pt x="593089" y="799718"/>
                </a:lnTo>
                <a:lnTo>
                  <a:pt x="617220" y="795908"/>
                </a:lnTo>
                <a:lnTo>
                  <a:pt x="612394" y="765175"/>
                </a:lnTo>
                <a:lnTo>
                  <a:pt x="605154" y="723645"/>
                </a:lnTo>
                <a:close/>
              </a:path>
              <a:path w="685800" h="1190625">
                <a:moveTo>
                  <a:pt x="620902" y="820038"/>
                </a:moveTo>
                <a:lnTo>
                  <a:pt x="596773" y="823849"/>
                </a:lnTo>
                <a:lnTo>
                  <a:pt x="597408" y="827277"/>
                </a:lnTo>
                <a:lnTo>
                  <a:pt x="607060" y="895984"/>
                </a:lnTo>
                <a:lnTo>
                  <a:pt x="631189" y="892682"/>
                </a:lnTo>
                <a:lnTo>
                  <a:pt x="629538" y="880871"/>
                </a:lnTo>
                <a:lnTo>
                  <a:pt x="621411" y="823467"/>
                </a:lnTo>
                <a:lnTo>
                  <a:pt x="620902" y="820038"/>
                </a:lnTo>
                <a:close/>
              </a:path>
              <a:path w="685800" h="1190625">
                <a:moveTo>
                  <a:pt x="634364" y="916939"/>
                </a:moveTo>
                <a:lnTo>
                  <a:pt x="610235" y="920114"/>
                </a:lnTo>
                <a:lnTo>
                  <a:pt x="619506" y="992632"/>
                </a:lnTo>
                <a:lnTo>
                  <a:pt x="643636" y="989583"/>
                </a:lnTo>
                <a:lnTo>
                  <a:pt x="640334" y="963802"/>
                </a:lnTo>
                <a:lnTo>
                  <a:pt x="636904" y="936751"/>
                </a:lnTo>
                <a:lnTo>
                  <a:pt x="634364" y="916939"/>
                </a:lnTo>
                <a:close/>
              </a:path>
              <a:path w="685800" h="1190625">
                <a:moveTo>
                  <a:pt x="646684" y="1013840"/>
                </a:moveTo>
                <a:lnTo>
                  <a:pt x="622426" y="1016761"/>
                </a:lnTo>
                <a:lnTo>
                  <a:pt x="622681" y="1018413"/>
                </a:lnTo>
                <a:lnTo>
                  <a:pt x="625728" y="1042796"/>
                </a:lnTo>
                <a:lnTo>
                  <a:pt x="628776" y="1066291"/>
                </a:lnTo>
                <a:lnTo>
                  <a:pt x="631698" y="1089533"/>
                </a:lnTo>
                <a:lnTo>
                  <a:pt x="655827" y="1086103"/>
                </a:lnTo>
                <a:lnTo>
                  <a:pt x="655827" y="1085468"/>
                </a:lnTo>
                <a:lnTo>
                  <a:pt x="649859" y="1039748"/>
                </a:lnTo>
                <a:lnTo>
                  <a:pt x="646811" y="1015364"/>
                </a:lnTo>
                <a:lnTo>
                  <a:pt x="646684" y="1013840"/>
                </a:lnTo>
                <a:close/>
              </a:path>
              <a:path w="685800" h="1190625">
                <a:moveTo>
                  <a:pt x="635838" y="1117496"/>
                </a:moveTo>
                <a:lnTo>
                  <a:pt x="610235" y="1122045"/>
                </a:lnTo>
                <a:lnTo>
                  <a:pt x="661035" y="1190370"/>
                </a:lnTo>
                <a:lnTo>
                  <a:pt x="679029" y="1129791"/>
                </a:lnTo>
                <a:lnTo>
                  <a:pt x="637921" y="1129791"/>
                </a:lnTo>
                <a:lnTo>
                  <a:pt x="635838" y="1117496"/>
                </a:lnTo>
                <a:close/>
              </a:path>
              <a:path w="685800" h="1190625">
                <a:moveTo>
                  <a:pt x="659902" y="1113220"/>
                </a:moveTo>
                <a:lnTo>
                  <a:pt x="635838" y="1117496"/>
                </a:lnTo>
                <a:lnTo>
                  <a:pt x="637921" y="1129791"/>
                </a:lnTo>
                <a:lnTo>
                  <a:pt x="661924" y="1125854"/>
                </a:lnTo>
                <a:lnTo>
                  <a:pt x="659902" y="1113220"/>
                </a:lnTo>
                <a:close/>
              </a:path>
              <a:path w="685800" h="1190625">
                <a:moveTo>
                  <a:pt x="685291" y="1108709"/>
                </a:moveTo>
                <a:lnTo>
                  <a:pt x="659902" y="1113220"/>
                </a:lnTo>
                <a:lnTo>
                  <a:pt x="661924" y="1125854"/>
                </a:lnTo>
                <a:lnTo>
                  <a:pt x="637921" y="1129791"/>
                </a:lnTo>
                <a:lnTo>
                  <a:pt x="679029" y="1129791"/>
                </a:lnTo>
                <a:lnTo>
                  <a:pt x="685291" y="1108709"/>
                </a:lnTo>
                <a:close/>
              </a:path>
              <a:path w="685800" h="1190625">
                <a:moveTo>
                  <a:pt x="659384" y="1109979"/>
                </a:moveTo>
                <a:lnTo>
                  <a:pt x="635253" y="1114043"/>
                </a:lnTo>
                <a:lnTo>
                  <a:pt x="635838" y="1117496"/>
                </a:lnTo>
                <a:lnTo>
                  <a:pt x="659902" y="1113220"/>
                </a:lnTo>
                <a:lnTo>
                  <a:pt x="659384" y="1109979"/>
                </a:lnTo>
                <a:close/>
              </a:path>
            </a:pathLst>
          </a:custGeom>
          <a:solidFill>
            <a:srgbClr val="737373"/>
          </a:solidFill>
        </p:spPr>
        <p:txBody>
          <a:bodyPr wrap="square" lIns="0" tIns="0" rIns="0" bIns="0" rtlCol="0"/>
          <a:lstStyle/>
          <a:p>
            <a:endParaRPr/>
          </a:p>
        </p:txBody>
      </p:sp>
      <p:sp>
        <p:nvSpPr>
          <p:cNvPr id="19" name="object 19"/>
          <p:cNvSpPr txBox="1"/>
          <p:nvPr/>
        </p:nvSpPr>
        <p:spPr>
          <a:xfrm>
            <a:off x="646887" y="1694814"/>
            <a:ext cx="2487930" cy="1327150"/>
          </a:xfrm>
          <a:prstGeom prst="rect">
            <a:avLst/>
          </a:prstGeom>
        </p:spPr>
        <p:txBody>
          <a:bodyPr vert="horz" wrap="square" lIns="0" tIns="12065" rIns="0" bIns="0" rtlCol="0">
            <a:spAutoFit/>
          </a:bodyPr>
          <a:lstStyle/>
          <a:p>
            <a:pPr marL="12700" marR="8255" indent="39370" algn="r">
              <a:lnSpc>
                <a:spcPct val="101499"/>
              </a:lnSpc>
              <a:spcBef>
                <a:spcPts val="95"/>
              </a:spcBef>
            </a:pPr>
            <a:r>
              <a:rPr sz="2100" spc="55" dirty="0">
                <a:solidFill>
                  <a:srgbClr val="003B55"/>
                </a:solidFill>
                <a:latin typeface="Arial"/>
                <a:cs typeface="Arial"/>
              </a:rPr>
              <a:t>1.</a:t>
            </a:r>
            <a:r>
              <a:rPr sz="2100" spc="25" dirty="0">
                <a:solidFill>
                  <a:srgbClr val="003B55"/>
                </a:solidFill>
                <a:latin typeface="Arial"/>
                <a:cs typeface="Arial"/>
              </a:rPr>
              <a:t> </a:t>
            </a:r>
            <a:r>
              <a:rPr sz="2100" dirty="0">
                <a:solidFill>
                  <a:srgbClr val="003B55"/>
                </a:solidFill>
                <a:latin typeface="Arial"/>
                <a:cs typeface="Arial"/>
              </a:rPr>
              <a:t>Engineers</a:t>
            </a:r>
            <a:r>
              <a:rPr sz="2100" spc="-20" dirty="0">
                <a:solidFill>
                  <a:srgbClr val="003B55"/>
                </a:solidFill>
                <a:latin typeface="Arial"/>
                <a:cs typeface="Arial"/>
              </a:rPr>
              <a:t> </a:t>
            </a:r>
            <a:r>
              <a:rPr sz="2100" spc="35" dirty="0">
                <a:solidFill>
                  <a:srgbClr val="003B55"/>
                </a:solidFill>
                <a:latin typeface="Arial"/>
                <a:cs typeface="Arial"/>
              </a:rPr>
              <a:t>deploy </a:t>
            </a:r>
            <a:r>
              <a:rPr sz="2100" spc="10" dirty="0">
                <a:solidFill>
                  <a:srgbClr val="003B55"/>
                </a:solidFill>
                <a:latin typeface="Arial"/>
                <a:cs typeface="Arial"/>
              </a:rPr>
              <a:t> Ansible</a:t>
            </a:r>
            <a:r>
              <a:rPr sz="2100" spc="-65" dirty="0">
                <a:solidFill>
                  <a:srgbClr val="003B55"/>
                </a:solidFill>
                <a:latin typeface="Arial"/>
                <a:cs typeface="Arial"/>
              </a:rPr>
              <a:t> </a:t>
            </a:r>
            <a:r>
              <a:rPr sz="2100" spc="15" dirty="0">
                <a:solidFill>
                  <a:srgbClr val="003B55"/>
                </a:solidFill>
                <a:latin typeface="Arial"/>
                <a:cs typeface="Arial"/>
              </a:rPr>
              <a:t>playbooks </a:t>
            </a:r>
            <a:r>
              <a:rPr sz="2100" spc="0" dirty="0">
                <a:solidFill>
                  <a:srgbClr val="003B55"/>
                </a:solidFill>
                <a:latin typeface="Arial"/>
                <a:cs typeface="Arial"/>
              </a:rPr>
              <a:t> </a:t>
            </a:r>
            <a:r>
              <a:rPr sz="2100" spc="35" dirty="0">
                <a:solidFill>
                  <a:srgbClr val="003B55"/>
                </a:solidFill>
                <a:latin typeface="Arial"/>
                <a:cs typeface="Arial"/>
              </a:rPr>
              <a:t>written </a:t>
            </a:r>
            <a:r>
              <a:rPr sz="2100" spc="-5" dirty="0">
                <a:solidFill>
                  <a:srgbClr val="003B55"/>
                </a:solidFill>
                <a:latin typeface="Arial"/>
                <a:cs typeface="Arial"/>
              </a:rPr>
              <a:t>in </a:t>
            </a:r>
            <a:r>
              <a:rPr sz="2100" spc="-10" dirty="0">
                <a:solidFill>
                  <a:srgbClr val="003B55"/>
                </a:solidFill>
                <a:latin typeface="Arial"/>
                <a:cs typeface="Arial"/>
              </a:rPr>
              <a:t>YAML </a:t>
            </a:r>
            <a:r>
              <a:rPr sz="2100" spc="50" dirty="0">
                <a:solidFill>
                  <a:srgbClr val="003B55"/>
                </a:solidFill>
                <a:latin typeface="Arial"/>
                <a:cs typeface="Arial"/>
              </a:rPr>
              <a:t>to</a:t>
            </a:r>
            <a:r>
              <a:rPr sz="2100" spc="105" dirty="0">
                <a:solidFill>
                  <a:srgbClr val="003B55"/>
                </a:solidFill>
                <a:latin typeface="Arial"/>
                <a:cs typeface="Arial"/>
              </a:rPr>
              <a:t> </a:t>
            </a:r>
            <a:r>
              <a:rPr sz="2100" spc="-40" dirty="0">
                <a:solidFill>
                  <a:srgbClr val="003B55"/>
                </a:solidFill>
                <a:latin typeface="Arial"/>
                <a:cs typeface="Arial"/>
              </a:rPr>
              <a:t>a</a:t>
            </a:r>
            <a:endParaRPr sz="2100">
              <a:latin typeface="Arial"/>
              <a:cs typeface="Arial"/>
            </a:endParaRPr>
          </a:p>
          <a:p>
            <a:pPr marR="5080" algn="r">
              <a:lnSpc>
                <a:spcPct val="100000"/>
              </a:lnSpc>
              <a:spcBef>
                <a:spcPts val="45"/>
              </a:spcBef>
            </a:pPr>
            <a:r>
              <a:rPr sz="2100" spc="35" dirty="0">
                <a:solidFill>
                  <a:srgbClr val="003B55"/>
                </a:solidFill>
                <a:latin typeface="Arial"/>
                <a:cs typeface="Arial"/>
              </a:rPr>
              <a:t>control</a:t>
            </a:r>
            <a:r>
              <a:rPr sz="2100" spc="-25" dirty="0">
                <a:solidFill>
                  <a:srgbClr val="003B55"/>
                </a:solidFill>
                <a:latin typeface="Arial"/>
                <a:cs typeface="Arial"/>
              </a:rPr>
              <a:t> </a:t>
            </a:r>
            <a:r>
              <a:rPr sz="2100" spc="15" dirty="0">
                <a:solidFill>
                  <a:srgbClr val="003B55"/>
                </a:solidFill>
                <a:latin typeface="Arial"/>
                <a:cs typeface="Arial"/>
              </a:rPr>
              <a:t>station</a:t>
            </a:r>
            <a:endParaRPr sz="2100">
              <a:latin typeface="Arial"/>
              <a:cs typeface="Arial"/>
            </a:endParaRPr>
          </a:p>
        </p:txBody>
      </p:sp>
      <p:sp>
        <p:nvSpPr>
          <p:cNvPr id="20" name="object 20"/>
          <p:cNvSpPr/>
          <p:nvPr/>
        </p:nvSpPr>
        <p:spPr>
          <a:xfrm>
            <a:off x="5629655" y="4486655"/>
            <a:ext cx="774191" cy="893063"/>
          </a:xfrm>
          <a:prstGeom prst="rect">
            <a:avLst/>
          </a:prstGeom>
          <a:blipFill>
            <a:blip r:embed="rId3" cstate="print"/>
            <a:stretch>
              <a:fillRect/>
            </a:stretch>
          </a:blipFill>
        </p:spPr>
        <p:txBody>
          <a:bodyPr wrap="square" lIns="0" tIns="0" rIns="0" bIns="0" rtlCol="0"/>
          <a:lstStyle/>
          <a:p>
            <a:endParaRPr/>
          </a:p>
        </p:txBody>
      </p:sp>
      <p:sp>
        <p:nvSpPr>
          <p:cNvPr id="21" name="object 21"/>
          <p:cNvSpPr/>
          <p:nvPr/>
        </p:nvSpPr>
        <p:spPr>
          <a:xfrm>
            <a:off x="6388608" y="4855464"/>
            <a:ext cx="524256" cy="505968"/>
          </a:xfrm>
          <a:prstGeom prst="rect">
            <a:avLst/>
          </a:prstGeom>
          <a:blipFill>
            <a:blip r:embed="rId4" cstate="print"/>
            <a:stretch>
              <a:fillRect/>
            </a:stretch>
          </a:blipFill>
        </p:spPr>
        <p:txBody>
          <a:bodyPr wrap="square" lIns="0" tIns="0" rIns="0" bIns="0" rtlCol="0"/>
          <a:lstStyle/>
          <a:p>
            <a:endParaRPr/>
          </a:p>
        </p:txBody>
      </p:sp>
      <p:sp>
        <p:nvSpPr>
          <p:cNvPr id="22" name="object 22"/>
          <p:cNvSpPr/>
          <p:nvPr/>
        </p:nvSpPr>
        <p:spPr>
          <a:xfrm>
            <a:off x="6389623" y="2606039"/>
            <a:ext cx="1638935" cy="2004695"/>
          </a:xfrm>
          <a:custGeom>
            <a:avLst/>
            <a:gdLst/>
            <a:ahLst/>
            <a:cxnLst/>
            <a:rect l="l" t="t" r="r" b="b"/>
            <a:pathLst>
              <a:path w="1638934" h="2004695">
                <a:moveTo>
                  <a:pt x="29972" y="1927733"/>
                </a:moveTo>
                <a:lnTo>
                  <a:pt x="0" y="1994535"/>
                </a:lnTo>
                <a:lnTo>
                  <a:pt x="22351" y="2004441"/>
                </a:lnTo>
                <a:lnTo>
                  <a:pt x="52324" y="1937766"/>
                </a:lnTo>
                <a:lnTo>
                  <a:pt x="29972" y="1927733"/>
                </a:lnTo>
                <a:close/>
              </a:path>
              <a:path w="1638934" h="2004695">
                <a:moveTo>
                  <a:pt x="69976" y="1838706"/>
                </a:moveTo>
                <a:lnTo>
                  <a:pt x="68961" y="1841119"/>
                </a:lnTo>
                <a:lnTo>
                  <a:pt x="40004" y="1905508"/>
                </a:lnTo>
                <a:lnTo>
                  <a:pt x="62229" y="1915541"/>
                </a:lnTo>
                <a:lnTo>
                  <a:pt x="92201" y="1848866"/>
                </a:lnTo>
                <a:lnTo>
                  <a:pt x="69976" y="1838706"/>
                </a:lnTo>
                <a:close/>
              </a:path>
              <a:path w="1638934" h="2004695">
                <a:moveTo>
                  <a:pt x="110743" y="1750060"/>
                </a:moveTo>
                <a:lnTo>
                  <a:pt x="80137" y="1816481"/>
                </a:lnTo>
                <a:lnTo>
                  <a:pt x="102362" y="1826641"/>
                </a:lnTo>
                <a:lnTo>
                  <a:pt x="132842" y="1760220"/>
                </a:lnTo>
                <a:lnTo>
                  <a:pt x="110743" y="1750060"/>
                </a:lnTo>
                <a:close/>
              </a:path>
              <a:path w="1638934" h="2004695">
                <a:moveTo>
                  <a:pt x="151637" y="1661414"/>
                </a:moveTo>
                <a:lnTo>
                  <a:pt x="138810" y="1688592"/>
                </a:lnTo>
                <a:lnTo>
                  <a:pt x="120903" y="1727835"/>
                </a:lnTo>
                <a:lnTo>
                  <a:pt x="143001" y="1737995"/>
                </a:lnTo>
                <a:lnTo>
                  <a:pt x="161035" y="1698752"/>
                </a:lnTo>
                <a:lnTo>
                  <a:pt x="173735" y="1671828"/>
                </a:lnTo>
                <a:lnTo>
                  <a:pt x="151637" y="1661414"/>
                </a:lnTo>
                <a:close/>
              </a:path>
              <a:path w="1638934" h="2004695">
                <a:moveTo>
                  <a:pt x="193801" y="1573276"/>
                </a:moveTo>
                <a:lnTo>
                  <a:pt x="174625" y="1612773"/>
                </a:lnTo>
                <a:lnTo>
                  <a:pt x="162051" y="1639316"/>
                </a:lnTo>
                <a:lnTo>
                  <a:pt x="184150" y="1649730"/>
                </a:lnTo>
                <a:lnTo>
                  <a:pt x="196723" y="1623187"/>
                </a:lnTo>
                <a:lnTo>
                  <a:pt x="215773" y="1583944"/>
                </a:lnTo>
                <a:lnTo>
                  <a:pt x="193801" y="1573276"/>
                </a:lnTo>
                <a:close/>
              </a:path>
              <a:path w="1638934" h="2004695">
                <a:moveTo>
                  <a:pt x="236981" y="1485646"/>
                </a:moveTo>
                <a:lnTo>
                  <a:pt x="210947" y="1537589"/>
                </a:lnTo>
                <a:lnTo>
                  <a:pt x="204343" y="1551305"/>
                </a:lnTo>
                <a:lnTo>
                  <a:pt x="226314" y="1561973"/>
                </a:lnTo>
                <a:lnTo>
                  <a:pt x="232918" y="1548257"/>
                </a:lnTo>
                <a:lnTo>
                  <a:pt x="258825" y="1496568"/>
                </a:lnTo>
                <a:lnTo>
                  <a:pt x="236981" y="1485646"/>
                </a:lnTo>
                <a:close/>
              </a:path>
              <a:path w="1638934" h="2004695">
                <a:moveTo>
                  <a:pt x="281431" y="1398651"/>
                </a:moveTo>
                <a:lnTo>
                  <a:pt x="248157" y="1463167"/>
                </a:lnTo>
                <a:lnTo>
                  <a:pt x="247903" y="1463802"/>
                </a:lnTo>
                <a:lnTo>
                  <a:pt x="269621" y="1474724"/>
                </a:lnTo>
                <a:lnTo>
                  <a:pt x="303149" y="1409827"/>
                </a:lnTo>
                <a:lnTo>
                  <a:pt x="281431" y="1398651"/>
                </a:lnTo>
                <a:close/>
              </a:path>
              <a:path w="1638934" h="2004695">
                <a:moveTo>
                  <a:pt x="327659" y="1312291"/>
                </a:moveTo>
                <a:lnTo>
                  <a:pt x="325374" y="1316355"/>
                </a:lnTo>
                <a:lnTo>
                  <a:pt x="292861" y="1376934"/>
                </a:lnTo>
                <a:lnTo>
                  <a:pt x="314451" y="1388491"/>
                </a:lnTo>
                <a:lnTo>
                  <a:pt x="346836" y="1327912"/>
                </a:lnTo>
                <a:lnTo>
                  <a:pt x="348869" y="1324229"/>
                </a:lnTo>
                <a:lnTo>
                  <a:pt x="327659" y="1312291"/>
                </a:lnTo>
                <a:close/>
              </a:path>
              <a:path w="1638934" h="2004695">
                <a:moveTo>
                  <a:pt x="375793" y="1227201"/>
                </a:moveTo>
                <a:lnTo>
                  <a:pt x="365632" y="1244473"/>
                </a:lnTo>
                <a:lnTo>
                  <a:pt x="339598" y="1291082"/>
                </a:lnTo>
                <a:lnTo>
                  <a:pt x="360806" y="1302893"/>
                </a:lnTo>
                <a:lnTo>
                  <a:pt x="386842" y="1256411"/>
                </a:lnTo>
                <a:lnTo>
                  <a:pt x="396875" y="1239520"/>
                </a:lnTo>
                <a:lnTo>
                  <a:pt x="375793" y="1227201"/>
                </a:lnTo>
                <a:close/>
              </a:path>
              <a:path w="1638934" h="2004695">
                <a:moveTo>
                  <a:pt x="426084" y="1143254"/>
                </a:moveTo>
                <a:lnTo>
                  <a:pt x="407289" y="1173734"/>
                </a:lnTo>
                <a:lnTo>
                  <a:pt x="388111" y="1206119"/>
                </a:lnTo>
                <a:lnTo>
                  <a:pt x="409194" y="1218565"/>
                </a:lnTo>
                <a:lnTo>
                  <a:pt x="428244" y="1186053"/>
                </a:lnTo>
                <a:lnTo>
                  <a:pt x="446785" y="1156081"/>
                </a:lnTo>
                <a:lnTo>
                  <a:pt x="426084" y="1143254"/>
                </a:lnTo>
                <a:close/>
              </a:path>
              <a:path w="1638934" h="2004695">
                <a:moveTo>
                  <a:pt x="478535" y="1060704"/>
                </a:moveTo>
                <a:lnTo>
                  <a:pt x="450342" y="1104138"/>
                </a:lnTo>
                <a:lnTo>
                  <a:pt x="438911" y="1122553"/>
                </a:lnTo>
                <a:lnTo>
                  <a:pt x="459612" y="1135380"/>
                </a:lnTo>
                <a:lnTo>
                  <a:pt x="471043" y="1116965"/>
                </a:lnTo>
                <a:lnTo>
                  <a:pt x="498982" y="1074039"/>
                </a:lnTo>
                <a:lnTo>
                  <a:pt x="478535" y="1060704"/>
                </a:lnTo>
                <a:close/>
              </a:path>
              <a:path w="1638934" h="2004695">
                <a:moveTo>
                  <a:pt x="533653" y="979805"/>
                </a:moveTo>
                <a:lnTo>
                  <a:pt x="494792" y="1035812"/>
                </a:lnTo>
                <a:lnTo>
                  <a:pt x="491871" y="1040384"/>
                </a:lnTo>
                <a:lnTo>
                  <a:pt x="512318" y="1053592"/>
                </a:lnTo>
                <a:lnTo>
                  <a:pt x="515239" y="1049020"/>
                </a:lnTo>
                <a:lnTo>
                  <a:pt x="553720" y="993775"/>
                </a:lnTo>
                <a:lnTo>
                  <a:pt x="533653" y="979805"/>
                </a:lnTo>
                <a:close/>
              </a:path>
              <a:path w="1638934" h="2004695">
                <a:moveTo>
                  <a:pt x="591693" y="900557"/>
                </a:moveTo>
                <a:lnTo>
                  <a:pt x="589279" y="903605"/>
                </a:lnTo>
                <a:lnTo>
                  <a:pt x="548004" y="959738"/>
                </a:lnTo>
                <a:lnTo>
                  <a:pt x="567562" y="974217"/>
                </a:lnTo>
                <a:lnTo>
                  <a:pt x="608965" y="917956"/>
                </a:lnTo>
                <a:lnTo>
                  <a:pt x="610870" y="915670"/>
                </a:lnTo>
                <a:lnTo>
                  <a:pt x="591693" y="900557"/>
                </a:lnTo>
                <a:close/>
              </a:path>
              <a:path w="1638934" h="2004695">
                <a:moveTo>
                  <a:pt x="652652" y="823976"/>
                </a:moveTo>
                <a:lnTo>
                  <a:pt x="639445" y="839851"/>
                </a:lnTo>
                <a:lnTo>
                  <a:pt x="606805" y="881380"/>
                </a:lnTo>
                <a:lnTo>
                  <a:pt x="625855" y="896493"/>
                </a:lnTo>
                <a:lnTo>
                  <a:pt x="658495" y="854963"/>
                </a:lnTo>
                <a:lnTo>
                  <a:pt x="671449" y="839724"/>
                </a:lnTo>
                <a:lnTo>
                  <a:pt x="652652" y="823976"/>
                </a:lnTo>
                <a:close/>
              </a:path>
              <a:path w="1638934" h="2004695">
                <a:moveTo>
                  <a:pt x="717803" y="750570"/>
                </a:moveTo>
                <a:lnTo>
                  <a:pt x="693801" y="776477"/>
                </a:lnTo>
                <a:lnTo>
                  <a:pt x="668654" y="805180"/>
                </a:lnTo>
                <a:lnTo>
                  <a:pt x="686943" y="821309"/>
                </a:lnTo>
                <a:lnTo>
                  <a:pt x="712089" y="792607"/>
                </a:lnTo>
                <a:lnTo>
                  <a:pt x="735710" y="767080"/>
                </a:lnTo>
                <a:lnTo>
                  <a:pt x="717803" y="750570"/>
                </a:lnTo>
                <a:close/>
              </a:path>
              <a:path w="1638934" h="2004695">
                <a:moveTo>
                  <a:pt x="786383" y="680212"/>
                </a:moveTo>
                <a:lnTo>
                  <a:pt x="785622" y="680847"/>
                </a:lnTo>
                <a:lnTo>
                  <a:pt x="753872" y="712724"/>
                </a:lnTo>
                <a:lnTo>
                  <a:pt x="734695" y="732789"/>
                </a:lnTo>
                <a:lnTo>
                  <a:pt x="752348" y="749681"/>
                </a:lnTo>
                <a:lnTo>
                  <a:pt x="771525" y="729742"/>
                </a:lnTo>
                <a:lnTo>
                  <a:pt x="803275" y="697738"/>
                </a:lnTo>
                <a:lnTo>
                  <a:pt x="786383" y="680212"/>
                </a:lnTo>
                <a:close/>
              </a:path>
              <a:path w="1638934" h="2004695">
                <a:moveTo>
                  <a:pt x="857250" y="612901"/>
                </a:moveTo>
                <a:lnTo>
                  <a:pt x="852297" y="617347"/>
                </a:lnTo>
                <a:lnTo>
                  <a:pt x="818642" y="649097"/>
                </a:lnTo>
                <a:lnTo>
                  <a:pt x="803909" y="663321"/>
                </a:lnTo>
                <a:lnTo>
                  <a:pt x="820801" y="680847"/>
                </a:lnTo>
                <a:lnTo>
                  <a:pt x="835532" y="666623"/>
                </a:lnTo>
                <a:lnTo>
                  <a:pt x="869060" y="635126"/>
                </a:lnTo>
                <a:lnTo>
                  <a:pt x="873759" y="630809"/>
                </a:lnTo>
                <a:lnTo>
                  <a:pt x="857250" y="612901"/>
                </a:lnTo>
                <a:close/>
              </a:path>
              <a:path w="1638934" h="2004695">
                <a:moveTo>
                  <a:pt x="930021" y="547370"/>
                </a:moveTo>
                <a:lnTo>
                  <a:pt x="886841" y="585724"/>
                </a:lnTo>
                <a:lnTo>
                  <a:pt x="875283" y="596392"/>
                </a:lnTo>
                <a:lnTo>
                  <a:pt x="891794" y="614299"/>
                </a:lnTo>
                <a:lnTo>
                  <a:pt x="903351" y="603758"/>
                </a:lnTo>
                <a:lnTo>
                  <a:pt x="946023" y="565785"/>
                </a:lnTo>
                <a:lnTo>
                  <a:pt x="930021" y="547370"/>
                </a:lnTo>
                <a:close/>
              </a:path>
              <a:path w="1638934" h="2004695">
                <a:moveTo>
                  <a:pt x="1004189" y="483870"/>
                </a:moveTo>
                <a:lnTo>
                  <a:pt x="957833" y="523113"/>
                </a:lnTo>
                <a:lnTo>
                  <a:pt x="948435" y="531368"/>
                </a:lnTo>
                <a:lnTo>
                  <a:pt x="964437" y="549783"/>
                </a:lnTo>
                <a:lnTo>
                  <a:pt x="973835" y="541527"/>
                </a:lnTo>
                <a:lnTo>
                  <a:pt x="1019936" y="502412"/>
                </a:lnTo>
                <a:lnTo>
                  <a:pt x="1004189" y="483870"/>
                </a:lnTo>
                <a:close/>
              </a:path>
              <a:path w="1638934" h="2004695">
                <a:moveTo>
                  <a:pt x="1079500" y="421513"/>
                </a:moveTo>
                <a:lnTo>
                  <a:pt x="1030351" y="461645"/>
                </a:lnTo>
                <a:lnTo>
                  <a:pt x="1022730" y="467995"/>
                </a:lnTo>
                <a:lnTo>
                  <a:pt x="1038605" y="486663"/>
                </a:lnTo>
                <a:lnTo>
                  <a:pt x="1046099" y="480187"/>
                </a:lnTo>
                <a:lnTo>
                  <a:pt x="1094867" y="440309"/>
                </a:lnTo>
                <a:lnTo>
                  <a:pt x="1079500" y="421513"/>
                </a:lnTo>
                <a:close/>
              </a:path>
              <a:path w="1638934" h="2004695">
                <a:moveTo>
                  <a:pt x="1155573" y="360299"/>
                </a:moveTo>
                <a:lnTo>
                  <a:pt x="1103756" y="401574"/>
                </a:lnTo>
                <a:lnTo>
                  <a:pt x="1098296" y="406019"/>
                </a:lnTo>
                <a:lnTo>
                  <a:pt x="1113790" y="424942"/>
                </a:lnTo>
                <a:lnTo>
                  <a:pt x="1119251" y="420497"/>
                </a:lnTo>
                <a:lnTo>
                  <a:pt x="1170812" y="379349"/>
                </a:lnTo>
                <a:lnTo>
                  <a:pt x="1155573" y="360299"/>
                </a:lnTo>
                <a:close/>
              </a:path>
              <a:path w="1638934" h="2004695">
                <a:moveTo>
                  <a:pt x="1232407" y="299974"/>
                </a:moveTo>
                <a:lnTo>
                  <a:pt x="1212850" y="315087"/>
                </a:lnTo>
                <a:lnTo>
                  <a:pt x="1176781" y="343408"/>
                </a:lnTo>
                <a:lnTo>
                  <a:pt x="1174623" y="345059"/>
                </a:lnTo>
                <a:lnTo>
                  <a:pt x="1189862" y="364109"/>
                </a:lnTo>
                <a:lnTo>
                  <a:pt x="1192022" y="362458"/>
                </a:lnTo>
                <a:lnTo>
                  <a:pt x="1227835" y="334263"/>
                </a:lnTo>
                <a:lnTo>
                  <a:pt x="1247394" y="319150"/>
                </a:lnTo>
                <a:lnTo>
                  <a:pt x="1232407" y="299974"/>
                </a:lnTo>
                <a:close/>
              </a:path>
              <a:path w="1638934" h="2004695">
                <a:moveTo>
                  <a:pt x="1309751" y="240284"/>
                </a:moveTo>
                <a:lnTo>
                  <a:pt x="1251711" y="284988"/>
                </a:lnTo>
                <a:lnTo>
                  <a:pt x="1266698" y="304292"/>
                </a:lnTo>
                <a:lnTo>
                  <a:pt x="1298448" y="279654"/>
                </a:lnTo>
                <a:lnTo>
                  <a:pt x="1324609" y="259714"/>
                </a:lnTo>
                <a:lnTo>
                  <a:pt x="1309751" y="240284"/>
                </a:lnTo>
                <a:close/>
              </a:path>
              <a:path w="1638934" h="2004695">
                <a:moveTo>
                  <a:pt x="1387348" y="181229"/>
                </a:moveTo>
                <a:lnTo>
                  <a:pt x="1329181" y="225551"/>
                </a:lnTo>
                <a:lnTo>
                  <a:pt x="1343914" y="244856"/>
                </a:lnTo>
                <a:lnTo>
                  <a:pt x="1402079" y="200660"/>
                </a:lnTo>
                <a:lnTo>
                  <a:pt x="1387348" y="181229"/>
                </a:lnTo>
                <a:close/>
              </a:path>
              <a:path w="1638934" h="2004695">
                <a:moveTo>
                  <a:pt x="1465072" y="122300"/>
                </a:moveTo>
                <a:lnTo>
                  <a:pt x="1415542" y="159765"/>
                </a:lnTo>
                <a:lnTo>
                  <a:pt x="1406778" y="166497"/>
                </a:lnTo>
                <a:lnTo>
                  <a:pt x="1421510" y="185927"/>
                </a:lnTo>
                <a:lnTo>
                  <a:pt x="1430274" y="179197"/>
                </a:lnTo>
                <a:lnTo>
                  <a:pt x="1460753" y="156210"/>
                </a:lnTo>
                <a:lnTo>
                  <a:pt x="1479803" y="141605"/>
                </a:lnTo>
                <a:lnTo>
                  <a:pt x="1465072" y="122300"/>
                </a:lnTo>
                <a:close/>
              </a:path>
              <a:path w="1638934" h="2004695">
                <a:moveTo>
                  <a:pt x="1542287" y="62992"/>
                </a:moveTo>
                <a:lnTo>
                  <a:pt x="1484502" y="107442"/>
                </a:lnTo>
                <a:lnTo>
                  <a:pt x="1499234" y="126873"/>
                </a:lnTo>
                <a:lnTo>
                  <a:pt x="1543557" y="92963"/>
                </a:lnTo>
                <a:lnTo>
                  <a:pt x="1557274" y="82169"/>
                </a:lnTo>
                <a:lnTo>
                  <a:pt x="1542287" y="62992"/>
                </a:lnTo>
                <a:close/>
              </a:path>
              <a:path w="1638934" h="2004695">
                <a:moveTo>
                  <a:pt x="1625125" y="31114"/>
                </a:moveTo>
                <a:lnTo>
                  <a:pt x="1582293" y="31114"/>
                </a:lnTo>
                <a:lnTo>
                  <a:pt x="1597532" y="50037"/>
                </a:lnTo>
                <a:lnTo>
                  <a:pt x="1587835" y="57854"/>
                </a:lnTo>
                <a:lnTo>
                  <a:pt x="1604518" y="77977"/>
                </a:lnTo>
                <a:lnTo>
                  <a:pt x="1625125" y="31114"/>
                </a:lnTo>
                <a:close/>
              </a:path>
              <a:path w="1638934" h="2004695">
                <a:moveTo>
                  <a:pt x="1572297" y="39111"/>
                </a:moveTo>
                <a:lnTo>
                  <a:pt x="1561337" y="47879"/>
                </a:lnTo>
                <a:lnTo>
                  <a:pt x="1576577" y="66929"/>
                </a:lnTo>
                <a:lnTo>
                  <a:pt x="1587835" y="57854"/>
                </a:lnTo>
                <a:lnTo>
                  <a:pt x="1572297" y="39111"/>
                </a:lnTo>
                <a:close/>
              </a:path>
              <a:path w="1638934" h="2004695">
                <a:moveTo>
                  <a:pt x="1582293" y="31114"/>
                </a:moveTo>
                <a:lnTo>
                  <a:pt x="1572297" y="39111"/>
                </a:lnTo>
                <a:lnTo>
                  <a:pt x="1587835" y="57854"/>
                </a:lnTo>
                <a:lnTo>
                  <a:pt x="1597532" y="50037"/>
                </a:lnTo>
                <a:lnTo>
                  <a:pt x="1582293" y="31114"/>
                </a:lnTo>
                <a:close/>
              </a:path>
              <a:path w="1638934" h="2004695">
                <a:moveTo>
                  <a:pt x="1638807" y="0"/>
                </a:moveTo>
                <a:lnTo>
                  <a:pt x="1555877" y="19304"/>
                </a:lnTo>
                <a:lnTo>
                  <a:pt x="1572297" y="39111"/>
                </a:lnTo>
                <a:lnTo>
                  <a:pt x="1582293" y="31114"/>
                </a:lnTo>
                <a:lnTo>
                  <a:pt x="1625125" y="31114"/>
                </a:lnTo>
                <a:lnTo>
                  <a:pt x="1638807" y="0"/>
                </a:lnTo>
                <a:close/>
              </a:path>
            </a:pathLst>
          </a:custGeom>
          <a:solidFill>
            <a:srgbClr val="737373"/>
          </a:solidFill>
        </p:spPr>
        <p:txBody>
          <a:bodyPr wrap="square" lIns="0" tIns="0" rIns="0" bIns="0" rtlCol="0"/>
          <a:lstStyle/>
          <a:p>
            <a:endParaRPr/>
          </a:p>
        </p:txBody>
      </p:sp>
      <p:sp>
        <p:nvSpPr>
          <p:cNvPr id="23" name="object 23"/>
          <p:cNvSpPr/>
          <p:nvPr/>
        </p:nvSpPr>
        <p:spPr>
          <a:xfrm>
            <a:off x="6392545" y="2840608"/>
            <a:ext cx="2647950" cy="1789430"/>
          </a:xfrm>
          <a:custGeom>
            <a:avLst/>
            <a:gdLst/>
            <a:ahLst/>
            <a:cxnLst/>
            <a:rect l="l" t="t" r="r" b="b"/>
            <a:pathLst>
              <a:path w="2647950" h="1789429">
                <a:moveTo>
                  <a:pt x="54228" y="1721992"/>
                </a:moveTo>
                <a:lnTo>
                  <a:pt x="0" y="1771141"/>
                </a:lnTo>
                <a:lnTo>
                  <a:pt x="16509" y="1789176"/>
                </a:lnTo>
                <a:lnTo>
                  <a:pt x="70612" y="1740027"/>
                </a:lnTo>
                <a:lnTo>
                  <a:pt x="54228" y="1721992"/>
                </a:lnTo>
                <a:close/>
              </a:path>
              <a:path w="2647950" h="1789429">
                <a:moveTo>
                  <a:pt x="126364" y="1656333"/>
                </a:moveTo>
                <a:lnTo>
                  <a:pt x="72262" y="1705609"/>
                </a:lnTo>
                <a:lnTo>
                  <a:pt x="88645" y="1723643"/>
                </a:lnTo>
                <a:lnTo>
                  <a:pt x="142875" y="1674495"/>
                </a:lnTo>
                <a:lnTo>
                  <a:pt x="126364" y="1656333"/>
                </a:lnTo>
                <a:close/>
              </a:path>
              <a:path w="2647950" h="1789429">
                <a:moveTo>
                  <a:pt x="198754" y="1590802"/>
                </a:moveTo>
                <a:lnTo>
                  <a:pt x="144525" y="1639951"/>
                </a:lnTo>
                <a:lnTo>
                  <a:pt x="160908" y="1657984"/>
                </a:lnTo>
                <a:lnTo>
                  <a:pt x="215010" y="1608963"/>
                </a:lnTo>
                <a:lnTo>
                  <a:pt x="198754" y="1590802"/>
                </a:lnTo>
                <a:close/>
              </a:path>
              <a:path w="2647950" h="1789429">
                <a:moveTo>
                  <a:pt x="271145" y="1525396"/>
                </a:moveTo>
                <a:lnTo>
                  <a:pt x="216788" y="1574545"/>
                </a:lnTo>
                <a:lnTo>
                  <a:pt x="233172" y="1592579"/>
                </a:lnTo>
                <a:lnTo>
                  <a:pt x="287400" y="1543558"/>
                </a:lnTo>
                <a:lnTo>
                  <a:pt x="271145" y="1525396"/>
                </a:lnTo>
                <a:close/>
              </a:path>
              <a:path w="2647950" h="1789429">
                <a:moveTo>
                  <a:pt x="343661" y="1460245"/>
                </a:moveTo>
                <a:lnTo>
                  <a:pt x="289178" y="1509140"/>
                </a:lnTo>
                <a:lnTo>
                  <a:pt x="305561" y="1527302"/>
                </a:lnTo>
                <a:lnTo>
                  <a:pt x="359918" y="1478407"/>
                </a:lnTo>
                <a:lnTo>
                  <a:pt x="343661" y="1460245"/>
                </a:lnTo>
                <a:close/>
              </a:path>
              <a:path w="2647950" h="1789429">
                <a:moveTo>
                  <a:pt x="416432" y="1395348"/>
                </a:moveTo>
                <a:lnTo>
                  <a:pt x="361823" y="1443989"/>
                </a:lnTo>
                <a:lnTo>
                  <a:pt x="378078" y="1462151"/>
                </a:lnTo>
                <a:lnTo>
                  <a:pt x="432688" y="1413509"/>
                </a:lnTo>
                <a:lnTo>
                  <a:pt x="416432" y="1395348"/>
                </a:lnTo>
                <a:close/>
              </a:path>
              <a:path w="2647950" h="1789429">
                <a:moveTo>
                  <a:pt x="489584" y="1330705"/>
                </a:moveTo>
                <a:lnTo>
                  <a:pt x="434721" y="1379092"/>
                </a:lnTo>
                <a:lnTo>
                  <a:pt x="450850" y="1397380"/>
                </a:lnTo>
                <a:lnTo>
                  <a:pt x="505713" y="1348993"/>
                </a:lnTo>
                <a:lnTo>
                  <a:pt x="489584" y="1330705"/>
                </a:lnTo>
                <a:close/>
              </a:path>
              <a:path w="2647950" h="1789429">
                <a:moveTo>
                  <a:pt x="562990" y="1266316"/>
                </a:moveTo>
                <a:lnTo>
                  <a:pt x="507873" y="1314577"/>
                </a:lnTo>
                <a:lnTo>
                  <a:pt x="524001" y="1332864"/>
                </a:lnTo>
                <a:lnTo>
                  <a:pt x="579120" y="1284732"/>
                </a:lnTo>
                <a:lnTo>
                  <a:pt x="562990" y="1266316"/>
                </a:lnTo>
                <a:close/>
              </a:path>
              <a:path w="2647950" h="1789429">
                <a:moveTo>
                  <a:pt x="636777" y="1202435"/>
                </a:moveTo>
                <a:lnTo>
                  <a:pt x="604011" y="1230629"/>
                </a:lnTo>
                <a:lnTo>
                  <a:pt x="581405" y="1250314"/>
                </a:lnTo>
                <a:lnTo>
                  <a:pt x="597407" y="1268729"/>
                </a:lnTo>
                <a:lnTo>
                  <a:pt x="620013" y="1249045"/>
                </a:lnTo>
                <a:lnTo>
                  <a:pt x="652779" y="1220977"/>
                </a:lnTo>
                <a:lnTo>
                  <a:pt x="636777" y="1202435"/>
                </a:lnTo>
                <a:close/>
              </a:path>
              <a:path w="2647950" h="1789429">
                <a:moveTo>
                  <a:pt x="711073" y="1139063"/>
                </a:moveTo>
                <a:lnTo>
                  <a:pt x="689736" y="1156970"/>
                </a:lnTo>
                <a:lnTo>
                  <a:pt x="655320" y="1186560"/>
                </a:lnTo>
                <a:lnTo>
                  <a:pt x="671195" y="1205102"/>
                </a:lnTo>
                <a:lnTo>
                  <a:pt x="705611" y="1175511"/>
                </a:lnTo>
                <a:lnTo>
                  <a:pt x="726821" y="1157604"/>
                </a:lnTo>
                <a:lnTo>
                  <a:pt x="711073" y="1139063"/>
                </a:lnTo>
                <a:close/>
              </a:path>
              <a:path w="2647950" h="1789429">
                <a:moveTo>
                  <a:pt x="785749" y="1076070"/>
                </a:moveTo>
                <a:lnTo>
                  <a:pt x="775207" y="1084833"/>
                </a:lnTo>
                <a:lnTo>
                  <a:pt x="729614" y="1123314"/>
                </a:lnTo>
                <a:lnTo>
                  <a:pt x="745362" y="1141857"/>
                </a:lnTo>
                <a:lnTo>
                  <a:pt x="790828" y="1103502"/>
                </a:lnTo>
                <a:lnTo>
                  <a:pt x="801243" y="1094866"/>
                </a:lnTo>
                <a:lnTo>
                  <a:pt x="785749" y="1076070"/>
                </a:lnTo>
                <a:close/>
              </a:path>
              <a:path w="2647950" h="1789429">
                <a:moveTo>
                  <a:pt x="860932" y="1013840"/>
                </a:moveTo>
                <a:lnTo>
                  <a:pt x="860425" y="1014348"/>
                </a:lnTo>
                <a:lnTo>
                  <a:pt x="804545" y="1060577"/>
                </a:lnTo>
                <a:lnTo>
                  <a:pt x="820038" y="1079372"/>
                </a:lnTo>
                <a:lnTo>
                  <a:pt x="875919" y="1033017"/>
                </a:lnTo>
                <a:lnTo>
                  <a:pt x="876300" y="1032763"/>
                </a:lnTo>
                <a:lnTo>
                  <a:pt x="860932" y="1013840"/>
                </a:lnTo>
                <a:close/>
              </a:path>
              <a:path w="2647950" h="1789429">
                <a:moveTo>
                  <a:pt x="936751" y="952372"/>
                </a:moveTo>
                <a:lnTo>
                  <a:pt x="879982" y="998473"/>
                </a:lnTo>
                <a:lnTo>
                  <a:pt x="895223" y="1017396"/>
                </a:lnTo>
                <a:lnTo>
                  <a:pt x="952119" y="971422"/>
                </a:lnTo>
                <a:lnTo>
                  <a:pt x="936751" y="952372"/>
                </a:lnTo>
                <a:close/>
              </a:path>
              <a:path w="2647950" h="1789429">
                <a:moveTo>
                  <a:pt x="1013332" y="891793"/>
                </a:moveTo>
                <a:lnTo>
                  <a:pt x="955928" y="937132"/>
                </a:lnTo>
                <a:lnTo>
                  <a:pt x="971041" y="956182"/>
                </a:lnTo>
                <a:lnTo>
                  <a:pt x="1028446" y="910843"/>
                </a:lnTo>
                <a:lnTo>
                  <a:pt x="1013332" y="891793"/>
                </a:lnTo>
                <a:close/>
              </a:path>
              <a:path w="2647950" h="1789429">
                <a:moveTo>
                  <a:pt x="1090676" y="831976"/>
                </a:moveTo>
                <a:lnTo>
                  <a:pt x="1072006" y="846073"/>
                </a:lnTo>
                <a:lnTo>
                  <a:pt x="1032636" y="876553"/>
                </a:lnTo>
                <a:lnTo>
                  <a:pt x="1047496" y="895857"/>
                </a:lnTo>
                <a:lnTo>
                  <a:pt x="1086865" y="865377"/>
                </a:lnTo>
                <a:lnTo>
                  <a:pt x="1105407" y="851407"/>
                </a:lnTo>
                <a:lnTo>
                  <a:pt x="1090676" y="831976"/>
                </a:lnTo>
                <a:close/>
              </a:path>
              <a:path w="2647950" h="1789429">
                <a:moveTo>
                  <a:pt x="1168780" y="773176"/>
                </a:moveTo>
                <a:lnTo>
                  <a:pt x="1110106" y="817117"/>
                </a:lnTo>
                <a:lnTo>
                  <a:pt x="1124838" y="836548"/>
                </a:lnTo>
                <a:lnTo>
                  <a:pt x="1128776" y="833501"/>
                </a:lnTo>
                <a:lnTo>
                  <a:pt x="1170558" y="802132"/>
                </a:lnTo>
                <a:lnTo>
                  <a:pt x="1183258" y="792860"/>
                </a:lnTo>
                <a:lnTo>
                  <a:pt x="1168780" y="773176"/>
                </a:lnTo>
                <a:close/>
              </a:path>
              <a:path w="2647950" h="1789429">
                <a:moveTo>
                  <a:pt x="1247902" y="715771"/>
                </a:moveTo>
                <a:lnTo>
                  <a:pt x="1239520" y="721613"/>
                </a:lnTo>
                <a:lnTo>
                  <a:pt x="1197863" y="751839"/>
                </a:lnTo>
                <a:lnTo>
                  <a:pt x="1188465" y="758825"/>
                </a:lnTo>
                <a:lnTo>
                  <a:pt x="1202816" y="778382"/>
                </a:lnTo>
                <a:lnTo>
                  <a:pt x="1253871" y="741426"/>
                </a:lnTo>
                <a:lnTo>
                  <a:pt x="1261999" y="735711"/>
                </a:lnTo>
                <a:lnTo>
                  <a:pt x="1247902" y="715771"/>
                </a:lnTo>
                <a:close/>
              </a:path>
              <a:path w="2647950" h="1789429">
                <a:moveTo>
                  <a:pt x="1328038" y="659764"/>
                </a:moveTo>
                <a:lnTo>
                  <a:pt x="1322704" y="663320"/>
                </a:lnTo>
                <a:lnTo>
                  <a:pt x="1281176" y="692150"/>
                </a:lnTo>
                <a:lnTo>
                  <a:pt x="1267713" y="701675"/>
                </a:lnTo>
                <a:lnTo>
                  <a:pt x="1281810" y="721613"/>
                </a:lnTo>
                <a:lnTo>
                  <a:pt x="1295273" y="712088"/>
                </a:lnTo>
                <a:lnTo>
                  <a:pt x="1336548" y="683387"/>
                </a:lnTo>
                <a:lnTo>
                  <a:pt x="1341754" y="679957"/>
                </a:lnTo>
                <a:lnTo>
                  <a:pt x="1328038" y="659764"/>
                </a:lnTo>
                <a:close/>
              </a:path>
              <a:path w="2647950" h="1789429">
                <a:moveTo>
                  <a:pt x="1409191" y="605281"/>
                </a:moveTo>
                <a:lnTo>
                  <a:pt x="1364106" y="635126"/>
                </a:lnTo>
                <a:lnTo>
                  <a:pt x="1348104" y="646049"/>
                </a:lnTo>
                <a:lnTo>
                  <a:pt x="1361821" y="666241"/>
                </a:lnTo>
                <a:lnTo>
                  <a:pt x="1377823" y="655319"/>
                </a:lnTo>
                <a:lnTo>
                  <a:pt x="1418844" y="628014"/>
                </a:lnTo>
                <a:lnTo>
                  <a:pt x="1422527" y="625728"/>
                </a:lnTo>
                <a:lnTo>
                  <a:pt x="1409191" y="605281"/>
                </a:lnTo>
                <a:close/>
              </a:path>
              <a:path w="2647950" h="1789429">
                <a:moveTo>
                  <a:pt x="1491487" y="552576"/>
                </a:moveTo>
                <a:lnTo>
                  <a:pt x="1446529" y="581025"/>
                </a:lnTo>
                <a:lnTo>
                  <a:pt x="1429638" y="591946"/>
                </a:lnTo>
                <a:lnTo>
                  <a:pt x="1442974" y="612393"/>
                </a:lnTo>
                <a:lnTo>
                  <a:pt x="1459864" y="601471"/>
                </a:lnTo>
                <a:lnTo>
                  <a:pt x="1500631" y="575563"/>
                </a:lnTo>
                <a:lnTo>
                  <a:pt x="1504441" y="573277"/>
                </a:lnTo>
                <a:lnTo>
                  <a:pt x="1491487" y="552576"/>
                </a:lnTo>
                <a:close/>
              </a:path>
              <a:path w="2647950" h="1789429">
                <a:moveTo>
                  <a:pt x="1574927" y="501523"/>
                </a:moveTo>
                <a:lnTo>
                  <a:pt x="1569338" y="504825"/>
                </a:lnTo>
                <a:lnTo>
                  <a:pt x="1512315" y="539623"/>
                </a:lnTo>
                <a:lnTo>
                  <a:pt x="1525143" y="560451"/>
                </a:lnTo>
                <a:lnTo>
                  <a:pt x="1541399" y="550290"/>
                </a:lnTo>
                <a:lnTo>
                  <a:pt x="1582038" y="525652"/>
                </a:lnTo>
                <a:lnTo>
                  <a:pt x="1587373" y="522477"/>
                </a:lnTo>
                <a:lnTo>
                  <a:pt x="1574927" y="501523"/>
                </a:lnTo>
                <a:close/>
              </a:path>
              <a:path w="2647950" h="1789429">
                <a:moveTo>
                  <a:pt x="1659381" y="452246"/>
                </a:moveTo>
                <a:lnTo>
                  <a:pt x="1610105" y="480694"/>
                </a:lnTo>
                <a:lnTo>
                  <a:pt x="1596008" y="489076"/>
                </a:lnTo>
                <a:lnTo>
                  <a:pt x="1608327" y="510031"/>
                </a:lnTo>
                <a:lnTo>
                  <a:pt x="1662937" y="478281"/>
                </a:lnTo>
                <a:lnTo>
                  <a:pt x="1671447" y="473455"/>
                </a:lnTo>
                <a:lnTo>
                  <a:pt x="1659381" y="452246"/>
                </a:lnTo>
                <a:close/>
              </a:path>
              <a:path w="2647950" h="1789429">
                <a:moveTo>
                  <a:pt x="1744852" y="404875"/>
                </a:moveTo>
                <a:lnTo>
                  <a:pt x="1691258" y="434213"/>
                </a:lnTo>
                <a:lnTo>
                  <a:pt x="1680590" y="440181"/>
                </a:lnTo>
                <a:lnTo>
                  <a:pt x="1692655" y="461390"/>
                </a:lnTo>
                <a:lnTo>
                  <a:pt x="1703197" y="455421"/>
                </a:lnTo>
                <a:lnTo>
                  <a:pt x="1756536" y="426212"/>
                </a:lnTo>
                <a:lnTo>
                  <a:pt x="1744852" y="404875"/>
                </a:lnTo>
                <a:close/>
              </a:path>
              <a:path w="2647950" h="1789429">
                <a:moveTo>
                  <a:pt x="1831085" y="358775"/>
                </a:moveTo>
                <a:lnTo>
                  <a:pt x="1766188" y="393064"/>
                </a:lnTo>
                <a:lnTo>
                  <a:pt x="1778000" y="414527"/>
                </a:lnTo>
                <a:lnTo>
                  <a:pt x="1783714" y="411352"/>
                </a:lnTo>
                <a:lnTo>
                  <a:pt x="1842388" y="380364"/>
                </a:lnTo>
                <a:lnTo>
                  <a:pt x="1831085" y="358775"/>
                </a:lnTo>
                <a:close/>
              </a:path>
              <a:path w="2647950" h="1789429">
                <a:moveTo>
                  <a:pt x="1918080" y="314325"/>
                </a:moveTo>
                <a:lnTo>
                  <a:pt x="1852802" y="347344"/>
                </a:lnTo>
                <a:lnTo>
                  <a:pt x="1863852" y="369062"/>
                </a:lnTo>
                <a:lnTo>
                  <a:pt x="1929129" y="336041"/>
                </a:lnTo>
                <a:lnTo>
                  <a:pt x="1918080" y="314325"/>
                </a:lnTo>
                <a:close/>
              </a:path>
              <a:path w="2647950" h="1789429">
                <a:moveTo>
                  <a:pt x="2005837" y="271399"/>
                </a:moveTo>
                <a:lnTo>
                  <a:pt x="1940052" y="303275"/>
                </a:lnTo>
                <a:lnTo>
                  <a:pt x="1950720" y="325246"/>
                </a:lnTo>
                <a:lnTo>
                  <a:pt x="2016505" y="293369"/>
                </a:lnTo>
                <a:lnTo>
                  <a:pt x="2005837" y="271399"/>
                </a:lnTo>
                <a:close/>
              </a:path>
              <a:path w="2647950" h="1789429">
                <a:moveTo>
                  <a:pt x="2094356" y="229615"/>
                </a:moveTo>
                <a:lnTo>
                  <a:pt x="2091562" y="230886"/>
                </a:lnTo>
                <a:lnTo>
                  <a:pt x="2028062" y="260857"/>
                </a:lnTo>
                <a:lnTo>
                  <a:pt x="2038477" y="282955"/>
                </a:lnTo>
                <a:lnTo>
                  <a:pt x="2101977" y="252983"/>
                </a:lnTo>
                <a:lnTo>
                  <a:pt x="2104516" y="251840"/>
                </a:lnTo>
                <a:lnTo>
                  <a:pt x="2094356" y="229615"/>
                </a:lnTo>
                <a:close/>
              </a:path>
              <a:path w="2647950" h="1789429">
                <a:moveTo>
                  <a:pt x="2183383" y="189356"/>
                </a:moveTo>
                <a:lnTo>
                  <a:pt x="2170937" y="194817"/>
                </a:lnTo>
                <a:lnTo>
                  <a:pt x="2116581" y="219582"/>
                </a:lnTo>
                <a:lnTo>
                  <a:pt x="2126614" y="241807"/>
                </a:lnTo>
                <a:lnTo>
                  <a:pt x="2180971" y="217042"/>
                </a:lnTo>
                <a:lnTo>
                  <a:pt x="2193162" y="211708"/>
                </a:lnTo>
                <a:lnTo>
                  <a:pt x="2183383" y="189356"/>
                </a:lnTo>
                <a:close/>
              </a:path>
              <a:path w="2647950" h="1789429">
                <a:moveTo>
                  <a:pt x="2272664" y="149987"/>
                </a:moveTo>
                <a:lnTo>
                  <a:pt x="2205608" y="179450"/>
                </a:lnTo>
                <a:lnTo>
                  <a:pt x="2215514" y="201802"/>
                </a:lnTo>
                <a:lnTo>
                  <a:pt x="2259710" y="182117"/>
                </a:lnTo>
                <a:lnTo>
                  <a:pt x="2282316" y="172338"/>
                </a:lnTo>
                <a:lnTo>
                  <a:pt x="2272664" y="149987"/>
                </a:lnTo>
                <a:close/>
              </a:path>
              <a:path w="2647950" h="1789429">
                <a:moveTo>
                  <a:pt x="2362327" y="111505"/>
                </a:moveTo>
                <a:lnTo>
                  <a:pt x="2295016" y="140335"/>
                </a:lnTo>
                <a:lnTo>
                  <a:pt x="2304796" y="162687"/>
                </a:lnTo>
                <a:lnTo>
                  <a:pt x="2371852" y="133857"/>
                </a:lnTo>
                <a:lnTo>
                  <a:pt x="2362327" y="111505"/>
                </a:lnTo>
                <a:close/>
              </a:path>
              <a:path w="2647950" h="1789429">
                <a:moveTo>
                  <a:pt x="2452370" y="73660"/>
                </a:moveTo>
                <a:lnTo>
                  <a:pt x="2384805" y="101980"/>
                </a:lnTo>
                <a:lnTo>
                  <a:pt x="2394330" y="124460"/>
                </a:lnTo>
                <a:lnTo>
                  <a:pt x="2461768" y="96138"/>
                </a:lnTo>
                <a:lnTo>
                  <a:pt x="2452370" y="73660"/>
                </a:lnTo>
                <a:close/>
              </a:path>
              <a:path w="2647950" h="1789429">
                <a:moveTo>
                  <a:pt x="2542539" y="36321"/>
                </a:moveTo>
                <a:lnTo>
                  <a:pt x="2474849" y="64262"/>
                </a:lnTo>
                <a:lnTo>
                  <a:pt x="2484247" y="86740"/>
                </a:lnTo>
                <a:lnTo>
                  <a:pt x="2551810" y="58927"/>
                </a:lnTo>
                <a:lnTo>
                  <a:pt x="2542539" y="36321"/>
                </a:lnTo>
                <a:close/>
              </a:path>
              <a:path w="2647950" h="1789429">
                <a:moveTo>
                  <a:pt x="2636643" y="19050"/>
                </a:moveTo>
                <a:lnTo>
                  <a:pt x="2584450" y="19050"/>
                </a:lnTo>
                <a:lnTo>
                  <a:pt x="2593721" y="41655"/>
                </a:lnTo>
                <a:lnTo>
                  <a:pt x="2581973" y="46525"/>
                </a:lnTo>
                <a:lnTo>
                  <a:pt x="2591815" y="70485"/>
                </a:lnTo>
                <a:lnTo>
                  <a:pt x="2636643" y="19050"/>
                </a:lnTo>
                <a:close/>
              </a:path>
              <a:path w="2647950" h="1789429">
                <a:moveTo>
                  <a:pt x="2572688" y="23924"/>
                </a:moveTo>
                <a:lnTo>
                  <a:pt x="2565146" y="27050"/>
                </a:lnTo>
                <a:lnTo>
                  <a:pt x="2574416" y="49656"/>
                </a:lnTo>
                <a:lnTo>
                  <a:pt x="2581973" y="46525"/>
                </a:lnTo>
                <a:lnTo>
                  <a:pt x="2572688" y="23924"/>
                </a:lnTo>
                <a:close/>
              </a:path>
              <a:path w="2647950" h="1789429">
                <a:moveTo>
                  <a:pt x="2584450" y="19050"/>
                </a:moveTo>
                <a:lnTo>
                  <a:pt x="2572688" y="23924"/>
                </a:lnTo>
                <a:lnTo>
                  <a:pt x="2581973" y="46525"/>
                </a:lnTo>
                <a:lnTo>
                  <a:pt x="2593721" y="41655"/>
                </a:lnTo>
                <a:lnTo>
                  <a:pt x="2584450" y="19050"/>
                </a:lnTo>
                <a:close/>
              </a:path>
              <a:path w="2647950" h="1789429">
                <a:moveTo>
                  <a:pt x="2562859" y="0"/>
                </a:moveTo>
                <a:lnTo>
                  <a:pt x="2572688" y="23924"/>
                </a:lnTo>
                <a:lnTo>
                  <a:pt x="2584450" y="19050"/>
                </a:lnTo>
                <a:lnTo>
                  <a:pt x="2636643" y="19050"/>
                </a:lnTo>
                <a:lnTo>
                  <a:pt x="2647823" y="6223"/>
                </a:lnTo>
                <a:lnTo>
                  <a:pt x="2562859" y="0"/>
                </a:lnTo>
                <a:close/>
              </a:path>
            </a:pathLst>
          </a:custGeom>
          <a:solidFill>
            <a:srgbClr val="737373"/>
          </a:solidFill>
        </p:spPr>
        <p:txBody>
          <a:bodyPr wrap="square" lIns="0" tIns="0" rIns="0" bIns="0" rtlCol="0"/>
          <a:lstStyle/>
          <a:p>
            <a:endParaRPr/>
          </a:p>
        </p:txBody>
      </p:sp>
      <p:sp>
        <p:nvSpPr>
          <p:cNvPr id="24" name="object 24"/>
          <p:cNvSpPr/>
          <p:nvPr/>
        </p:nvSpPr>
        <p:spPr>
          <a:xfrm>
            <a:off x="6386448" y="4462398"/>
            <a:ext cx="1907539" cy="158115"/>
          </a:xfrm>
          <a:custGeom>
            <a:avLst/>
            <a:gdLst/>
            <a:ahLst/>
            <a:cxnLst/>
            <a:rect l="l" t="t" r="r" b="b"/>
            <a:pathLst>
              <a:path w="1907540" h="158114">
                <a:moveTo>
                  <a:pt x="72009" y="121157"/>
                </a:moveTo>
                <a:lnTo>
                  <a:pt x="0" y="134238"/>
                </a:lnTo>
                <a:lnTo>
                  <a:pt x="4317" y="158114"/>
                </a:lnTo>
                <a:lnTo>
                  <a:pt x="76326" y="145161"/>
                </a:lnTo>
                <a:lnTo>
                  <a:pt x="72009" y="121157"/>
                </a:lnTo>
                <a:close/>
              </a:path>
              <a:path w="1907540" h="158114">
                <a:moveTo>
                  <a:pt x="168021" y="104012"/>
                </a:moveTo>
                <a:lnTo>
                  <a:pt x="96012" y="116839"/>
                </a:lnTo>
                <a:lnTo>
                  <a:pt x="100329" y="140843"/>
                </a:lnTo>
                <a:lnTo>
                  <a:pt x="172211" y="128015"/>
                </a:lnTo>
                <a:lnTo>
                  <a:pt x="168021" y="104012"/>
                </a:lnTo>
                <a:close/>
              </a:path>
              <a:path w="1907540" h="158114">
                <a:moveTo>
                  <a:pt x="264159" y="87121"/>
                </a:moveTo>
                <a:lnTo>
                  <a:pt x="192024" y="99694"/>
                </a:lnTo>
                <a:lnTo>
                  <a:pt x="196342" y="123698"/>
                </a:lnTo>
                <a:lnTo>
                  <a:pt x="268224" y="111251"/>
                </a:lnTo>
                <a:lnTo>
                  <a:pt x="264159" y="87121"/>
                </a:lnTo>
                <a:close/>
              </a:path>
              <a:path w="1907540" h="158114">
                <a:moveTo>
                  <a:pt x="360425" y="70993"/>
                </a:moveTo>
                <a:lnTo>
                  <a:pt x="288290" y="83057"/>
                </a:lnTo>
                <a:lnTo>
                  <a:pt x="292353" y="107187"/>
                </a:lnTo>
                <a:lnTo>
                  <a:pt x="364490" y="94995"/>
                </a:lnTo>
                <a:lnTo>
                  <a:pt x="360425" y="70993"/>
                </a:lnTo>
                <a:close/>
              </a:path>
              <a:path w="1907540" h="158114">
                <a:moveTo>
                  <a:pt x="456946" y="56006"/>
                </a:moveTo>
                <a:lnTo>
                  <a:pt x="384682" y="67182"/>
                </a:lnTo>
                <a:lnTo>
                  <a:pt x="388366" y="91186"/>
                </a:lnTo>
                <a:lnTo>
                  <a:pt x="460628" y="80009"/>
                </a:lnTo>
                <a:lnTo>
                  <a:pt x="456946" y="56006"/>
                </a:lnTo>
                <a:close/>
              </a:path>
              <a:path w="1907540" h="158114">
                <a:moveTo>
                  <a:pt x="553720" y="41782"/>
                </a:moveTo>
                <a:lnTo>
                  <a:pt x="550545" y="42163"/>
                </a:lnTo>
                <a:lnTo>
                  <a:pt x="481075" y="52196"/>
                </a:lnTo>
                <a:lnTo>
                  <a:pt x="484758" y="76326"/>
                </a:lnTo>
                <a:lnTo>
                  <a:pt x="493395" y="74930"/>
                </a:lnTo>
                <a:lnTo>
                  <a:pt x="556895" y="65912"/>
                </a:lnTo>
                <a:lnTo>
                  <a:pt x="553720" y="41782"/>
                </a:lnTo>
                <a:close/>
              </a:path>
              <a:path w="1907540" h="158114">
                <a:moveTo>
                  <a:pt x="650621" y="29337"/>
                </a:moveTo>
                <a:lnTo>
                  <a:pt x="611377" y="34036"/>
                </a:lnTo>
                <a:lnTo>
                  <a:pt x="577850" y="38607"/>
                </a:lnTo>
                <a:lnTo>
                  <a:pt x="581025" y="62737"/>
                </a:lnTo>
                <a:lnTo>
                  <a:pt x="614552" y="58293"/>
                </a:lnTo>
                <a:lnTo>
                  <a:pt x="653542" y="53593"/>
                </a:lnTo>
                <a:lnTo>
                  <a:pt x="650621" y="29337"/>
                </a:lnTo>
                <a:close/>
              </a:path>
              <a:path w="1907540" h="158114">
                <a:moveTo>
                  <a:pt x="747776" y="18668"/>
                </a:moveTo>
                <a:lnTo>
                  <a:pt x="674877" y="26415"/>
                </a:lnTo>
                <a:lnTo>
                  <a:pt x="677545" y="50673"/>
                </a:lnTo>
                <a:lnTo>
                  <a:pt x="735329" y="44323"/>
                </a:lnTo>
                <a:lnTo>
                  <a:pt x="750189" y="42925"/>
                </a:lnTo>
                <a:lnTo>
                  <a:pt x="747776" y="18668"/>
                </a:lnTo>
                <a:close/>
              </a:path>
              <a:path w="1907540" h="158114">
                <a:moveTo>
                  <a:pt x="845184" y="10032"/>
                </a:moveTo>
                <a:lnTo>
                  <a:pt x="792987" y="14350"/>
                </a:lnTo>
                <a:lnTo>
                  <a:pt x="772032" y="16382"/>
                </a:lnTo>
                <a:lnTo>
                  <a:pt x="774446" y="40639"/>
                </a:lnTo>
                <a:lnTo>
                  <a:pt x="795274" y="38607"/>
                </a:lnTo>
                <a:lnTo>
                  <a:pt x="847090" y="34417"/>
                </a:lnTo>
                <a:lnTo>
                  <a:pt x="845184" y="10032"/>
                </a:lnTo>
                <a:close/>
              </a:path>
              <a:path w="1907540" h="158114">
                <a:moveTo>
                  <a:pt x="942848" y="3937"/>
                </a:moveTo>
                <a:lnTo>
                  <a:pt x="913256" y="5461"/>
                </a:lnTo>
                <a:lnTo>
                  <a:pt x="869696" y="8381"/>
                </a:lnTo>
                <a:lnTo>
                  <a:pt x="871220" y="32638"/>
                </a:lnTo>
                <a:lnTo>
                  <a:pt x="914907" y="29718"/>
                </a:lnTo>
                <a:lnTo>
                  <a:pt x="944118" y="28320"/>
                </a:lnTo>
                <a:lnTo>
                  <a:pt x="942848" y="3937"/>
                </a:lnTo>
                <a:close/>
              </a:path>
              <a:path w="1907540" h="158114">
                <a:moveTo>
                  <a:pt x="1040765" y="634"/>
                </a:moveTo>
                <a:lnTo>
                  <a:pt x="1032764" y="762"/>
                </a:lnTo>
                <a:lnTo>
                  <a:pt x="973074" y="2539"/>
                </a:lnTo>
                <a:lnTo>
                  <a:pt x="967231" y="2793"/>
                </a:lnTo>
                <a:lnTo>
                  <a:pt x="968375" y="27177"/>
                </a:lnTo>
                <a:lnTo>
                  <a:pt x="974344" y="26924"/>
                </a:lnTo>
                <a:lnTo>
                  <a:pt x="1033526" y="25145"/>
                </a:lnTo>
                <a:lnTo>
                  <a:pt x="1041146" y="25018"/>
                </a:lnTo>
                <a:lnTo>
                  <a:pt x="1040765" y="634"/>
                </a:lnTo>
                <a:close/>
              </a:path>
              <a:path w="1907540" h="158114">
                <a:moveTo>
                  <a:pt x="1092200" y="0"/>
                </a:moveTo>
                <a:lnTo>
                  <a:pt x="1065149" y="253"/>
                </a:lnTo>
                <a:lnTo>
                  <a:pt x="1065529" y="24637"/>
                </a:lnTo>
                <a:lnTo>
                  <a:pt x="1138428" y="24383"/>
                </a:lnTo>
                <a:lnTo>
                  <a:pt x="1138554" y="126"/>
                </a:lnTo>
                <a:lnTo>
                  <a:pt x="1092200" y="0"/>
                </a:lnTo>
                <a:close/>
              </a:path>
              <a:path w="1907540" h="158114">
                <a:moveTo>
                  <a:pt x="1138428" y="24383"/>
                </a:moveTo>
                <a:lnTo>
                  <a:pt x="1092580" y="24383"/>
                </a:lnTo>
                <a:lnTo>
                  <a:pt x="1138427" y="24511"/>
                </a:lnTo>
                <a:lnTo>
                  <a:pt x="1138428" y="24383"/>
                </a:lnTo>
                <a:close/>
              </a:path>
              <a:path w="1907540" h="158114">
                <a:moveTo>
                  <a:pt x="1163066" y="381"/>
                </a:moveTo>
                <a:lnTo>
                  <a:pt x="1162684" y="24764"/>
                </a:lnTo>
                <a:lnTo>
                  <a:pt x="1210055" y="25526"/>
                </a:lnTo>
                <a:lnTo>
                  <a:pt x="1235582" y="26415"/>
                </a:lnTo>
                <a:lnTo>
                  <a:pt x="1236345" y="2031"/>
                </a:lnTo>
                <a:lnTo>
                  <a:pt x="1210436" y="1269"/>
                </a:lnTo>
                <a:lnTo>
                  <a:pt x="1163066" y="381"/>
                </a:lnTo>
                <a:close/>
              </a:path>
              <a:path w="1907540" h="158114">
                <a:moveTo>
                  <a:pt x="1260728" y="2793"/>
                </a:moveTo>
                <a:lnTo>
                  <a:pt x="1259967" y="27177"/>
                </a:lnTo>
                <a:lnTo>
                  <a:pt x="1268476" y="27431"/>
                </a:lnTo>
                <a:lnTo>
                  <a:pt x="1326769" y="30099"/>
                </a:lnTo>
                <a:lnTo>
                  <a:pt x="1332737" y="30480"/>
                </a:lnTo>
                <a:lnTo>
                  <a:pt x="1334134" y="6095"/>
                </a:lnTo>
                <a:lnTo>
                  <a:pt x="1260728" y="2793"/>
                </a:lnTo>
                <a:close/>
              </a:path>
              <a:path w="1907540" h="158114">
                <a:moveTo>
                  <a:pt x="1358519" y="7493"/>
                </a:moveTo>
                <a:lnTo>
                  <a:pt x="1357122" y="31876"/>
                </a:lnTo>
                <a:lnTo>
                  <a:pt x="1430020" y="36575"/>
                </a:lnTo>
                <a:lnTo>
                  <a:pt x="1431671" y="12192"/>
                </a:lnTo>
                <a:lnTo>
                  <a:pt x="1358519" y="7493"/>
                </a:lnTo>
                <a:close/>
              </a:path>
              <a:path w="1907540" h="158114">
                <a:moveTo>
                  <a:pt x="1456054" y="14096"/>
                </a:moveTo>
                <a:lnTo>
                  <a:pt x="1454150" y="38353"/>
                </a:lnTo>
                <a:lnTo>
                  <a:pt x="1527048" y="44323"/>
                </a:lnTo>
                <a:lnTo>
                  <a:pt x="1528952" y="20065"/>
                </a:lnTo>
                <a:lnTo>
                  <a:pt x="1456054" y="14096"/>
                </a:lnTo>
                <a:close/>
              </a:path>
              <a:path w="1907540" h="158114">
                <a:moveTo>
                  <a:pt x="1553336" y="21970"/>
                </a:moveTo>
                <a:lnTo>
                  <a:pt x="1551304" y="46355"/>
                </a:lnTo>
                <a:lnTo>
                  <a:pt x="1559305" y="46989"/>
                </a:lnTo>
                <a:lnTo>
                  <a:pt x="1623949" y="53212"/>
                </a:lnTo>
                <a:lnTo>
                  <a:pt x="1626361" y="28956"/>
                </a:lnTo>
                <a:lnTo>
                  <a:pt x="1553336" y="21970"/>
                </a:lnTo>
                <a:close/>
              </a:path>
              <a:path w="1907540" h="158114">
                <a:moveTo>
                  <a:pt x="1650619" y="31242"/>
                </a:moveTo>
                <a:lnTo>
                  <a:pt x="1648205" y="55499"/>
                </a:lnTo>
                <a:lnTo>
                  <a:pt x="1720850" y="62992"/>
                </a:lnTo>
                <a:lnTo>
                  <a:pt x="1723517" y="38734"/>
                </a:lnTo>
                <a:lnTo>
                  <a:pt x="1677289" y="33781"/>
                </a:lnTo>
                <a:lnTo>
                  <a:pt x="1650619" y="31242"/>
                </a:lnTo>
                <a:close/>
              </a:path>
              <a:path w="1907540" h="158114">
                <a:moveTo>
                  <a:pt x="1747774" y="41275"/>
                </a:moveTo>
                <a:lnTo>
                  <a:pt x="1745106" y="65531"/>
                </a:lnTo>
                <a:lnTo>
                  <a:pt x="1817751" y="73406"/>
                </a:lnTo>
                <a:lnTo>
                  <a:pt x="1820545" y="49149"/>
                </a:lnTo>
                <a:lnTo>
                  <a:pt x="1747774" y="41275"/>
                </a:lnTo>
                <a:close/>
              </a:path>
              <a:path w="1907540" h="158114">
                <a:moveTo>
                  <a:pt x="1835657" y="24764"/>
                </a:moveTo>
                <a:lnTo>
                  <a:pt x="1827149" y="100583"/>
                </a:lnTo>
                <a:lnTo>
                  <a:pt x="1893364" y="76200"/>
                </a:lnTo>
                <a:lnTo>
                  <a:pt x="1842007" y="76200"/>
                </a:lnTo>
                <a:lnTo>
                  <a:pt x="1844802" y="51943"/>
                </a:lnTo>
                <a:lnTo>
                  <a:pt x="1877579" y="51943"/>
                </a:lnTo>
                <a:lnTo>
                  <a:pt x="1835657" y="24764"/>
                </a:lnTo>
                <a:close/>
              </a:path>
              <a:path w="1907540" h="158114">
                <a:moveTo>
                  <a:pt x="1845436" y="51943"/>
                </a:moveTo>
                <a:lnTo>
                  <a:pt x="1844802" y="51943"/>
                </a:lnTo>
                <a:lnTo>
                  <a:pt x="1842007" y="76200"/>
                </a:lnTo>
                <a:lnTo>
                  <a:pt x="1842643" y="76200"/>
                </a:lnTo>
                <a:lnTo>
                  <a:pt x="1845436" y="51943"/>
                </a:lnTo>
                <a:close/>
              </a:path>
              <a:path w="1907540" h="158114">
                <a:moveTo>
                  <a:pt x="1877579" y="51943"/>
                </a:moveTo>
                <a:lnTo>
                  <a:pt x="1845436" y="51943"/>
                </a:lnTo>
                <a:lnTo>
                  <a:pt x="1842643" y="76200"/>
                </a:lnTo>
                <a:lnTo>
                  <a:pt x="1893364" y="76200"/>
                </a:lnTo>
                <a:lnTo>
                  <a:pt x="1907158" y="71119"/>
                </a:lnTo>
                <a:lnTo>
                  <a:pt x="1877579" y="51943"/>
                </a:lnTo>
                <a:close/>
              </a:path>
            </a:pathLst>
          </a:custGeom>
          <a:solidFill>
            <a:srgbClr val="737373"/>
          </a:solidFill>
        </p:spPr>
        <p:txBody>
          <a:bodyPr wrap="square" lIns="0" tIns="0" rIns="0" bIns="0" rtlCol="0"/>
          <a:lstStyle/>
          <a:p>
            <a:endParaRPr/>
          </a:p>
        </p:txBody>
      </p:sp>
      <p:sp>
        <p:nvSpPr>
          <p:cNvPr id="25" name="object 25"/>
          <p:cNvSpPr/>
          <p:nvPr/>
        </p:nvSpPr>
        <p:spPr>
          <a:xfrm>
            <a:off x="6395720" y="3155950"/>
            <a:ext cx="3662679" cy="1463675"/>
          </a:xfrm>
          <a:custGeom>
            <a:avLst/>
            <a:gdLst/>
            <a:ahLst/>
            <a:cxnLst/>
            <a:rect l="l" t="t" r="r" b="b"/>
            <a:pathLst>
              <a:path w="3662679" h="1463675">
                <a:moveTo>
                  <a:pt x="66420" y="1410970"/>
                </a:moveTo>
                <a:lnTo>
                  <a:pt x="0" y="1441577"/>
                </a:lnTo>
                <a:lnTo>
                  <a:pt x="10159" y="1463675"/>
                </a:lnTo>
                <a:lnTo>
                  <a:pt x="76707" y="1433195"/>
                </a:lnTo>
                <a:lnTo>
                  <a:pt x="66420" y="1410970"/>
                </a:lnTo>
                <a:close/>
              </a:path>
              <a:path w="3662679" h="1463675">
                <a:moveTo>
                  <a:pt x="155066" y="1370330"/>
                </a:moveTo>
                <a:lnTo>
                  <a:pt x="88645" y="1400810"/>
                </a:lnTo>
                <a:lnTo>
                  <a:pt x="98805" y="1423035"/>
                </a:lnTo>
                <a:lnTo>
                  <a:pt x="165353" y="1392555"/>
                </a:lnTo>
                <a:lnTo>
                  <a:pt x="155066" y="1370330"/>
                </a:lnTo>
                <a:close/>
              </a:path>
              <a:path w="3662679" h="1463675">
                <a:moveTo>
                  <a:pt x="243712" y="1329689"/>
                </a:moveTo>
                <a:lnTo>
                  <a:pt x="177291" y="1360170"/>
                </a:lnTo>
                <a:lnTo>
                  <a:pt x="187451" y="1382395"/>
                </a:lnTo>
                <a:lnTo>
                  <a:pt x="254000" y="1351788"/>
                </a:lnTo>
                <a:lnTo>
                  <a:pt x="243712" y="1329689"/>
                </a:lnTo>
                <a:close/>
              </a:path>
              <a:path w="3662679" h="1463675">
                <a:moveTo>
                  <a:pt x="332485" y="1289050"/>
                </a:moveTo>
                <a:lnTo>
                  <a:pt x="265937" y="1319530"/>
                </a:lnTo>
                <a:lnTo>
                  <a:pt x="276098" y="1341627"/>
                </a:lnTo>
                <a:lnTo>
                  <a:pt x="342646" y="1311148"/>
                </a:lnTo>
                <a:lnTo>
                  <a:pt x="332485" y="1289050"/>
                </a:lnTo>
                <a:close/>
              </a:path>
              <a:path w="3662679" h="1463675">
                <a:moveTo>
                  <a:pt x="421131" y="1248410"/>
                </a:moveTo>
                <a:lnTo>
                  <a:pt x="354583" y="1278889"/>
                </a:lnTo>
                <a:lnTo>
                  <a:pt x="364744" y="1301114"/>
                </a:lnTo>
                <a:lnTo>
                  <a:pt x="431291" y="1270635"/>
                </a:lnTo>
                <a:lnTo>
                  <a:pt x="421131" y="1248410"/>
                </a:lnTo>
                <a:close/>
              </a:path>
              <a:path w="3662679" h="1463675">
                <a:moveTo>
                  <a:pt x="509904" y="1207897"/>
                </a:moveTo>
                <a:lnTo>
                  <a:pt x="443356" y="1238377"/>
                </a:lnTo>
                <a:lnTo>
                  <a:pt x="453516" y="1260475"/>
                </a:lnTo>
                <a:lnTo>
                  <a:pt x="519937" y="1230122"/>
                </a:lnTo>
                <a:lnTo>
                  <a:pt x="509904" y="1207897"/>
                </a:lnTo>
                <a:close/>
              </a:path>
              <a:path w="3662679" h="1463675">
                <a:moveTo>
                  <a:pt x="598551" y="1167383"/>
                </a:moveTo>
                <a:lnTo>
                  <a:pt x="593598" y="1169543"/>
                </a:lnTo>
                <a:lnTo>
                  <a:pt x="532002" y="1197737"/>
                </a:lnTo>
                <a:lnTo>
                  <a:pt x="542162" y="1219962"/>
                </a:lnTo>
                <a:lnTo>
                  <a:pt x="608710" y="1189482"/>
                </a:lnTo>
                <a:lnTo>
                  <a:pt x="598551" y="1167383"/>
                </a:lnTo>
                <a:close/>
              </a:path>
              <a:path w="3662679" h="1463675">
                <a:moveTo>
                  <a:pt x="687324" y="1126998"/>
                </a:moveTo>
                <a:lnTo>
                  <a:pt x="620776" y="1157224"/>
                </a:lnTo>
                <a:lnTo>
                  <a:pt x="630935" y="1179449"/>
                </a:lnTo>
                <a:lnTo>
                  <a:pt x="697483" y="1149095"/>
                </a:lnTo>
                <a:lnTo>
                  <a:pt x="687324" y="1126998"/>
                </a:lnTo>
                <a:close/>
              </a:path>
              <a:path w="3662679" h="1463675">
                <a:moveTo>
                  <a:pt x="776224" y="1086612"/>
                </a:moveTo>
                <a:lnTo>
                  <a:pt x="709549" y="1116838"/>
                </a:lnTo>
                <a:lnTo>
                  <a:pt x="719708" y="1139063"/>
                </a:lnTo>
                <a:lnTo>
                  <a:pt x="786256" y="1108837"/>
                </a:lnTo>
                <a:lnTo>
                  <a:pt x="776224" y="1086612"/>
                </a:lnTo>
                <a:close/>
              </a:path>
              <a:path w="3662679" h="1463675">
                <a:moveTo>
                  <a:pt x="864997" y="1046352"/>
                </a:moveTo>
                <a:lnTo>
                  <a:pt x="798449" y="1076579"/>
                </a:lnTo>
                <a:lnTo>
                  <a:pt x="808481" y="1098804"/>
                </a:lnTo>
                <a:lnTo>
                  <a:pt x="875029" y="1068577"/>
                </a:lnTo>
                <a:lnTo>
                  <a:pt x="864997" y="1046352"/>
                </a:lnTo>
                <a:close/>
              </a:path>
              <a:path w="3662679" h="1463675">
                <a:moveTo>
                  <a:pt x="953897" y="1006220"/>
                </a:moveTo>
                <a:lnTo>
                  <a:pt x="887222" y="1036319"/>
                </a:lnTo>
                <a:lnTo>
                  <a:pt x="897254" y="1058545"/>
                </a:lnTo>
                <a:lnTo>
                  <a:pt x="963929" y="1028445"/>
                </a:lnTo>
                <a:lnTo>
                  <a:pt x="953897" y="1006220"/>
                </a:lnTo>
                <a:close/>
              </a:path>
              <a:path w="3662679" h="1463675">
                <a:moveTo>
                  <a:pt x="1042924" y="966216"/>
                </a:moveTo>
                <a:lnTo>
                  <a:pt x="976249" y="996188"/>
                </a:lnTo>
                <a:lnTo>
                  <a:pt x="986154" y="1018413"/>
                </a:lnTo>
                <a:lnTo>
                  <a:pt x="1052829" y="988441"/>
                </a:lnTo>
                <a:lnTo>
                  <a:pt x="1042924" y="966216"/>
                </a:lnTo>
                <a:close/>
              </a:path>
              <a:path w="3662679" h="1463675">
                <a:moveTo>
                  <a:pt x="1131951" y="926338"/>
                </a:moveTo>
                <a:lnTo>
                  <a:pt x="1065149" y="956182"/>
                </a:lnTo>
                <a:lnTo>
                  <a:pt x="1075181" y="978535"/>
                </a:lnTo>
                <a:lnTo>
                  <a:pt x="1141983" y="948689"/>
                </a:lnTo>
                <a:lnTo>
                  <a:pt x="1131951" y="926338"/>
                </a:lnTo>
                <a:close/>
              </a:path>
              <a:path w="3662679" h="1463675">
                <a:moveTo>
                  <a:pt x="1221104" y="886713"/>
                </a:moveTo>
                <a:lnTo>
                  <a:pt x="1154176" y="916432"/>
                </a:lnTo>
                <a:lnTo>
                  <a:pt x="1164208" y="938657"/>
                </a:lnTo>
                <a:lnTo>
                  <a:pt x="1231010" y="908938"/>
                </a:lnTo>
                <a:lnTo>
                  <a:pt x="1221104" y="886713"/>
                </a:lnTo>
                <a:close/>
              </a:path>
              <a:path w="3662679" h="1463675">
                <a:moveTo>
                  <a:pt x="1310258" y="847089"/>
                </a:moveTo>
                <a:lnTo>
                  <a:pt x="1309243" y="847598"/>
                </a:lnTo>
                <a:lnTo>
                  <a:pt x="1243456" y="876807"/>
                </a:lnTo>
                <a:lnTo>
                  <a:pt x="1253235" y="899032"/>
                </a:lnTo>
                <a:lnTo>
                  <a:pt x="1319149" y="869823"/>
                </a:lnTo>
                <a:lnTo>
                  <a:pt x="1320164" y="869442"/>
                </a:lnTo>
                <a:lnTo>
                  <a:pt x="1310258" y="847089"/>
                </a:lnTo>
                <a:close/>
              </a:path>
              <a:path w="3662679" h="1463675">
                <a:moveTo>
                  <a:pt x="1399539" y="807847"/>
                </a:moveTo>
                <a:lnTo>
                  <a:pt x="1332610" y="837311"/>
                </a:lnTo>
                <a:lnTo>
                  <a:pt x="1342389" y="859663"/>
                </a:lnTo>
                <a:lnTo>
                  <a:pt x="1409446" y="830199"/>
                </a:lnTo>
                <a:lnTo>
                  <a:pt x="1399539" y="807847"/>
                </a:lnTo>
                <a:close/>
              </a:path>
              <a:path w="3662679" h="1463675">
                <a:moveTo>
                  <a:pt x="1488948" y="768731"/>
                </a:moveTo>
                <a:lnTo>
                  <a:pt x="1421891" y="798068"/>
                </a:lnTo>
                <a:lnTo>
                  <a:pt x="1431671" y="820293"/>
                </a:lnTo>
                <a:lnTo>
                  <a:pt x="1498727" y="791082"/>
                </a:lnTo>
                <a:lnTo>
                  <a:pt x="1488948" y="768731"/>
                </a:lnTo>
                <a:close/>
              </a:path>
              <a:path w="3662679" h="1463675">
                <a:moveTo>
                  <a:pt x="1578482" y="729869"/>
                </a:moveTo>
                <a:lnTo>
                  <a:pt x="1511300" y="758951"/>
                </a:lnTo>
                <a:lnTo>
                  <a:pt x="1521078" y="781431"/>
                </a:lnTo>
                <a:lnTo>
                  <a:pt x="1588134" y="752220"/>
                </a:lnTo>
                <a:lnTo>
                  <a:pt x="1578482" y="729869"/>
                </a:lnTo>
                <a:close/>
              </a:path>
              <a:path w="3662679" h="1463675">
                <a:moveTo>
                  <a:pt x="1668145" y="691388"/>
                </a:moveTo>
                <a:lnTo>
                  <a:pt x="1600834" y="720217"/>
                </a:lnTo>
                <a:lnTo>
                  <a:pt x="1610486" y="742569"/>
                </a:lnTo>
                <a:lnTo>
                  <a:pt x="1677670" y="713739"/>
                </a:lnTo>
                <a:lnTo>
                  <a:pt x="1668145" y="691388"/>
                </a:lnTo>
                <a:close/>
              </a:path>
              <a:path w="3662679" h="1463675">
                <a:moveTo>
                  <a:pt x="1757933" y="653161"/>
                </a:moveTo>
                <a:lnTo>
                  <a:pt x="1690497" y="681736"/>
                </a:lnTo>
                <a:lnTo>
                  <a:pt x="1700149" y="704088"/>
                </a:lnTo>
                <a:lnTo>
                  <a:pt x="1767458" y="675513"/>
                </a:lnTo>
                <a:lnTo>
                  <a:pt x="1757933" y="653161"/>
                </a:lnTo>
                <a:close/>
              </a:path>
              <a:path w="3662679" h="1463675">
                <a:moveTo>
                  <a:pt x="1847850" y="615188"/>
                </a:moveTo>
                <a:lnTo>
                  <a:pt x="1780412" y="643636"/>
                </a:lnTo>
                <a:lnTo>
                  <a:pt x="1789810" y="666114"/>
                </a:lnTo>
                <a:lnTo>
                  <a:pt x="1857248" y="637667"/>
                </a:lnTo>
                <a:lnTo>
                  <a:pt x="1847850" y="615188"/>
                </a:lnTo>
                <a:close/>
              </a:path>
              <a:path w="3662679" h="1463675">
                <a:moveTo>
                  <a:pt x="1937893" y="577723"/>
                </a:moveTo>
                <a:lnTo>
                  <a:pt x="1870328" y="605789"/>
                </a:lnTo>
                <a:lnTo>
                  <a:pt x="1879727" y="628269"/>
                </a:lnTo>
                <a:lnTo>
                  <a:pt x="1947290" y="600201"/>
                </a:lnTo>
                <a:lnTo>
                  <a:pt x="1937893" y="577723"/>
                </a:lnTo>
                <a:close/>
              </a:path>
              <a:path w="3662679" h="1463675">
                <a:moveTo>
                  <a:pt x="2028189" y="540766"/>
                </a:moveTo>
                <a:lnTo>
                  <a:pt x="1963674" y="566927"/>
                </a:lnTo>
                <a:lnTo>
                  <a:pt x="1960372" y="568325"/>
                </a:lnTo>
                <a:lnTo>
                  <a:pt x="1969770" y="590804"/>
                </a:lnTo>
                <a:lnTo>
                  <a:pt x="1973072" y="589533"/>
                </a:lnTo>
                <a:lnTo>
                  <a:pt x="2037460" y="563244"/>
                </a:lnTo>
                <a:lnTo>
                  <a:pt x="2028189" y="540766"/>
                </a:lnTo>
                <a:close/>
              </a:path>
              <a:path w="3662679" h="1463675">
                <a:moveTo>
                  <a:pt x="2118740" y="504189"/>
                </a:moveTo>
                <a:lnTo>
                  <a:pt x="2050796" y="531494"/>
                </a:lnTo>
                <a:lnTo>
                  <a:pt x="2060066" y="554101"/>
                </a:lnTo>
                <a:lnTo>
                  <a:pt x="2127757" y="526795"/>
                </a:lnTo>
                <a:lnTo>
                  <a:pt x="2118740" y="504189"/>
                </a:lnTo>
                <a:close/>
              </a:path>
              <a:path w="3662679" h="1463675">
                <a:moveTo>
                  <a:pt x="2209546" y="468122"/>
                </a:moveTo>
                <a:lnTo>
                  <a:pt x="2141474" y="495173"/>
                </a:lnTo>
                <a:lnTo>
                  <a:pt x="2150490" y="517779"/>
                </a:lnTo>
                <a:lnTo>
                  <a:pt x="2209800" y="494156"/>
                </a:lnTo>
                <a:lnTo>
                  <a:pt x="2218435" y="490855"/>
                </a:lnTo>
                <a:lnTo>
                  <a:pt x="2209546" y="468122"/>
                </a:lnTo>
                <a:close/>
              </a:path>
              <a:path w="3662679" h="1463675">
                <a:moveTo>
                  <a:pt x="2300478" y="432942"/>
                </a:moveTo>
                <a:lnTo>
                  <a:pt x="2232279" y="459358"/>
                </a:lnTo>
                <a:lnTo>
                  <a:pt x="2241041" y="481964"/>
                </a:lnTo>
                <a:lnTo>
                  <a:pt x="2309240" y="455675"/>
                </a:lnTo>
                <a:lnTo>
                  <a:pt x="2300478" y="432942"/>
                </a:lnTo>
                <a:close/>
              </a:path>
              <a:path w="3662679" h="1463675">
                <a:moveTo>
                  <a:pt x="2391918" y="398399"/>
                </a:moveTo>
                <a:lnTo>
                  <a:pt x="2323337" y="424179"/>
                </a:lnTo>
                <a:lnTo>
                  <a:pt x="2331974" y="447039"/>
                </a:lnTo>
                <a:lnTo>
                  <a:pt x="2400427" y="421259"/>
                </a:lnTo>
                <a:lnTo>
                  <a:pt x="2391918" y="398399"/>
                </a:lnTo>
                <a:close/>
              </a:path>
              <a:path w="3662679" h="1463675">
                <a:moveTo>
                  <a:pt x="2483484" y="364616"/>
                </a:moveTo>
                <a:lnTo>
                  <a:pt x="2414651" y="389763"/>
                </a:lnTo>
                <a:lnTo>
                  <a:pt x="2423286" y="412623"/>
                </a:lnTo>
                <a:lnTo>
                  <a:pt x="2491739" y="387476"/>
                </a:lnTo>
                <a:lnTo>
                  <a:pt x="2483484" y="364616"/>
                </a:lnTo>
                <a:close/>
              </a:path>
              <a:path w="3662679" h="1463675">
                <a:moveTo>
                  <a:pt x="2575305" y="331597"/>
                </a:moveTo>
                <a:lnTo>
                  <a:pt x="2506472" y="356235"/>
                </a:lnTo>
                <a:lnTo>
                  <a:pt x="2514727" y="379222"/>
                </a:lnTo>
                <a:lnTo>
                  <a:pt x="2583560" y="354584"/>
                </a:lnTo>
                <a:lnTo>
                  <a:pt x="2575305" y="331597"/>
                </a:lnTo>
                <a:close/>
              </a:path>
              <a:path w="3662679" h="1463675">
                <a:moveTo>
                  <a:pt x="2667507" y="299465"/>
                </a:moveTo>
                <a:lnTo>
                  <a:pt x="2598420" y="323469"/>
                </a:lnTo>
                <a:lnTo>
                  <a:pt x="2606548" y="346455"/>
                </a:lnTo>
                <a:lnTo>
                  <a:pt x="2675508" y="322452"/>
                </a:lnTo>
                <a:lnTo>
                  <a:pt x="2667507" y="299465"/>
                </a:lnTo>
                <a:close/>
              </a:path>
              <a:path w="3662679" h="1463675">
                <a:moveTo>
                  <a:pt x="2760090" y="268097"/>
                </a:moveTo>
                <a:lnTo>
                  <a:pt x="2690622" y="291464"/>
                </a:lnTo>
                <a:lnTo>
                  <a:pt x="2698496" y="314578"/>
                </a:lnTo>
                <a:lnTo>
                  <a:pt x="2767710" y="291211"/>
                </a:lnTo>
                <a:lnTo>
                  <a:pt x="2760090" y="268097"/>
                </a:lnTo>
                <a:close/>
              </a:path>
              <a:path w="3662679" h="1463675">
                <a:moveTo>
                  <a:pt x="2852801" y="237616"/>
                </a:moveTo>
                <a:lnTo>
                  <a:pt x="2783204" y="260350"/>
                </a:lnTo>
                <a:lnTo>
                  <a:pt x="2790825" y="283590"/>
                </a:lnTo>
                <a:lnTo>
                  <a:pt x="2860294" y="260730"/>
                </a:lnTo>
                <a:lnTo>
                  <a:pt x="2852801" y="237616"/>
                </a:lnTo>
                <a:close/>
              </a:path>
              <a:path w="3662679" h="1463675">
                <a:moveTo>
                  <a:pt x="2945764" y="207899"/>
                </a:moveTo>
                <a:lnTo>
                  <a:pt x="2876041" y="230124"/>
                </a:lnTo>
                <a:lnTo>
                  <a:pt x="2883534" y="253364"/>
                </a:lnTo>
                <a:lnTo>
                  <a:pt x="2953130" y="231139"/>
                </a:lnTo>
                <a:lnTo>
                  <a:pt x="2945764" y="207899"/>
                </a:lnTo>
                <a:close/>
              </a:path>
              <a:path w="3662679" h="1463675">
                <a:moveTo>
                  <a:pt x="3039109" y="179197"/>
                </a:moveTo>
                <a:lnTo>
                  <a:pt x="2969132" y="200660"/>
                </a:lnTo>
                <a:lnTo>
                  <a:pt x="2976372" y="223900"/>
                </a:lnTo>
                <a:lnTo>
                  <a:pt x="3046222" y="202564"/>
                </a:lnTo>
                <a:lnTo>
                  <a:pt x="3039109" y="179197"/>
                </a:lnTo>
                <a:close/>
              </a:path>
              <a:path w="3662679" h="1463675">
                <a:moveTo>
                  <a:pt x="3132708" y="151257"/>
                </a:moveTo>
                <a:lnTo>
                  <a:pt x="3062478" y="172085"/>
                </a:lnTo>
                <a:lnTo>
                  <a:pt x="3069589" y="195452"/>
                </a:lnTo>
                <a:lnTo>
                  <a:pt x="3139566" y="174625"/>
                </a:lnTo>
                <a:lnTo>
                  <a:pt x="3132708" y="151257"/>
                </a:lnTo>
                <a:close/>
              </a:path>
              <a:path w="3662679" h="1463675">
                <a:moveTo>
                  <a:pt x="3226434" y="123951"/>
                </a:moveTo>
                <a:lnTo>
                  <a:pt x="3156077" y="144272"/>
                </a:lnTo>
                <a:lnTo>
                  <a:pt x="3162934" y="167639"/>
                </a:lnTo>
                <a:lnTo>
                  <a:pt x="3233165" y="147447"/>
                </a:lnTo>
                <a:lnTo>
                  <a:pt x="3226434" y="123951"/>
                </a:lnTo>
                <a:close/>
              </a:path>
              <a:path w="3662679" h="1463675">
                <a:moveTo>
                  <a:pt x="3320287" y="97409"/>
                </a:moveTo>
                <a:lnTo>
                  <a:pt x="3249929" y="117221"/>
                </a:lnTo>
                <a:lnTo>
                  <a:pt x="3256660" y="140715"/>
                </a:lnTo>
                <a:lnTo>
                  <a:pt x="3263010" y="138811"/>
                </a:lnTo>
                <a:lnTo>
                  <a:pt x="3327019" y="120903"/>
                </a:lnTo>
                <a:lnTo>
                  <a:pt x="3320287" y="97409"/>
                </a:lnTo>
                <a:close/>
              </a:path>
              <a:path w="3662679" h="1463675">
                <a:moveTo>
                  <a:pt x="3414395" y="71374"/>
                </a:moveTo>
                <a:lnTo>
                  <a:pt x="3343909" y="90804"/>
                </a:lnTo>
                <a:lnTo>
                  <a:pt x="3350386" y="114300"/>
                </a:lnTo>
                <a:lnTo>
                  <a:pt x="3420872" y="94869"/>
                </a:lnTo>
                <a:lnTo>
                  <a:pt x="3414395" y="71374"/>
                </a:lnTo>
                <a:close/>
              </a:path>
              <a:path w="3662679" h="1463675">
                <a:moveTo>
                  <a:pt x="3508629" y="45720"/>
                </a:moveTo>
                <a:lnTo>
                  <a:pt x="3438016" y="64897"/>
                </a:lnTo>
                <a:lnTo>
                  <a:pt x="3444366" y="88391"/>
                </a:lnTo>
                <a:lnTo>
                  <a:pt x="3506470" y="71500"/>
                </a:lnTo>
                <a:lnTo>
                  <a:pt x="3514979" y="69341"/>
                </a:lnTo>
                <a:lnTo>
                  <a:pt x="3508629" y="45720"/>
                </a:lnTo>
                <a:close/>
              </a:path>
              <a:path w="3662679" h="1463675">
                <a:moveTo>
                  <a:pt x="3657379" y="21716"/>
                </a:moveTo>
                <a:lnTo>
                  <a:pt x="3598163" y="21716"/>
                </a:lnTo>
                <a:lnTo>
                  <a:pt x="3604513" y="45212"/>
                </a:lnTo>
                <a:lnTo>
                  <a:pt x="3592229" y="48519"/>
                </a:lnTo>
                <a:lnTo>
                  <a:pt x="3598926" y="73533"/>
                </a:lnTo>
                <a:lnTo>
                  <a:pt x="3657379" y="21716"/>
                </a:lnTo>
                <a:close/>
              </a:path>
              <a:path w="3662679" h="1463675">
                <a:moveTo>
                  <a:pt x="3585930" y="24987"/>
                </a:moveTo>
                <a:lnTo>
                  <a:pt x="3532124" y="39370"/>
                </a:lnTo>
                <a:lnTo>
                  <a:pt x="3538474" y="62991"/>
                </a:lnTo>
                <a:lnTo>
                  <a:pt x="3592229" y="48519"/>
                </a:lnTo>
                <a:lnTo>
                  <a:pt x="3585930" y="24987"/>
                </a:lnTo>
                <a:close/>
              </a:path>
              <a:path w="3662679" h="1463675">
                <a:moveTo>
                  <a:pt x="3598163" y="21716"/>
                </a:moveTo>
                <a:lnTo>
                  <a:pt x="3585930" y="24987"/>
                </a:lnTo>
                <a:lnTo>
                  <a:pt x="3592229" y="48519"/>
                </a:lnTo>
                <a:lnTo>
                  <a:pt x="3604513" y="45212"/>
                </a:lnTo>
                <a:lnTo>
                  <a:pt x="3598163" y="21716"/>
                </a:lnTo>
                <a:close/>
              </a:path>
              <a:path w="3662679" h="1463675">
                <a:moveTo>
                  <a:pt x="3579240" y="0"/>
                </a:moveTo>
                <a:lnTo>
                  <a:pt x="3585930" y="24987"/>
                </a:lnTo>
                <a:lnTo>
                  <a:pt x="3598163" y="21716"/>
                </a:lnTo>
                <a:lnTo>
                  <a:pt x="3657379" y="21716"/>
                </a:lnTo>
                <a:lnTo>
                  <a:pt x="3662679" y="17017"/>
                </a:lnTo>
                <a:lnTo>
                  <a:pt x="3579240" y="0"/>
                </a:lnTo>
                <a:close/>
              </a:path>
            </a:pathLst>
          </a:custGeom>
          <a:solidFill>
            <a:srgbClr val="737373"/>
          </a:solidFill>
        </p:spPr>
        <p:txBody>
          <a:bodyPr wrap="square" lIns="0" tIns="0" rIns="0" bIns="0" rtlCol="0"/>
          <a:lstStyle/>
          <a:p>
            <a:endParaRPr/>
          </a:p>
        </p:txBody>
      </p:sp>
      <p:sp>
        <p:nvSpPr>
          <p:cNvPr id="26" name="object 26"/>
          <p:cNvSpPr txBox="1"/>
          <p:nvPr/>
        </p:nvSpPr>
        <p:spPr>
          <a:xfrm>
            <a:off x="6874509" y="5363971"/>
            <a:ext cx="4378960" cy="678180"/>
          </a:xfrm>
          <a:prstGeom prst="rect">
            <a:avLst/>
          </a:prstGeom>
        </p:spPr>
        <p:txBody>
          <a:bodyPr vert="horz" wrap="square" lIns="0" tIns="17145" rIns="0" bIns="0" rtlCol="0">
            <a:spAutoFit/>
          </a:bodyPr>
          <a:lstStyle/>
          <a:p>
            <a:pPr marL="12700">
              <a:lnSpc>
                <a:spcPct val="100000"/>
              </a:lnSpc>
              <a:spcBef>
                <a:spcPts val="135"/>
              </a:spcBef>
            </a:pPr>
            <a:r>
              <a:rPr sz="2100" spc="55" dirty="0">
                <a:solidFill>
                  <a:srgbClr val="003B55"/>
                </a:solidFill>
                <a:latin typeface="Arial"/>
                <a:cs typeface="Arial"/>
              </a:rPr>
              <a:t>2. </a:t>
            </a:r>
            <a:r>
              <a:rPr sz="2100" spc="10" dirty="0">
                <a:solidFill>
                  <a:srgbClr val="003B55"/>
                </a:solidFill>
                <a:latin typeface="Arial"/>
                <a:cs typeface="Arial"/>
              </a:rPr>
              <a:t>Ansible </a:t>
            </a:r>
            <a:r>
              <a:rPr sz="2100" spc="40" dirty="0">
                <a:solidFill>
                  <a:srgbClr val="003B55"/>
                </a:solidFill>
                <a:latin typeface="Arial"/>
                <a:cs typeface="Arial"/>
              </a:rPr>
              <a:t>executes </a:t>
            </a:r>
            <a:r>
              <a:rPr sz="2100" spc="30" dirty="0">
                <a:solidFill>
                  <a:srgbClr val="003B55"/>
                </a:solidFill>
                <a:latin typeface="Arial"/>
                <a:cs typeface="Arial"/>
              </a:rPr>
              <a:t>modules</a:t>
            </a:r>
            <a:r>
              <a:rPr sz="2100" spc="-15" dirty="0">
                <a:solidFill>
                  <a:srgbClr val="003B55"/>
                </a:solidFill>
                <a:latin typeface="Arial"/>
                <a:cs typeface="Arial"/>
              </a:rPr>
              <a:t> </a:t>
            </a:r>
            <a:r>
              <a:rPr sz="2100" spc="0" dirty="0">
                <a:solidFill>
                  <a:srgbClr val="003B55"/>
                </a:solidFill>
                <a:latin typeface="Arial"/>
                <a:cs typeface="Arial"/>
              </a:rPr>
              <a:t>locally</a:t>
            </a:r>
            <a:endParaRPr sz="2100">
              <a:latin typeface="Arial"/>
              <a:cs typeface="Arial"/>
            </a:endParaRPr>
          </a:p>
          <a:p>
            <a:pPr marL="12700">
              <a:lnSpc>
                <a:spcPct val="100000"/>
              </a:lnSpc>
              <a:spcBef>
                <a:spcPts val="45"/>
              </a:spcBef>
            </a:pPr>
            <a:r>
              <a:rPr sz="2100" spc="10" dirty="0">
                <a:solidFill>
                  <a:srgbClr val="003B55"/>
                </a:solidFill>
                <a:latin typeface="Arial"/>
                <a:cs typeface="Arial"/>
              </a:rPr>
              <a:t>using </a:t>
            </a:r>
            <a:r>
              <a:rPr sz="2100" spc="-40" dirty="0">
                <a:solidFill>
                  <a:srgbClr val="003B55"/>
                </a:solidFill>
                <a:latin typeface="Arial"/>
                <a:cs typeface="Arial"/>
              </a:rPr>
              <a:t>APIs </a:t>
            </a:r>
            <a:r>
              <a:rPr sz="2100" spc="50" dirty="0">
                <a:solidFill>
                  <a:srgbClr val="003B55"/>
                </a:solidFill>
                <a:latin typeface="Arial"/>
                <a:cs typeface="Arial"/>
              </a:rPr>
              <a:t>to </a:t>
            </a:r>
            <a:r>
              <a:rPr sz="2100" spc="25" dirty="0">
                <a:solidFill>
                  <a:srgbClr val="003B55"/>
                </a:solidFill>
                <a:latin typeface="Arial"/>
                <a:cs typeface="Arial"/>
              </a:rPr>
              <a:t>interface </a:t>
            </a:r>
            <a:r>
              <a:rPr sz="2100" spc="35" dirty="0">
                <a:solidFill>
                  <a:srgbClr val="003B55"/>
                </a:solidFill>
                <a:latin typeface="Arial"/>
                <a:cs typeface="Arial"/>
              </a:rPr>
              <a:t>with</a:t>
            </a:r>
            <a:r>
              <a:rPr sz="2100" spc="135" dirty="0">
                <a:solidFill>
                  <a:srgbClr val="003B55"/>
                </a:solidFill>
                <a:latin typeface="Arial"/>
                <a:cs typeface="Arial"/>
              </a:rPr>
              <a:t> </a:t>
            </a:r>
            <a:r>
              <a:rPr sz="2100" spc="30" dirty="0">
                <a:solidFill>
                  <a:srgbClr val="003B55"/>
                </a:solidFill>
                <a:latin typeface="Arial"/>
                <a:cs typeface="Arial"/>
              </a:rPr>
              <a:t>devices</a:t>
            </a:r>
            <a:endParaRPr sz="2100">
              <a:latin typeface="Arial"/>
              <a:cs typeface="Arial"/>
            </a:endParaRPr>
          </a:p>
        </p:txBody>
      </p:sp>
      <p:sp>
        <p:nvSpPr>
          <p:cNvPr id="27" name="object 27"/>
          <p:cNvSpPr/>
          <p:nvPr/>
        </p:nvSpPr>
        <p:spPr>
          <a:xfrm>
            <a:off x="3041904" y="3892296"/>
            <a:ext cx="2401823" cy="1929383"/>
          </a:xfrm>
          <a:prstGeom prst="rect">
            <a:avLst/>
          </a:prstGeom>
          <a:blipFill>
            <a:blip r:embed="rId5" cstate="print"/>
            <a:stretch>
              <a:fillRect/>
            </a:stretch>
          </a:blipFill>
        </p:spPr>
        <p:txBody>
          <a:bodyPr wrap="square" lIns="0" tIns="0" rIns="0" bIns="0" rtlCol="0"/>
          <a:lstStyle/>
          <a:p>
            <a:endParaRPr/>
          </a:p>
        </p:txBody>
      </p:sp>
      <p:sp>
        <p:nvSpPr>
          <p:cNvPr id="28" name="object 28"/>
          <p:cNvSpPr/>
          <p:nvPr/>
        </p:nvSpPr>
        <p:spPr>
          <a:xfrm>
            <a:off x="3249167" y="4492752"/>
            <a:ext cx="338328" cy="347472"/>
          </a:xfrm>
          <a:prstGeom prst="rect">
            <a:avLst/>
          </a:prstGeom>
          <a:blipFill>
            <a:blip r:embed="rId6" cstate="print"/>
            <a:stretch>
              <a:fillRect/>
            </a:stretch>
          </a:blipFill>
        </p:spPr>
        <p:txBody>
          <a:bodyPr wrap="square" lIns="0" tIns="0" rIns="0" bIns="0" rtlCol="0"/>
          <a:lstStyle/>
          <a:p>
            <a:endParaRPr/>
          </a:p>
        </p:txBody>
      </p:sp>
      <p:sp>
        <p:nvSpPr>
          <p:cNvPr id="29" name="object 29"/>
          <p:cNvSpPr/>
          <p:nvPr/>
        </p:nvSpPr>
        <p:spPr>
          <a:xfrm>
            <a:off x="8534400" y="4181855"/>
            <a:ext cx="1060703" cy="719328"/>
          </a:xfrm>
          <a:prstGeom prst="rect">
            <a:avLst/>
          </a:prstGeom>
          <a:blipFill>
            <a:blip r:embed="rId7" cstate="print"/>
            <a:stretch>
              <a:fillRect/>
            </a:stretch>
          </a:blipFill>
        </p:spPr>
        <p:txBody>
          <a:bodyPr wrap="square" lIns="0" tIns="0" rIns="0" bIns="0" rtlCol="0"/>
          <a:lstStyle/>
          <a:p>
            <a:endParaRPr/>
          </a:p>
        </p:txBody>
      </p:sp>
      <p:sp>
        <p:nvSpPr>
          <p:cNvPr id="30" name="object 30"/>
          <p:cNvSpPr/>
          <p:nvPr/>
        </p:nvSpPr>
        <p:spPr>
          <a:xfrm>
            <a:off x="7623047" y="1648967"/>
            <a:ext cx="1063752" cy="719327"/>
          </a:xfrm>
          <a:prstGeom prst="rect">
            <a:avLst/>
          </a:prstGeom>
          <a:blipFill>
            <a:blip r:embed="rId8" cstate="print"/>
            <a:stretch>
              <a:fillRect/>
            </a:stretch>
          </a:blipFill>
        </p:spPr>
        <p:txBody>
          <a:bodyPr wrap="square" lIns="0" tIns="0" rIns="0" bIns="0" rtlCol="0"/>
          <a:lstStyle/>
          <a:p>
            <a:endParaRPr/>
          </a:p>
        </p:txBody>
      </p:sp>
      <p:sp>
        <p:nvSpPr>
          <p:cNvPr id="31" name="object 31"/>
          <p:cNvSpPr/>
          <p:nvPr/>
        </p:nvSpPr>
        <p:spPr>
          <a:xfrm>
            <a:off x="10168128" y="2679192"/>
            <a:ext cx="1060703" cy="716279"/>
          </a:xfrm>
          <a:prstGeom prst="rect">
            <a:avLst/>
          </a:prstGeom>
          <a:blipFill>
            <a:blip r:embed="rId9" cstate="print"/>
            <a:stretch>
              <a:fillRect/>
            </a:stretch>
          </a:blipFill>
        </p:spPr>
        <p:txBody>
          <a:bodyPr wrap="square" lIns="0" tIns="0" rIns="0" bIns="0" rtlCol="0"/>
          <a:lstStyle/>
          <a:p>
            <a:endParaRPr/>
          </a:p>
        </p:txBody>
      </p:sp>
      <p:sp>
        <p:nvSpPr>
          <p:cNvPr id="32" name="object 32"/>
          <p:cNvSpPr/>
          <p:nvPr/>
        </p:nvSpPr>
        <p:spPr>
          <a:xfrm>
            <a:off x="9820656" y="3663696"/>
            <a:ext cx="1060703" cy="722376"/>
          </a:xfrm>
          <a:prstGeom prst="rect">
            <a:avLst/>
          </a:prstGeom>
          <a:blipFill>
            <a:blip r:embed="rId10" cstate="print"/>
            <a:stretch>
              <a:fillRect/>
            </a:stretch>
          </a:blipFill>
        </p:spPr>
        <p:txBody>
          <a:bodyPr wrap="square" lIns="0" tIns="0" rIns="0" bIns="0" rtlCol="0"/>
          <a:lstStyle/>
          <a:p>
            <a:endParaRPr/>
          </a:p>
        </p:txBody>
      </p:sp>
      <p:sp>
        <p:nvSpPr>
          <p:cNvPr id="33" name="object 33"/>
          <p:cNvSpPr/>
          <p:nvPr/>
        </p:nvSpPr>
        <p:spPr>
          <a:xfrm>
            <a:off x="9037319" y="1911095"/>
            <a:ext cx="1057655" cy="731520"/>
          </a:xfrm>
          <a:prstGeom prst="rect">
            <a:avLst/>
          </a:prstGeom>
          <a:blipFill>
            <a:blip r:embed="rId11" cstate="print"/>
            <a:stretch>
              <a:fillRect/>
            </a:stretch>
          </a:blipFill>
        </p:spPr>
        <p:txBody>
          <a:bodyPr wrap="square" lIns="0" tIns="0" rIns="0" bIns="0" rtlCol="0"/>
          <a:lstStyle/>
          <a:p>
            <a:endParaRPr/>
          </a:p>
        </p:txBody>
      </p:sp>
      <p:sp>
        <p:nvSpPr>
          <p:cNvPr id="34" name="object 34"/>
          <p:cNvSpPr/>
          <p:nvPr/>
        </p:nvSpPr>
        <p:spPr>
          <a:xfrm>
            <a:off x="396240" y="3294888"/>
            <a:ext cx="3191256" cy="795528"/>
          </a:xfrm>
          <a:prstGeom prst="rect">
            <a:avLst/>
          </a:prstGeom>
          <a:blipFill>
            <a:blip r:embed="rId12" cstate="print"/>
            <a:stretch>
              <a:fillRect/>
            </a:stretch>
          </a:blipFill>
        </p:spPr>
        <p:txBody>
          <a:bodyPr wrap="square" lIns="0" tIns="0" rIns="0" bIns="0" rtlCol="0"/>
          <a:lstStyle/>
          <a:p>
            <a:endParaRPr/>
          </a:p>
        </p:txBody>
      </p:sp>
      <p:sp>
        <p:nvSpPr>
          <p:cNvPr id="35" name="object 35"/>
          <p:cNvSpPr/>
          <p:nvPr/>
        </p:nvSpPr>
        <p:spPr>
          <a:xfrm>
            <a:off x="391668" y="3290315"/>
            <a:ext cx="3200400" cy="805180"/>
          </a:xfrm>
          <a:custGeom>
            <a:avLst/>
            <a:gdLst/>
            <a:ahLst/>
            <a:cxnLst/>
            <a:rect l="l" t="t" r="r" b="b"/>
            <a:pathLst>
              <a:path w="3200400" h="805179">
                <a:moveTo>
                  <a:pt x="0" y="804672"/>
                </a:moveTo>
                <a:lnTo>
                  <a:pt x="3200399" y="804672"/>
                </a:lnTo>
                <a:lnTo>
                  <a:pt x="3200399" y="0"/>
                </a:lnTo>
                <a:lnTo>
                  <a:pt x="0" y="0"/>
                </a:lnTo>
                <a:lnTo>
                  <a:pt x="0" y="804672"/>
                </a:lnTo>
                <a:close/>
              </a:path>
            </a:pathLst>
          </a:custGeom>
          <a:ln w="9144">
            <a:solidFill>
              <a:srgbClr val="282828"/>
            </a:solidFill>
          </a:ln>
        </p:spPr>
        <p:txBody>
          <a:bodyPr wrap="square" lIns="0" tIns="0" rIns="0" bIns="0" rtlCol="0"/>
          <a:lstStyle/>
          <a:p>
            <a:endParaRPr/>
          </a:p>
        </p:txBody>
      </p:sp>
      <p:sp>
        <p:nvSpPr>
          <p:cNvPr id="36" name="object 36"/>
          <p:cNvSpPr/>
          <p:nvPr/>
        </p:nvSpPr>
        <p:spPr>
          <a:xfrm>
            <a:off x="592836" y="3848100"/>
            <a:ext cx="1493520" cy="222885"/>
          </a:xfrm>
          <a:custGeom>
            <a:avLst/>
            <a:gdLst/>
            <a:ahLst/>
            <a:cxnLst/>
            <a:rect l="l" t="t" r="r" b="b"/>
            <a:pathLst>
              <a:path w="1493520" h="222885">
                <a:moveTo>
                  <a:pt x="0" y="222504"/>
                </a:moveTo>
                <a:lnTo>
                  <a:pt x="1493520" y="222504"/>
                </a:lnTo>
                <a:lnTo>
                  <a:pt x="1493520" y="0"/>
                </a:lnTo>
                <a:lnTo>
                  <a:pt x="0" y="0"/>
                </a:lnTo>
                <a:lnTo>
                  <a:pt x="0" y="222504"/>
                </a:lnTo>
                <a:close/>
              </a:path>
            </a:pathLst>
          </a:custGeom>
          <a:ln w="39624">
            <a:solidFill>
              <a:srgbClr val="00BBEB"/>
            </a:solidFill>
          </a:ln>
        </p:spPr>
        <p:txBody>
          <a:bodyPr wrap="square" lIns="0" tIns="0" rIns="0" bIns="0" rtlCol="0"/>
          <a:lstStyle/>
          <a:p>
            <a:endParaRPr/>
          </a:p>
        </p:txBody>
      </p:sp>
    </p:spTree>
    <p:extLst>
      <p:ext uri="{BB962C8B-B14F-4D97-AF65-F5344CB8AC3E}">
        <p14:creationId xmlns:p14="http://schemas.microsoft.com/office/powerpoint/2010/main" val="28577125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a:lnSpc>
                <a:spcPct val="100000"/>
              </a:lnSpc>
              <a:spcBef>
                <a:spcPts val="90"/>
              </a:spcBef>
            </a:pPr>
            <a:r>
              <a:rPr sz="800" spc="80" dirty="0">
                <a:solidFill>
                  <a:srgbClr val="A6A6A6"/>
                </a:solidFill>
                <a:latin typeface="Arial"/>
                <a:cs typeface="Arial"/>
              </a:rPr>
              <a:t>© </a:t>
            </a:r>
            <a:r>
              <a:rPr sz="800" spc="40" dirty="0">
                <a:solidFill>
                  <a:srgbClr val="A6A6A6"/>
                </a:solidFill>
                <a:latin typeface="Arial"/>
                <a:cs typeface="Arial"/>
              </a:rPr>
              <a:t>2017  </a:t>
            </a:r>
            <a:r>
              <a:rPr sz="800" spc="10" dirty="0">
                <a:solidFill>
                  <a:srgbClr val="A6A6A6"/>
                </a:solidFill>
                <a:latin typeface="Arial"/>
                <a:cs typeface="Arial"/>
              </a:rPr>
              <a:t>Cisco </a:t>
            </a:r>
            <a:r>
              <a:rPr sz="800" spc="15" dirty="0">
                <a:solidFill>
                  <a:srgbClr val="A6A6A6"/>
                </a:solidFill>
                <a:latin typeface="Arial"/>
                <a:cs typeface="Arial"/>
              </a:rPr>
              <a:t>and/or  </a:t>
            </a:r>
            <a:r>
              <a:rPr sz="800" spc="5" dirty="0">
                <a:solidFill>
                  <a:srgbClr val="A6A6A6"/>
                </a:solidFill>
                <a:latin typeface="Arial"/>
                <a:cs typeface="Arial"/>
              </a:rPr>
              <a:t>its affiliates.  </a:t>
            </a:r>
            <a:r>
              <a:rPr sz="800" dirty="0">
                <a:solidFill>
                  <a:srgbClr val="A6A6A6"/>
                </a:solidFill>
                <a:latin typeface="Arial"/>
                <a:cs typeface="Arial"/>
              </a:rPr>
              <a:t>All </a:t>
            </a:r>
            <a:r>
              <a:rPr sz="800" spc="5" dirty="0">
                <a:solidFill>
                  <a:srgbClr val="A6A6A6"/>
                </a:solidFill>
                <a:latin typeface="Arial"/>
                <a:cs typeface="Arial"/>
              </a:rPr>
              <a:t>rights  </a:t>
            </a:r>
            <a:r>
              <a:rPr sz="800" spc="10" dirty="0">
                <a:solidFill>
                  <a:srgbClr val="A6A6A6"/>
                </a:solidFill>
                <a:latin typeface="Arial"/>
                <a:cs typeface="Arial"/>
              </a:rPr>
              <a:t>reserved.    Cisco</a:t>
            </a:r>
            <a:r>
              <a:rPr sz="800" spc="100" dirty="0">
                <a:solidFill>
                  <a:srgbClr val="A6A6A6"/>
                </a:solidFill>
                <a:latin typeface="Arial"/>
                <a:cs typeface="Arial"/>
              </a:rPr>
              <a:t> </a:t>
            </a:r>
            <a:r>
              <a:rPr sz="800" spc="5" dirty="0">
                <a:solidFill>
                  <a:srgbClr val="A6A6A6"/>
                </a:solidFill>
                <a:latin typeface="Arial"/>
                <a:cs typeface="Arial"/>
              </a:rPr>
              <a:t>Confidential</a:t>
            </a:r>
            <a:endParaRPr sz="800">
              <a:latin typeface="Arial"/>
              <a:cs typeface="Arial"/>
            </a:endParaRPr>
          </a:p>
        </p:txBody>
      </p:sp>
      <p:sp>
        <p:nvSpPr>
          <p:cNvPr id="3" name="object 3"/>
          <p:cNvSpPr txBox="1"/>
          <p:nvPr/>
        </p:nvSpPr>
        <p:spPr>
          <a:xfrm>
            <a:off x="774903" y="1560236"/>
            <a:ext cx="5107940" cy="1805939"/>
          </a:xfrm>
          <a:prstGeom prst="rect">
            <a:avLst/>
          </a:prstGeom>
        </p:spPr>
        <p:txBody>
          <a:bodyPr vert="horz" wrap="square" lIns="0" tIns="77470" rIns="0" bIns="0" rtlCol="0">
            <a:spAutoFit/>
          </a:bodyPr>
          <a:lstStyle/>
          <a:p>
            <a:pPr marL="167640" indent="-154940">
              <a:lnSpc>
                <a:spcPct val="100000"/>
              </a:lnSpc>
              <a:spcBef>
                <a:spcPts val="610"/>
              </a:spcBef>
              <a:buSzPct val="60377"/>
              <a:buChar char="•"/>
              <a:tabLst>
                <a:tab pos="168275" algn="l"/>
              </a:tabLst>
            </a:pPr>
            <a:r>
              <a:rPr sz="2650" dirty="0">
                <a:solidFill>
                  <a:srgbClr val="282828"/>
                </a:solidFill>
                <a:latin typeface="Arial"/>
                <a:cs typeface="Arial"/>
              </a:rPr>
              <a:t>Python </a:t>
            </a:r>
            <a:r>
              <a:rPr sz="2650" spc="85" dirty="0">
                <a:solidFill>
                  <a:srgbClr val="282828"/>
                </a:solidFill>
                <a:latin typeface="Arial"/>
                <a:cs typeface="Arial"/>
              </a:rPr>
              <a:t>2.6 </a:t>
            </a:r>
            <a:r>
              <a:rPr sz="2650" spc="30" dirty="0">
                <a:solidFill>
                  <a:srgbClr val="282828"/>
                </a:solidFill>
                <a:latin typeface="Arial"/>
                <a:cs typeface="Arial"/>
              </a:rPr>
              <a:t>or</a:t>
            </a:r>
            <a:r>
              <a:rPr sz="2650" spc="25" dirty="0">
                <a:solidFill>
                  <a:srgbClr val="282828"/>
                </a:solidFill>
                <a:latin typeface="Arial"/>
                <a:cs typeface="Arial"/>
              </a:rPr>
              <a:t> </a:t>
            </a:r>
            <a:r>
              <a:rPr sz="2650" spc="85" dirty="0">
                <a:solidFill>
                  <a:srgbClr val="282828"/>
                </a:solidFill>
                <a:latin typeface="Arial"/>
                <a:cs typeface="Arial"/>
              </a:rPr>
              <a:t>2.7</a:t>
            </a:r>
            <a:endParaRPr sz="2650">
              <a:latin typeface="Arial"/>
              <a:cs typeface="Arial"/>
            </a:endParaRPr>
          </a:p>
          <a:p>
            <a:pPr marL="320040" lvl="1" indent="-152400">
              <a:lnSpc>
                <a:spcPts val="2810"/>
              </a:lnSpc>
              <a:spcBef>
                <a:spcPts val="450"/>
              </a:spcBef>
              <a:buSzPct val="60416"/>
              <a:buChar char="•"/>
              <a:tabLst>
                <a:tab pos="320675" algn="l"/>
              </a:tabLst>
            </a:pPr>
            <a:r>
              <a:rPr sz="2400" spc="-10" dirty="0">
                <a:solidFill>
                  <a:srgbClr val="282828"/>
                </a:solidFill>
                <a:latin typeface="Arial"/>
                <a:cs typeface="Arial"/>
              </a:rPr>
              <a:t>Python </a:t>
            </a:r>
            <a:r>
              <a:rPr sz="2400" spc="100" dirty="0">
                <a:solidFill>
                  <a:srgbClr val="282828"/>
                </a:solidFill>
                <a:latin typeface="Arial"/>
                <a:cs typeface="Arial"/>
              </a:rPr>
              <a:t>3 </a:t>
            </a:r>
            <a:r>
              <a:rPr sz="2400" spc="25" dirty="0">
                <a:solidFill>
                  <a:srgbClr val="282828"/>
                </a:solidFill>
                <a:latin typeface="Arial"/>
                <a:cs typeface="Arial"/>
              </a:rPr>
              <a:t>support </a:t>
            </a:r>
            <a:r>
              <a:rPr sz="2400" spc="10" dirty="0">
                <a:solidFill>
                  <a:srgbClr val="282828"/>
                </a:solidFill>
                <a:latin typeface="Arial"/>
                <a:cs typeface="Arial"/>
              </a:rPr>
              <a:t>currently </a:t>
            </a:r>
            <a:r>
              <a:rPr sz="2400" spc="-20" dirty="0">
                <a:solidFill>
                  <a:srgbClr val="282828"/>
                </a:solidFill>
                <a:latin typeface="Arial"/>
                <a:cs typeface="Arial"/>
              </a:rPr>
              <a:t>in</a:t>
            </a:r>
            <a:r>
              <a:rPr sz="2400" spc="75" dirty="0">
                <a:solidFill>
                  <a:srgbClr val="282828"/>
                </a:solidFill>
                <a:latin typeface="Arial"/>
                <a:cs typeface="Arial"/>
              </a:rPr>
              <a:t> “tech</a:t>
            </a:r>
            <a:endParaRPr sz="2400">
              <a:latin typeface="Arial"/>
              <a:cs typeface="Arial"/>
            </a:endParaRPr>
          </a:p>
          <a:p>
            <a:pPr marL="320040">
              <a:lnSpc>
                <a:spcPts val="2810"/>
              </a:lnSpc>
            </a:pPr>
            <a:r>
              <a:rPr sz="2400" spc="50" dirty="0">
                <a:solidFill>
                  <a:srgbClr val="282828"/>
                </a:solidFill>
                <a:latin typeface="Arial"/>
                <a:cs typeface="Arial"/>
              </a:rPr>
              <a:t>preview”</a:t>
            </a:r>
            <a:endParaRPr sz="2400">
              <a:latin typeface="Arial"/>
              <a:cs typeface="Arial"/>
            </a:endParaRPr>
          </a:p>
          <a:p>
            <a:pPr marL="167640" indent="-154940">
              <a:lnSpc>
                <a:spcPct val="100000"/>
              </a:lnSpc>
              <a:spcBef>
                <a:spcPts val="1075"/>
              </a:spcBef>
              <a:buSzPct val="60377"/>
              <a:buFont typeface="Arial"/>
              <a:buChar char="•"/>
              <a:tabLst>
                <a:tab pos="168275" algn="l"/>
              </a:tabLst>
            </a:pPr>
            <a:r>
              <a:rPr sz="2650" spc="0" dirty="0">
                <a:solidFill>
                  <a:srgbClr val="282828"/>
                </a:solidFill>
                <a:latin typeface="Courier New"/>
                <a:cs typeface="Courier New"/>
              </a:rPr>
              <a:t>pip </a:t>
            </a:r>
            <a:r>
              <a:rPr sz="2650" dirty="0">
                <a:solidFill>
                  <a:srgbClr val="282828"/>
                </a:solidFill>
                <a:latin typeface="Courier New"/>
                <a:cs typeface="Courier New"/>
              </a:rPr>
              <a:t>install</a:t>
            </a:r>
            <a:r>
              <a:rPr sz="2650" spc="40" dirty="0">
                <a:solidFill>
                  <a:srgbClr val="282828"/>
                </a:solidFill>
                <a:latin typeface="Courier New"/>
                <a:cs typeface="Courier New"/>
              </a:rPr>
              <a:t> </a:t>
            </a:r>
            <a:r>
              <a:rPr sz="2650" dirty="0">
                <a:solidFill>
                  <a:srgbClr val="282828"/>
                </a:solidFill>
                <a:latin typeface="Courier New"/>
                <a:cs typeface="Courier New"/>
              </a:rPr>
              <a:t>ansible</a:t>
            </a:r>
            <a:endParaRPr sz="2650">
              <a:latin typeface="Courier New"/>
              <a:cs typeface="Courier New"/>
            </a:endParaRPr>
          </a:p>
        </p:txBody>
      </p:sp>
      <p:sp>
        <p:nvSpPr>
          <p:cNvPr id="4" name="object 4"/>
          <p:cNvSpPr txBox="1"/>
          <p:nvPr/>
        </p:nvSpPr>
        <p:spPr>
          <a:xfrm>
            <a:off x="6339840" y="1429511"/>
            <a:ext cx="5370830" cy="4693920"/>
          </a:xfrm>
          <a:prstGeom prst="rect">
            <a:avLst/>
          </a:prstGeom>
          <a:solidFill>
            <a:srgbClr val="282828"/>
          </a:solidFill>
        </p:spPr>
        <p:txBody>
          <a:bodyPr vert="horz" wrap="square" lIns="0" tIns="36195" rIns="0" bIns="0" rtlCol="0">
            <a:spAutoFit/>
          </a:bodyPr>
          <a:lstStyle/>
          <a:p>
            <a:pPr marL="78740" marR="2726055">
              <a:lnSpc>
                <a:spcPts val="1580"/>
              </a:lnSpc>
              <a:spcBef>
                <a:spcPts val="285"/>
              </a:spcBef>
            </a:pPr>
            <a:r>
              <a:rPr sz="1400" spc="-5" dirty="0">
                <a:solidFill>
                  <a:srgbClr val="FFFFFF"/>
                </a:solidFill>
                <a:latin typeface="Courier New"/>
                <a:cs typeface="Courier New"/>
              </a:rPr>
              <a:t>DevNet$ python --version  Python</a:t>
            </a:r>
            <a:r>
              <a:rPr sz="1400" spc="-100" dirty="0">
                <a:solidFill>
                  <a:srgbClr val="FFFFFF"/>
                </a:solidFill>
                <a:latin typeface="Courier New"/>
                <a:cs typeface="Courier New"/>
              </a:rPr>
              <a:t> </a:t>
            </a:r>
            <a:r>
              <a:rPr sz="1400" spc="-5" dirty="0">
                <a:solidFill>
                  <a:srgbClr val="FFFFFF"/>
                </a:solidFill>
                <a:latin typeface="Courier New"/>
                <a:cs typeface="Courier New"/>
              </a:rPr>
              <a:t>2.7.12</a:t>
            </a:r>
            <a:endParaRPr sz="1400">
              <a:latin typeface="Courier New"/>
              <a:cs typeface="Courier New"/>
            </a:endParaRPr>
          </a:p>
          <a:p>
            <a:pPr>
              <a:lnSpc>
                <a:spcPct val="100000"/>
              </a:lnSpc>
              <a:spcBef>
                <a:spcPts val="30"/>
              </a:spcBef>
            </a:pPr>
            <a:endParaRPr sz="1350">
              <a:latin typeface="Times New Roman"/>
              <a:cs typeface="Times New Roman"/>
            </a:endParaRPr>
          </a:p>
          <a:p>
            <a:pPr marL="78740" marR="2411095">
              <a:lnSpc>
                <a:spcPts val="1610"/>
              </a:lnSpc>
            </a:pPr>
            <a:r>
              <a:rPr sz="1400" spc="-5" dirty="0">
                <a:solidFill>
                  <a:srgbClr val="FFFFFF"/>
                </a:solidFill>
                <a:latin typeface="Courier New"/>
                <a:cs typeface="Courier New"/>
              </a:rPr>
              <a:t>DevNet$ pip </a:t>
            </a:r>
            <a:r>
              <a:rPr sz="1400" spc="-10" dirty="0">
                <a:solidFill>
                  <a:srgbClr val="FFFFFF"/>
                </a:solidFill>
                <a:latin typeface="Courier New"/>
                <a:cs typeface="Courier New"/>
              </a:rPr>
              <a:t>install ansible  </a:t>
            </a:r>
            <a:r>
              <a:rPr sz="1400" spc="-5" dirty="0">
                <a:solidFill>
                  <a:srgbClr val="FFFFFF"/>
                </a:solidFill>
                <a:latin typeface="Courier New"/>
                <a:cs typeface="Courier New"/>
              </a:rPr>
              <a:t>Collecting</a:t>
            </a:r>
            <a:r>
              <a:rPr sz="1400" spc="-80" dirty="0">
                <a:solidFill>
                  <a:srgbClr val="FFFFFF"/>
                </a:solidFill>
                <a:latin typeface="Courier New"/>
                <a:cs typeface="Courier New"/>
              </a:rPr>
              <a:t> </a:t>
            </a:r>
            <a:r>
              <a:rPr sz="1400" spc="-10" dirty="0">
                <a:solidFill>
                  <a:srgbClr val="FFFFFF"/>
                </a:solidFill>
                <a:latin typeface="Courier New"/>
                <a:cs typeface="Courier New"/>
              </a:rPr>
              <a:t>ansible</a:t>
            </a:r>
            <a:endParaRPr sz="1400">
              <a:latin typeface="Courier New"/>
              <a:cs typeface="Courier New"/>
            </a:endParaRPr>
          </a:p>
          <a:p>
            <a:pPr marL="292100">
              <a:lnSpc>
                <a:spcPts val="1505"/>
              </a:lnSpc>
            </a:pPr>
            <a:r>
              <a:rPr sz="1400" spc="-5" dirty="0">
                <a:solidFill>
                  <a:srgbClr val="FFFFFF"/>
                </a:solidFill>
                <a:latin typeface="Courier New"/>
                <a:cs typeface="Courier New"/>
              </a:rPr>
              <a:t>Downloading </a:t>
            </a:r>
            <a:r>
              <a:rPr sz="1400" spc="-10" dirty="0">
                <a:solidFill>
                  <a:srgbClr val="FFFFFF"/>
                </a:solidFill>
                <a:latin typeface="Courier New"/>
                <a:cs typeface="Courier New"/>
              </a:rPr>
              <a:t>ansible-2.3.1.0.tar.gz</a:t>
            </a:r>
            <a:r>
              <a:rPr sz="1400" spc="-15" dirty="0">
                <a:solidFill>
                  <a:srgbClr val="FFFFFF"/>
                </a:solidFill>
                <a:latin typeface="Courier New"/>
                <a:cs typeface="Courier New"/>
              </a:rPr>
              <a:t> </a:t>
            </a:r>
            <a:r>
              <a:rPr sz="1400" spc="-10" dirty="0">
                <a:solidFill>
                  <a:srgbClr val="FFFFFF"/>
                </a:solidFill>
                <a:latin typeface="Courier New"/>
                <a:cs typeface="Courier New"/>
              </a:rPr>
              <a:t>(4.3MB)</a:t>
            </a:r>
            <a:endParaRPr sz="1400">
              <a:latin typeface="Courier New"/>
              <a:cs typeface="Courier New"/>
            </a:endParaRPr>
          </a:p>
          <a:p>
            <a:pPr marL="505459">
              <a:lnSpc>
                <a:spcPts val="1595"/>
              </a:lnSpc>
            </a:pPr>
            <a:r>
              <a:rPr sz="1400" spc="-5" dirty="0">
                <a:solidFill>
                  <a:srgbClr val="FFFFFF"/>
                </a:solidFill>
                <a:latin typeface="Courier New"/>
                <a:cs typeface="Courier New"/>
              </a:rPr>
              <a:t>100% </a:t>
            </a:r>
            <a:r>
              <a:rPr sz="1400" spc="-10" dirty="0">
                <a:solidFill>
                  <a:srgbClr val="FFFFFF"/>
                </a:solidFill>
                <a:latin typeface="Courier New"/>
                <a:cs typeface="Courier New"/>
              </a:rPr>
              <a:t>|████████████████████████████████|</a:t>
            </a:r>
            <a:r>
              <a:rPr sz="1400" spc="40" dirty="0">
                <a:solidFill>
                  <a:srgbClr val="FFFFFF"/>
                </a:solidFill>
                <a:latin typeface="Courier New"/>
                <a:cs typeface="Courier New"/>
              </a:rPr>
              <a:t> </a:t>
            </a:r>
            <a:r>
              <a:rPr sz="1400" spc="-5" dirty="0">
                <a:solidFill>
                  <a:srgbClr val="FFFFFF"/>
                </a:solidFill>
                <a:latin typeface="Courier New"/>
                <a:cs typeface="Courier New"/>
              </a:rPr>
              <a:t>4.3MB</a:t>
            </a:r>
            <a:endParaRPr sz="1400">
              <a:latin typeface="Courier New"/>
              <a:cs typeface="Courier New"/>
            </a:endParaRPr>
          </a:p>
          <a:p>
            <a:pPr marL="78740" algn="just">
              <a:lnSpc>
                <a:spcPts val="1600"/>
              </a:lnSpc>
            </a:pPr>
            <a:r>
              <a:rPr sz="1400" spc="-5" dirty="0">
                <a:solidFill>
                  <a:srgbClr val="FFFFFF"/>
                </a:solidFill>
                <a:latin typeface="Courier New"/>
                <a:cs typeface="Courier New"/>
              </a:rPr>
              <a:t>283kB/s</a:t>
            </a:r>
            <a:endParaRPr sz="1400">
              <a:latin typeface="Courier New"/>
              <a:cs typeface="Courier New"/>
            </a:endParaRPr>
          </a:p>
          <a:p>
            <a:pPr marL="78740" algn="just">
              <a:lnSpc>
                <a:spcPts val="1595"/>
              </a:lnSpc>
            </a:pPr>
            <a:r>
              <a:rPr sz="1400" spc="-5" dirty="0">
                <a:solidFill>
                  <a:srgbClr val="FFFFFF"/>
                </a:solidFill>
                <a:latin typeface="Courier New"/>
                <a:cs typeface="Courier New"/>
              </a:rPr>
              <a:t>.</a:t>
            </a:r>
            <a:endParaRPr sz="1400">
              <a:latin typeface="Courier New"/>
              <a:cs typeface="Courier New"/>
            </a:endParaRPr>
          </a:p>
          <a:p>
            <a:pPr marL="78740" algn="just">
              <a:lnSpc>
                <a:spcPts val="1595"/>
              </a:lnSpc>
            </a:pPr>
            <a:r>
              <a:rPr sz="1400" spc="-5" dirty="0">
                <a:solidFill>
                  <a:srgbClr val="FFFFFF"/>
                </a:solidFill>
                <a:latin typeface="Courier New"/>
                <a:cs typeface="Courier New"/>
              </a:rPr>
              <a:t>.</a:t>
            </a:r>
            <a:endParaRPr sz="1400">
              <a:latin typeface="Courier New"/>
              <a:cs typeface="Courier New"/>
            </a:endParaRPr>
          </a:p>
          <a:p>
            <a:pPr marL="78740" algn="just">
              <a:lnSpc>
                <a:spcPts val="1595"/>
              </a:lnSpc>
            </a:pPr>
            <a:r>
              <a:rPr sz="1400" spc="-5" dirty="0">
                <a:solidFill>
                  <a:srgbClr val="FFFFFF"/>
                </a:solidFill>
                <a:latin typeface="Courier New"/>
                <a:cs typeface="Courier New"/>
              </a:rPr>
              <a:t>.</a:t>
            </a:r>
            <a:endParaRPr sz="1400">
              <a:latin typeface="Courier New"/>
              <a:cs typeface="Courier New"/>
            </a:endParaRPr>
          </a:p>
          <a:p>
            <a:pPr marL="78740" algn="just">
              <a:lnSpc>
                <a:spcPts val="1595"/>
              </a:lnSpc>
            </a:pPr>
            <a:r>
              <a:rPr sz="1400" spc="-5" dirty="0">
                <a:solidFill>
                  <a:srgbClr val="FFFFFF"/>
                </a:solidFill>
                <a:latin typeface="Courier New"/>
                <a:cs typeface="Courier New"/>
              </a:rPr>
              <a:t>Successfully </a:t>
            </a:r>
            <a:r>
              <a:rPr sz="1400" spc="-10" dirty="0">
                <a:solidFill>
                  <a:srgbClr val="FFFFFF"/>
                </a:solidFill>
                <a:latin typeface="Courier New"/>
                <a:cs typeface="Courier New"/>
              </a:rPr>
              <a:t>built</a:t>
            </a:r>
            <a:r>
              <a:rPr sz="1400" spc="-70" dirty="0">
                <a:solidFill>
                  <a:srgbClr val="FFFFFF"/>
                </a:solidFill>
                <a:latin typeface="Courier New"/>
                <a:cs typeface="Courier New"/>
              </a:rPr>
              <a:t> </a:t>
            </a:r>
            <a:r>
              <a:rPr sz="1400" spc="-10" dirty="0">
                <a:solidFill>
                  <a:srgbClr val="FFFFFF"/>
                </a:solidFill>
                <a:latin typeface="Courier New"/>
                <a:cs typeface="Courier New"/>
              </a:rPr>
              <a:t>ansible</a:t>
            </a:r>
            <a:endParaRPr sz="1400">
              <a:latin typeface="Courier New"/>
              <a:cs typeface="Courier New"/>
            </a:endParaRPr>
          </a:p>
          <a:p>
            <a:pPr marL="78740" marR="1238250" algn="just">
              <a:lnSpc>
                <a:spcPct val="95100"/>
              </a:lnSpc>
              <a:spcBef>
                <a:spcPts val="50"/>
              </a:spcBef>
            </a:pPr>
            <a:r>
              <a:rPr sz="1400" spc="-5" dirty="0">
                <a:solidFill>
                  <a:srgbClr val="FFFFFF"/>
                </a:solidFill>
                <a:latin typeface="Courier New"/>
                <a:cs typeface="Courier New"/>
              </a:rPr>
              <a:t>Installing </a:t>
            </a:r>
            <a:r>
              <a:rPr sz="1400" spc="-10" dirty="0">
                <a:solidFill>
                  <a:srgbClr val="FFFFFF"/>
                </a:solidFill>
                <a:latin typeface="Courier New"/>
                <a:cs typeface="Courier New"/>
              </a:rPr>
              <a:t>collected packages: </a:t>
            </a:r>
            <a:r>
              <a:rPr sz="1400" spc="-5" dirty="0">
                <a:solidFill>
                  <a:srgbClr val="FFFFFF"/>
                </a:solidFill>
                <a:latin typeface="Courier New"/>
                <a:cs typeface="Courier New"/>
              </a:rPr>
              <a:t>ansible  Successfully </a:t>
            </a:r>
            <a:r>
              <a:rPr sz="1400" spc="-10" dirty="0">
                <a:solidFill>
                  <a:srgbClr val="FFFFFF"/>
                </a:solidFill>
                <a:latin typeface="Courier New"/>
                <a:cs typeface="Courier New"/>
              </a:rPr>
              <a:t>installed ansible-2.3.1.0  </a:t>
            </a:r>
            <a:r>
              <a:rPr sz="1400" spc="-5" dirty="0">
                <a:solidFill>
                  <a:srgbClr val="FFFFFF"/>
                </a:solidFill>
                <a:latin typeface="Courier New"/>
                <a:cs typeface="Courier New"/>
              </a:rPr>
              <a:t>DevNet$</a:t>
            </a:r>
            <a:endParaRPr sz="1400">
              <a:latin typeface="Courier New"/>
              <a:cs typeface="Courier New"/>
            </a:endParaRPr>
          </a:p>
        </p:txBody>
      </p:sp>
      <p:sp>
        <p:nvSpPr>
          <p:cNvPr id="5" name="object 5"/>
          <p:cNvSpPr txBox="1">
            <a:spLocks noGrp="1"/>
          </p:cNvSpPr>
          <p:nvPr>
            <p:ph type="title"/>
          </p:nvPr>
        </p:nvSpPr>
        <p:spPr>
          <a:xfrm>
            <a:off x="662736" y="587501"/>
            <a:ext cx="5369560" cy="596265"/>
          </a:xfrm>
          <a:prstGeom prst="rect">
            <a:avLst/>
          </a:prstGeom>
        </p:spPr>
        <p:txBody>
          <a:bodyPr vert="horz" wrap="square" lIns="0" tIns="12065" rIns="0" bIns="0" rtlCol="0">
            <a:spAutoFit/>
          </a:bodyPr>
          <a:lstStyle/>
          <a:p>
            <a:pPr marL="12700">
              <a:lnSpc>
                <a:spcPct val="100000"/>
              </a:lnSpc>
              <a:spcBef>
                <a:spcPts val="95"/>
              </a:spcBef>
            </a:pPr>
            <a:r>
              <a:rPr spc="-20" dirty="0"/>
              <a:t>Review: </a:t>
            </a:r>
            <a:r>
              <a:rPr spc="-45" dirty="0"/>
              <a:t>Installing</a:t>
            </a:r>
            <a:r>
              <a:rPr spc="125" dirty="0"/>
              <a:t> </a:t>
            </a:r>
            <a:r>
              <a:rPr spc="-10" dirty="0"/>
              <a:t>Ansible</a:t>
            </a:r>
          </a:p>
        </p:txBody>
      </p:sp>
      <p:sp>
        <p:nvSpPr>
          <p:cNvPr id="6" name="object 6"/>
          <p:cNvSpPr txBox="1"/>
          <p:nvPr/>
        </p:nvSpPr>
        <p:spPr>
          <a:xfrm>
            <a:off x="7983473" y="6157366"/>
            <a:ext cx="3647440" cy="300355"/>
          </a:xfrm>
          <a:prstGeom prst="rect">
            <a:avLst/>
          </a:prstGeom>
        </p:spPr>
        <p:txBody>
          <a:bodyPr vert="horz" wrap="square" lIns="0" tIns="12700" rIns="0" bIns="0" rtlCol="0">
            <a:spAutoFit/>
          </a:bodyPr>
          <a:lstStyle/>
          <a:p>
            <a:pPr marL="12700">
              <a:lnSpc>
                <a:spcPct val="100000"/>
              </a:lnSpc>
              <a:spcBef>
                <a:spcPts val="100"/>
              </a:spcBef>
            </a:pPr>
            <a:r>
              <a:rPr sz="1800" i="1" spc="0" dirty="0">
                <a:solidFill>
                  <a:srgbClr val="282828"/>
                </a:solidFill>
                <a:latin typeface="Arial"/>
                <a:cs typeface="Arial"/>
              </a:rPr>
              <a:t>Output </a:t>
            </a:r>
            <a:r>
              <a:rPr sz="1800" i="1" spc="15" dirty="0">
                <a:solidFill>
                  <a:srgbClr val="282828"/>
                </a:solidFill>
                <a:latin typeface="Arial"/>
                <a:cs typeface="Arial"/>
              </a:rPr>
              <a:t>edited for </a:t>
            </a:r>
            <a:r>
              <a:rPr sz="1800" i="1" spc="5" dirty="0">
                <a:solidFill>
                  <a:srgbClr val="282828"/>
                </a:solidFill>
                <a:latin typeface="Arial"/>
                <a:cs typeface="Arial"/>
              </a:rPr>
              <a:t>brevity </a:t>
            </a:r>
            <a:r>
              <a:rPr sz="1800" i="1" spc="-10" dirty="0">
                <a:solidFill>
                  <a:srgbClr val="282828"/>
                </a:solidFill>
                <a:latin typeface="Arial"/>
                <a:cs typeface="Arial"/>
              </a:rPr>
              <a:t>and</a:t>
            </a:r>
            <a:r>
              <a:rPr sz="1800" i="1" spc="150" dirty="0">
                <a:solidFill>
                  <a:srgbClr val="282828"/>
                </a:solidFill>
                <a:latin typeface="Arial"/>
                <a:cs typeface="Arial"/>
              </a:rPr>
              <a:t> </a:t>
            </a:r>
            <a:r>
              <a:rPr sz="1800" i="1" dirty="0">
                <a:solidFill>
                  <a:srgbClr val="282828"/>
                </a:solidFill>
                <a:latin typeface="Arial"/>
                <a:cs typeface="Arial"/>
              </a:rPr>
              <a:t>clarity</a:t>
            </a:r>
            <a:endParaRPr sz="1800">
              <a:latin typeface="Arial"/>
              <a:cs typeface="Arial"/>
            </a:endParaRPr>
          </a:p>
        </p:txBody>
      </p:sp>
    </p:spTree>
    <p:extLst>
      <p:ext uri="{BB962C8B-B14F-4D97-AF65-F5344CB8AC3E}">
        <p14:creationId xmlns:p14="http://schemas.microsoft.com/office/powerpoint/2010/main" val="11281019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p:nvPr/>
        </p:nvSpPr>
        <p:spPr>
          <a:xfrm>
            <a:off x="774903" y="1449323"/>
            <a:ext cx="4790440" cy="3974465"/>
          </a:xfrm>
          <a:prstGeom prst="rect">
            <a:avLst/>
          </a:prstGeom>
        </p:spPr>
        <p:txBody>
          <a:bodyPr vert="horz" wrap="square" lIns="0" tIns="186690" rIns="0" bIns="0" rtlCol="0">
            <a:spAutoFit/>
          </a:bodyPr>
          <a:lstStyle/>
          <a:p>
            <a:pPr marL="167640" indent="-154940">
              <a:lnSpc>
                <a:spcPct val="100000"/>
              </a:lnSpc>
              <a:spcBef>
                <a:spcPts val="1470"/>
              </a:spcBef>
              <a:buSzPct val="58333"/>
              <a:buChar char="•"/>
              <a:tabLst>
                <a:tab pos="168275" algn="l"/>
              </a:tabLst>
            </a:pPr>
            <a:r>
              <a:rPr sz="2400" spc="5" dirty="0">
                <a:solidFill>
                  <a:srgbClr val="282828"/>
                </a:solidFill>
                <a:latin typeface="Arial"/>
                <a:cs typeface="Arial"/>
              </a:rPr>
              <a:t>Control operation </a:t>
            </a:r>
            <a:r>
              <a:rPr sz="2400" spc="35" dirty="0">
                <a:solidFill>
                  <a:srgbClr val="282828"/>
                </a:solidFill>
                <a:latin typeface="Arial"/>
                <a:cs typeface="Arial"/>
              </a:rPr>
              <a:t>of</a:t>
            </a:r>
            <a:r>
              <a:rPr sz="2400" spc="150" dirty="0">
                <a:solidFill>
                  <a:srgbClr val="282828"/>
                </a:solidFill>
                <a:latin typeface="Arial"/>
                <a:cs typeface="Arial"/>
              </a:rPr>
              <a:t> </a:t>
            </a:r>
            <a:r>
              <a:rPr sz="2400" spc="-5" dirty="0">
                <a:solidFill>
                  <a:srgbClr val="282828"/>
                </a:solidFill>
                <a:latin typeface="Arial"/>
                <a:cs typeface="Arial"/>
              </a:rPr>
              <a:t>Ansible</a:t>
            </a:r>
            <a:endParaRPr sz="2400">
              <a:latin typeface="Arial"/>
              <a:cs typeface="Arial"/>
            </a:endParaRPr>
          </a:p>
          <a:p>
            <a:pPr marL="167640" indent="-154940">
              <a:lnSpc>
                <a:spcPts val="2675"/>
              </a:lnSpc>
              <a:spcBef>
                <a:spcPts val="1370"/>
              </a:spcBef>
              <a:buSzPct val="58333"/>
              <a:buChar char="•"/>
              <a:tabLst>
                <a:tab pos="168275" algn="l"/>
              </a:tabLst>
            </a:pPr>
            <a:r>
              <a:rPr sz="2400" spc="-15" dirty="0">
                <a:solidFill>
                  <a:srgbClr val="282828"/>
                </a:solidFill>
                <a:latin typeface="Arial"/>
                <a:cs typeface="Arial"/>
              </a:rPr>
              <a:t>Default</a:t>
            </a:r>
            <a:r>
              <a:rPr sz="2400" spc="60" dirty="0">
                <a:solidFill>
                  <a:srgbClr val="282828"/>
                </a:solidFill>
                <a:latin typeface="Arial"/>
                <a:cs typeface="Arial"/>
              </a:rPr>
              <a:t> </a:t>
            </a:r>
            <a:r>
              <a:rPr sz="2400" spc="5" dirty="0">
                <a:solidFill>
                  <a:srgbClr val="282828"/>
                </a:solidFill>
                <a:latin typeface="Arial"/>
                <a:cs typeface="Arial"/>
              </a:rPr>
              <a:t>configuraiton</a:t>
            </a:r>
            <a:endParaRPr sz="2400">
              <a:latin typeface="Arial"/>
              <a:cs typeface="Arial"/>
            </a:endParaRPr>
          </a:p>
          <a:p>
            <a:pPr marL="167640">
              <a:lnSpc>
                <a:spcPts val="2675"/>
              </a:lnSpc>
            </a:pPr>
            <a:r>
              <a:rPr sz="2400" spc="-10" dirty="0">
                <a:solidFill>
                  <a:srgbClr val="282828"/>
                </a:solidFill>
                <a:latin typeface="Courier New"/>
                <a:cs typeface="Courier New"/>
              </a:rPr>
              <a:t>/etc/ansible/ansible.cfg</a:t>
            </a:r>
            <a:endParaRPr sz="2400">
              <a:latin typeface="Courier New"/>
              <a:cs typeface="Courier New"/>
            </a:endParaRPr>
          </a:p>
          <a:p>
            <a:pPr marL="167640" indent="-154940">
              <a:lnSpc>
                <a:spcPct val="100000"/>
              </a:lnSpc>
              <a:spcBef>
                <a:spcPts val="1610"/>
              </a:spcBef>
              <a:buSzPct val="58333"/>
              <a:buChar char="•"/>
              <a:tabLst>
                <a:tab pos="168275" algn="l"/>
              </a:tabLst>
            </a:pPr>
            <a:r>
              <a:rPr sz="2400" spc="0" dirty="0">
                <a:solidFill>
                  <a:srgbClr val="282828"/>
                </a:solidFill>
                <a:latin typeface="Arial"/>
                <a:cs typeface="Arial"/>
              </a:rPr>
              <a:t>Override </a:t>
            </a:r>
            <a:r>
              <a:rPr sz="2400" spc="5" dirty="0">
                <a:solidFill>
                  <a:srgbClr val="282828"/>
                </a:solidFill>
                <a:latin typeface="Arial"/>
                <a:cs typeface="Arial"/>
              </a:rPr>
              <a:t>default</a:t>
            </a:r>
            <a:r>
              <a:rPr sz="2400" spc="60" dirty="0">
                <a:solidFill>
                  <a:srgbClr val="282828"/>
                </a:solidFill>
                <a:latin typeface="Arial"/>
                <a:cs typeface="Arial"/>
              </a:rPr>
              <a:t> </a:t>
            </a:r>
            <a:r>
              <a:rPr sz="2400" spc="10" dirty="0">
                <a:solidFill>
                  <a:srgbClr val="282828"/>
                </a:solidFill>
                <a:latin typeface="Arial"/>
                <a:cs typeface="Arial"/>
              </a:rPr>
              <a:t>settings</a:t>
            </a:r>
            <a:endParaRPr sz="2400">
              <a:latin typeface="Arial"/>
              <a:cs typeface="Arial"/>
            </a:endParaRPr>
          </a:p>
          <a:p>
            <a:pPr marL="320040" lvl="1" indent="-152400">
              <a:lnSpc>
                <a:spcPct val="100000"/>
              </a:lnSpc>
              <a:spcBef>
                <a:spcPts val="305"/>
              </a:spcBef>
              <a:buSzPct val="60000"/>
              <a:buFont typeface="Arial"/>
              <a:buChar char="•"/>
              <a:tabLst>
                <a:tab pos="320675" algn="l"/>
              </a:tabLst>
            </a:pPr>
            <a:r>
              <a:rPr sz="2000" spc="-5" dirty="0">
                <a:solidFill>
                  <a:srgbClr val="282828"/>
                </a:solidFill>
                <a:latin typeface="Courier New"/>
                <a:cs typeface="Courier New"/>
              </a:rPr>
              <a:t>ANSIBLE_CONFIG</a:t>
            </a:r>
            <a:r>
              <a:rPr sz="2000" spc="-675" dirty="0">
                <a:solidFill>
                  <a:srgbClr val="282828"/>
                </a:solidFill>
                <a:latin typeface="Courier New"/>
                <a:cs typeface="Courier New"/>
              </a:rPr>
              <a:t> </a:t>
            </a:r>
            <a:r>
              <a:rPr sz="2000" spc="-105" dirty="0">
                <a:solidFill>
                  <a:srgbClr val="282828"/>
                </a:solidFill>
                <a:latin typeface="Arial"/>
                <a:cs typeface="Arial"/>
              </a:rPr>
              <a:t>ENV</a:t>
            </a:r>
            <a:endParaRPr sz="2000">
              <a:latin typeface="Arial"/>
              <a:cs typeface="Arial"/>
            </a:endParaRPr>
          </a:p>
          <a:p>
            <a:pPr marL="320040" lvl="1" indent="-152400">
              <a:lnSpc>
                <a:spcPct val="100000"/>
              </a:lnSpc>
              <a:spcBef>
                <a:spcPts val="480"/>
              </a:spcBef>
              <a:buSzPct val="60000"/>
              <a:buFont typeface="Arial"/>
              <a:buChar char="•"/>
              <a:tabLst>
                <a:tab pos="320675" algn="l"/>
              </a:tabLst>
            </a:pPr>
            <a:r>
              <a:rPr sz="2000" spc="-5" dirty="0">
                <a:solidFill>
                  <a:srgbClr val="282828"/>
                </a:solidFill>
                <a:latin typeface="Courier New"/>
                <a:cs typeface="Courier New"/>
              </a:rPr>
              <a:t>ansible.cfg</a:t>
            </a:r>
            <a:r>
              <a:rPr sz="2000" spc="-465" dirty="0">
                <a:solidFill>
                  <a:srgbClr val="282828"/>
                </a:solidFill>
                <a:latin typeface="Courier New"/>
                <a:cs typeface="Courier New"/>
              </a:rPr>
              <a:t> </a:t>
            </a:r>
            <a:r>
              <a:rPr sz="2000" spc="-30" dirty="0">
                <a:solidFill>
                  <a:srgbClr val="282828"/>
                </a:solidFill>
                <a:latin typeface="Arial"/>
                <a:cs typeface="Arial"/>
              </a:rPr>
              <a:t>in </a:t>
            </a:r>
            <a:r>
              <a:rPr sz="2000" spc="5" dirty="0">
                <a:solidFill>
                  <a:srgbClr val="282828"/>
                </a:solidFill>
                <a:latin typeface="Arial"/>
                <a:cs typeface="Arial"/>
              </a:rPr>
              <a:t>current </a:t>
            </a:r>
            <a:r>
              <a:rPr sz="2000" spc="10" dirty="0">
                <a:solidFill>
                  <a:srgbClr val="282828"/>
                </a:solidFill>
                <a:latin typeface="Arial"/>
                <a:cs typeface="Arial"/>
              </a:rPr>
              <a:t>directory</a:t>
            </a:r>
            <a:endParaRPr sz="2000">
              <a:latin typeface="Arial"/>
              <a:cs typeface="Arial"/>
            </a:endParaRPr>
          </a:p>
          <a:p>
            <a:pPr marL="320040" lvl="1" indent="-152400">
              <a:lnSpc>
                <a:spcPct val="100000"/>
              </a:lnSpc>
              <a:spcBef>
                <a:spcPts val="475"/>
              </a:spcBef>
              <a:buSzPct val="60000"/>
              <a:buFont typeface="Arial"/>
              <a:buChar char="•"/>
              <a:tabLst>
                <a:tab pos="320675" algn="l"/>
              </a:tabLst>
            </a:pPr>
            <a:r>
              <a:rPr sz="2000" spc="-5" dirty="0">
                <a:solidFill>
                  <a:srgbClr val="282828"/>
                </a:solidFill>
                <a:latin typeface="Courier New"/>
                <a:cs typeface="Courier New"/>
              </a:rPr>
              <a:t>.ansible.cfg</a:t>
            </a:r>
            <a:r>
              <a:rPr sz="2000" spc="-520" dirty="0">
                <a:solidFill>
                  <a:srgbClr val="282828"/>
                </a:solidFill>
                <a:latin typeface="Courier New"/>
                <a:cs typeface="Courier New"/>
              </a:rPr>
              <a:t> </a:t>
            </a:r>
            <a:r>
              <a:rPr sz="2000" spc="-25" dirty="0">
                <a:solidFill>
                  <a:srgbClr val="282828"/>
                </a:solidFill>
                <a:latin typeface="Arial"/>
                <a:cs typeface="Arial"/>
              </a:rPr>
              <a:t>in </a:t>
            </a:r>
            <a:r>
              <a:rPr sz="2000" spc="15" dirty="0">
                <a:solidFill>
                  <a:srgbClr val="282828"/>
                </a:solidFill>
                <a:latin typeface="Arial"/>
                <a:cs typeface="Arial"/>
              </a:rPr>
              <a:t>home </a:t>
            </a:r>
            <a:r>
              <a:rPr sz="2000" spc="10" dirty="0">
                <a:solidFill>
                  <a:srgbClr val="282828"/>
                </a:solidFill>
                <a:latin typeface="Arial"/>
                <a:cs typeface="Arial"/>
              </a:rPr>
              <a:t>directory</a:t>
            </a:r>
            <a:endParaRPr sz="2000">
              <a:latin typeface="Arial"/>
              <a:cs typeface="Arial"/>
            </a:endParaRPr>
          </a:p>
          <a:p>
            <a:pPr marL="167640" marR="5080" indent="-154940">
              <a:lnSpc>
                <a:spcPts val="2740"/>
              </a:lnSpc>
              <a:spcBef>
                <a:spcPts val="1750"/>
              </a:spcBef>
              <a:buSzPct val="58333"/>
              <a:buChar char="•"/>
              <a:tabLst>
                <a:tab pos="168275" algn="l"/>
              </a:tabLst>
            </a:pPr>
            <a:r>
              <a:rPr sz="2400" spc="0" dirty="0">
                <a:solidFill>
                  <a:srgbClr val="282828"/>
                </a:solidFill>
                <a:latin typeface="Arial"/>
                <a:cs typeface="Arial"/>
              </a:rPr>
              <a:t>See </a:t>
            </a:r>
            <a:r>
              <a:rPr sz="2400" spc="-5" dirty="0">
                <a:solidFill>
                  <a:srgbClr val="282828"/>
                </a:solidFill>
                <a:latin typeface="Arial"/>
                <a:cs typeface="Arial"/>
              </a:rPr>
              <a:t>Ansible </a:t>
            </a:r>
            <a:r>
              <a:rPr sz="2400" spc="15" dirty="0">
                <a:solidFill>
                  <a:srgbClr val="282828"/>
                </a:solidFill>
                <a:latin typeface="Arial"/>
                <a:cs typeface="Arial"/>
              </a:rPr>
              <a:t>documentation </a:t>
            </a:r>
            <a:r>
              <a:rPr sz="2400" spc="25" dirty="0">
                <a:solidFill>
                  <a:srgbClr val="282828"/>
                </a:solidFill>
                <a:latin typeface="Arial"/>
                <a:cs typeface="Arial"/>
              </a:rPr>
              <a:t>for </a:t>
            </a:r>
            <a:r>
              <a:rPr sz="2400" spc="-45" dirty="0">
                <a:solidFill>
                  <a:srgbClr val="282828"/>
                </a:solidFill>
                <a:latin typeface="Arial"/>
                <a:cs typeface="Arial"/>
              </a:rPr>
              <a:t>all  </a:t>
            </a:r>
            <a:r>
              <a:rPr sz="2400" spc="10" dirty="0">
                <a:solidFill>
                  <a:srgbClr val="282828"/>
                </a:solidFill>
                <a:latin typeface="Arial"/>
                <a:cs typeface="Arial"/>
              </a:rPr>
              <a:t>options</a:t>
            </a:r>
            <a:endParaRPr sz="2400">
              <a:latin typeface="Arial"/>
              <a:cs typeface="Arial"/>
            </a:endParaRPr>
          </a:p>
        </p:txBody>
      </p:sp>
      <p:sp>
        <p:nvSpPr>
          <p:cNvPr id="3" name="object 3"/>
          <p:cNvSpPr txBox="1">
            <a:spLocks noGrp="1"/>
          </p:cNvSpPr>
          <p:nvPr>
            <p:ph type="title"/>
          </p:nvPr>
        </p:nvSpPr>
        <p:spPr>
          <a:xfrm>
            <a:off x="662736" y="587501"/>
            <a:ext cx="7251700" cy="596265"/>
          </a:xfrm>
          <a:prstGeom prst="rect">
            <a:avLst/>
          </a:prstGeom>
        </p:spPr>
        <p:txBody>
          <a:bodyPr vert="horz" wrap="square" lIns="0" tIns="12065" rIns="0" bIns="0" rtlCol="0">
            <a:spAutoFit/>
          </a:bodyPr>
          <a:lstStyle/>
          <a:p>
            <a:pPr marL="12700">
              <a:lnSpc>
                <a:spcPct val="100000"/>
              </a:lnSpc>
              <a:spcBef>
                <a:spcPts val="95"/>
              </a:spcBef>
            </a:pPr>
            <a:r>
              <a:rPr spc="-20" dirty="0"/>
              <a:t>Review: </a:t>
            </a:r>
            <a:r>
              <a:rPr spc="-10" dirty="0"/>
              <a:t>Ansible </a:t>
            </a:r>
            <a:r>
              <a:rPr dirty="0"/>
              <a:t>Configuration</a:t>
            </a:r>
            <a:r>
              <a:rPr spc="210" dirty="0"/>
              <a:t> </a:t>
            </a:r>
            <a:r>
              <a:rPr spc="-75" dirty="0"/>
              <a:t>File</a:t>
            </a:r>
          </a:p>
        </p:txBody>
      </p:sp>
      <p:sp>
        <p:nvSpPr>
          <p:cNvPr id="4" name="object 4"/>
          <p:cNvSpPr txBox="1"/>
          <p:nvPr/>
        </p:nvSpPr>
        <p:spPr>
          <a:xfrm>
            <a:off x="662736" y="5988202"/>
            <a:ext cx="10970895" cy="835660"/>
          </a:xfrm>
          <a:prstGeom prst="rect">
            <a:avLst/>
          </a:prstGeom>
        </p:spPr>
        <p:txBody>
          <a:bodyPr vert="horz" wrap="square" lIns="0" tIns="12700" rIns="0" bIns="0" rtlCol="0">
            <a:spAutoFit/>
          </a:bodyPr>
          <a:lstStyle/>
          <a:p>
            <a:pPr marL="12700">
              <a:lnSpc>
                <a:spcPct val="100000"/>
              </a:lnSpc>
              <a:spcBef>
                <a:spcPts val="100"/>
              </a:spcBef>
            </a:pPr>
            <a:r>
              <a:rPr sz="1800" u="heavy" spc="10" dirty="0">
                <a:solidFill>
                  <a:srgbClr val="00BBEB"/>
                </a:solidFill>
                <a:latin typeface="Arial"/>
                <a:cs typeface="Arial"/>
                <a:hlinkClick r:id="rId2"/>
              </a:rPr>
              <a:t>http://docs.ansible.com/ansible/latest/intro_configuration.html</a:t>
            </a:r>
            <a:endParaRPr sz="1800">
              <a:latin typeface="Arial"/>
              <a:cs typeface="Arial"/>
            </a:endParaRPr>
          </a:p>
          <a:p>
            <a:pPr marL="56515">
              <a:lnSpc>
                <a:spcPct val="100000"/>
              </a:lnSpc>
              <a:spcBef>
                <a:spcPts val="720"/>
              </a:spcBef>
            </a:pPr>
            <a:r>
              <a:rPr sz="800" spc="80" dirty="0">
                <a:solidFill>
                  <a:srgbClr val="A6A6A6"/>
                </a:solidFill>
                <a:latin typeface="Arial"/>
                <a:cs typeface="Arial"/>
              </a:rPr>
              <a:t>© </a:t>
            </a:r>
            <a:r>
              <a:rPr sz="800" spc="40" dirty="0">
                <a:solidFill>
                  <a:srgbClr val="A6A6A6"/>
                </a:solidFill>
                <a:latin typeface="Arial"/>
                <a:cs typeface="Arial"/>
              </a:rPr>
              <a:t>2017  </a:t>
            </a:r>
            <a:r>
              <a:rPr sz="800" spc="10" dirty="0">
                <a:solidFill>
                  <a:srgbClr val="A6A6A6"/>
                </a:solidFill>
                <a:latin typeface="Arial"/>
                <a:cs typeface="Arial"/>
              </a:rPr>
              <a:t>Cisco </a:t>
            </a:r>
            <a:r>
              <a:rPr sz="800" spc="15" dirty="0">
                <a:solidFill>
                  <a:srgbClr val="A6A6A6"/>
                </a:solidFill>
                <a:latin typeface="Arial"/>
                <a:cs typeface="Arial"/>
              </a:rPr>
              <a:t>and/or  </a:t>
            </a:r>
            <a:r>
              <a:rPr sz="800" spc="5" dirty="0">
                <a:solidFill>
                  <a:srgbClr val="A6A6A6"/>
                </a:solidFill>
                <a:latin typeface="Arial"/>
                <a:cs typeface="Arial"/>
              </a:rPr>
              <a:t>its affiliates.  </a:t>
            </a:r>
            <a:r>
              <a:rPr sz="800" dirty="0">
                <a:solidFill>
                  <a:srgbClr val="A6A6A6"/>
                </a:solidFill>
                <a:latin typeface="Arial"/>
                <a:cs typeface="Arial"/>
              </a:rPr>
              <a:t>All </a:t>
            </a:r>
            <a:r>
              <a:rPr sz="800" spc="5" dirty="0">
                <a:solidFill>
                  <a:srgbClr val="A6A6A6"/>
                </a:solidFill>
                <a:latin typeface="Arial"/>
                <a:cs typeface="Arial"/>
              </a:rPr>
              <a:t>rights  </a:t>
            </a:r>
            <a:r>
              <a:rPr sz="800" spc="10" dirty="0">
                <a:solidFill>
                  <a:srgbClr val="A6A6A6"/>
                </a:solidFill>
                <a:latin typeface="Arial"/>
                <a:cs typeface="Arial"/>
              </a:rPr>
              <a:t>reserved.    Cisco</a:t>
            </a:r>
            <a:r>
              <a:rPr sz="800" spc="100" dirty="0">
                <a:solidFill>
                  <a:srgbClr val="A6A6A6"/>
                </a:solidFill>
                <a:latin typeface="Arial"/>
                <a:cs typeface="Arial"/>
              </a:rPr>
              <a:t> </a:t>
            </a:r>
            <a:r>
              <a:rPr sz="800" spc="5" dirty="0">
                <a:solidFill>
                  <a:srgbClr val="A6A6A6"/>
                </a:solidFill>
                <a:latin typeface="Arial"/>
                <a:cs typeface="Arial"/>
              </a:rPr>
              <a:t>Confidential</a:t>
            </a:r>
            <a:endParaRPr sz="800">
              <a:latin typeface="Arial"/>
              <a:cs typeface="Arial"/>
            </a:endParaRPr>
          </a:p>
          <a:p>
            <a:pPr marL="6642100">
              <a:lnSpc>
                <a:spcPct val="100000"/>
              </a:lnSpc>
              <a:spcBef>
                <a:spcPts val="855"/>
              </a:spcBef>
            </a:pPr>
            <a:r>
              <a:rPr sz="1400" spc="10" dirty="0">
                <a:solidFill>
                  <a:srgbClr val="00BBEB"/>
                </a:solidFill>
                <a:latin typeface="Arial"/>
                <a:cs typeface="Arial"/>
              </a:rPr>
              <a:t>netprog_basics/netdevops/ansible_part_2/ansible.cfg</a:t>
            </a:r>
            <a:endParaRPr sz="1400">
              <a:latin typeface="Arial"/>
              <a:cs typeface="Arial"/>
            </a:endParaRPr>
          </a:p>
        </p:txBody>
      </p:sp>
      <p:sp>
        <p:nvSpPr>
          <p:cNvPr id="5" name="object 5"/>
          <p:cNvSpPr txBox="1"/>
          <p:nvPr/>
        </p:nvSpPr>
        <p:spPr>
          <a:xfrm>
            <a:off x="6339840" y="1661160"/>
            <a:ext cx="5370830" cy="3923029"/>
          </a:xfrm>
          <a:prstGeom prst="rect">
            <a:avLst/>
          </a:prstGeom>
          <a:solidFill>
            <a:srgbClr val="282828"/>
          </a:solidFill>
        </p:spPr>
        <p:txBody>
          <a:bodyPr vert="horz" wrap="square" lIns="0" tIns="17145" rIns="0" bIns="0" rtlCol="0">
            <a:spAutoFit/>
          </a:bodyPr>
          <a:lstStyle/>
          <a:p>
            <a:pPr marL="78740">
              <a:lnSpc>
                <a:spcPct val="100000"/>
              </a:lnSpc>
              <a:spcBef>
                <a:spcPts val="135"/>
              </a:spcBef>
            </a:pPr>
            <a:r>
              <a:rPr sz="1400" spc="-5" dirty="0">
                <a:solidFill>
                  <a:srgbClr val="FFFFFF"/>
                </a:solidFill>
                <a:latin typeface="Courier New"/>
                <a:cs typeface="Courier New"/>
              </a:rPr>
              <a:t>DevNet$ cat</a:t>
            </a:r>
            <a:r>
              <a:rPr sz="1400" spc="-55" dirty="0">
                <a:solidFill>
                  <a:srgbClr val="FFFFFF"/>
                </a:solidFill>
                <a:latin typeface="Courier New"/>
                <a:cs typeface="Courier New"/>
              </a:rPr>
              <a:t> </a:t>
            </a:r>
            <a:r>
              <a:rPr sz="1400" spc="-10" dirty="0">
                <a:solidFill>
                  <a:srgbClr val="FFFFFF"/>
                </a:solidFill>
                <a:latin typeface="Courier New"/>
                <a:cs typeface="Courier New"/>
              </a:rPr>
              <a:t>ansible.cfg</a:t>
            </a:r>
            <a:endParaRPr sz="1400">
              <a:latin typeface="Courier New"/>
              <a:cs typeface="Courier New"/>
            </a:endParaRPr>
          </a:p>
          <a:p>
            <a:pPr>
              <a:lnSpc>
                <a:spcPct val="100000"/>
              </a:lnSpc>
              <a:spcBef>
                <a:spcPts val="15"/>
              </a:spcBef>
            </a:pPr>
            <a:endParaRPr sz="1300">
              <a:latin typeface="Times New Roman"/>
              <a:cs typeface="Times New Roman"/>
            </a:endParaRPr>
          </a:p>
          <a:p>
            <a:pPr marL="78740">
              <a:lnSpc>
                <a:spcPts val="1630"/>
              </a:lnSpc>
            </a:pPr>
            <a:r>
              <a:rPr sz="1400" spc="-5" dirty="0">
                <a:solidFill>
                  <a:srgbClr val="FFFFFF"/>
                </a:solidFill>
                <a:latin typeface="Courier New"/>
                <a:cs typeface="Courier New"/>
              </a:rPr>
              <a:t># config file for</a:t>
            </a:r>
            <a:r>
              <a:rPr sz="1400" spc="-70" dirty="0">
                <a:solidFill>
                  <a:srgbClr val="FFFFFF"/>
                </a:solidFill>
                <a:latin typeface="Courier New"/>
                <a:cs typeface="Courier New"/>
              </a:rPr>
              <a:t> </a:t>
            </a:r>
            <a:r>
              <a:rPr sz="1400" spc="-10" dirty="0">
                <a:solidFill>
                  <a:srgbClr val="FFFFFF"/>
                </a:solidFill>
                <a:latin typeface="Courier New"/>
                <a:cs typeface="Courier New"/>
              </a:rPr>
              <a:t>ansible</a:t>
            </a:r>
            <a:endParaRPr sz="1400">
              <a:latin typeface="Courier New"/>
              <a:cs typeface="Courier New"/>
            </a:endParaRPr>
          </a:p>
          <a:p>
            <a:pPr marL="78740">
              <a:lnSpc>
                <a:spcPts val="1630"/>
              </a:lnSpc>
            </a:pPr>
            <a:r>
              <a:rPr sz="1400" spc="-5" dirty="0">
                <a:solidFill>
                  <a:srgbClr val="FFFFFF"/>
                </a:solidFill>
                <a:latin typeface="Courier New"/>
                <a:cs typeface="Courier New"/>
              </a:rPr>
              <a:t># override </a:t>
            </a:r>
            <a:r>
              <a:rPr sz="1400" spc="-10" dirty="0">
                <a:solidFill>
                  <a:srgbClr val="FFFFFF"/>
                </a:solidFill>
                <a:latin typeface="Courier New"/>
                <a:cs typeface="Courier New"/>
              </a:rPr>
              <a:t>global certain global</a:t>
            </a:r>
            <a:r>
              <a:rPr sz="1400" spc="-30" dirty="0">
                <a:solidFill>
                  <a:srgbClr val="FFFFFF"/>
                </a:solidFill>
                <a:latin typeface="Courier New"/>
                <a:cs typeface="Courier New"/>
              </a:rPr>
              <a:t> </a:t>
            </a:r>
            <a:r>
              <a:rPr sz="1400" spc="-5" dirty="0">
                <a:solidFill>
                  <a:srgbClr val="FFFFFF"/>
                </a:solidFill>
                <a:latin typeface="Courier New"/>
                <a:cs typeface="Courier New"/>
              </a:rPr>
              <a:t>settings</a:t>
            </a:r>
            <a:endParaRPr sz="1400">
              <a:latin typeface="Courier New"/>
              <a:cs typeface="Courier New"/>
            </a:endParaRPr>
          </a:p>
          <a:p>
            <a:pPr>
              <a:lnSpc>
                <a:spcPct val="100000"/>
              </a:lnSpc>
              <a:spcBef>
                <a:spcPts val="20"/>
              </a:spcBef>
            </a:pPr>
            <a:endParaRPr sz="1300">
              <a:latin typeface="Times New Roman"/>
              <a:cs typeface="Times New Roman"/>
            </a:endParaRPr>
          </a:p>
          <a:p>
            <a:pPr marL="78740">
              <a:lnSpc>
                <a:spcPts val="1645"/>
              </a:lnSpc>
            </a:pPr>
            <a:r>
              <a:rPr sz="1400" spc="-5" dirty="0">
                <a:solidFill>
                  <a:srgbClr val="FFFFFF"/>
                </a:solidFill>
                <a:latin typeface="Courier New"/>
                <a:cs typeface="Courier New"/>
              </a:rPr>
              <a:t>[defaults]</a:t>
            </a:r>
            <a:endParaRPr sz="1400">
              <a:latin typeface="Courier New"/>
              <a:cs typeface="Courier New"/>
            </a:endParaRPr>
          </a:p>
          <a:p>
            <a:pPr marL="78740" marR="1238885">
              <a:lnSpc>
                <a:spcPts val="1580"/>
              </a:lnSpc>
              <a:spcBef>
                <a:spcPts val="100"/>
              </a:spcBef>
              <a:tabLst>
                <a:tab pos="1675764" algn="l"/>
              </a:tabLst>
            </a:pPr>
            <a:r>
              <a:rPr sz="1400" spc="-5" dirty="0">
                <a:solidFill>
                  <a:srgbClr val="FFFFFF"/>
                </a:solidFill>
                <a:latin typeface="Courier New"/>
                <a:cs typeface="Courier New"/>
              </a:rPr>
              <a:t># default to </a:t>
            </a:r>
            <a:r>
              <a:rPr sz="1400" spc="-10" dirty="0">
                <a:solidFill>
                  <a:srgbClr val="FFFFFF"/>
                </a:solidFill>
                <a:latin typeface="Courier New"/>
                <a:cs typeface="Courier New"/>
              </a:rPr>
              <a:t>inventory file </a:t>
            </a:r>
            <a:r>
              <a:rPr sz="1400" spc="-15" dirty="0">
                <a:solidFill>
                  <a:srgbClr val="FFFFFF"/>
                </a:solidFill>
                <a:latin typeface="Courier New"/>
                <a:cs typeface="Courier New"/>
              </a:rPr>
              <a:t>of </a:t>
            </a:r>
            <a:r>
              <a:rPr sz="1400" spc="-5" dirty="0">
                <a:solidFill>
                  <a:srgbClr val="FFFFFF"/>
                </a:solidFill>
                <a:latin typeface="Courier New"/>
                <a:cs typeface="Courier New"/>
              </a:rPr>
              <a:t>./hosts  inventory	=</a:t>
            </a:r>
            <a:r>
              <a:rPr sz="1400" spc="-100" dirty="0">
                <a:solidFill>
                  <a:srgbClr val="FFFFFF"/>
                </a:solidFill>
                <a:latin typeface="Courier New"/>
                <a:cs typeface="Courier New"/>
              </a:rPr>
              <a:t> </a:t>
            </a:r>
            <a:r>
              <a:rPr sz="1400" spc="-5" dirty="0">
                <a:solidFill>
                  <a:srgbClr val="FFFFFF"/>
                </a:solidFill>
                <a:latin typeface="Courier New"/>
                <a:cs typeface="Courier New"/>
              </a:rPr>
              <a:t>./hosts</a:t>
            </a:r>
            <a:endParaRPr sz="1400">
              <a:latin typeface="Courier New"/>
              <a:cs typeface="Courier New"/>
            </a:endParaRPr>
          </a:p>
          <a:p>
            <a:pPr>
              <a:lnSpc>
                <a:spcPct val="100000"/>
              </a:lnSpc>
              <a:spcBef>
                <a:spcPts val="35"/>
              </a:spcBef>
            </a:pPr>
            <a:endParaRPr sz="1250">
              <a:latin typeface="Times New Roman"/>
              <a:cs typeface="Times New Roman"/>
            </a:endParaRPr>
          </a:p>
          <a:p>
            <a:pPr marL="78740">
              <a:lnSpc>
                <a:spcPts val="1645"/>
              </a:lnSpc>
              <a:spcBef>
                <a:spcPts val="5"/>
              </a:spcBef>
            </a:pPr>
            <a:r>
              <a:rPr sz="1400" spc="-5" dirty="0">
                <a:solidFill>
                  <a:srgbClr val="FFFFFF"/>
                </a:solidFill>
                <a:latin typeface="Courier New"/>
                <a:cs typeface="Courier New"/>
              </a:rPr>
              <a:t># disable host checking to </a:t>
            </a:r>
            <a:r>
              <a:rPr sz="1400" spc="-10" dirty="0">
                <a:solidFill>
                  <a:srgbClr val="FFFFFF"/>
                </a:solidFill>
                <a:latin typeface="Courier New"/>
                <a:cs typeface="Courier New"/>
              </a:rPr>
              <a:t>automatically</a:t>
            </a:r>
            <a:r>
              <a:rPr sz="1400" spc="-55" dirty="0">
                <a:solidFill>
                  <a:srgbClr val="FFFFFF"/>
                </a:solidFill>
                <a:latin typeface="Courier New"/>
                <a:cs typeface="Courier New"/>
              </a:rPr>
              <a:t> </a:t>
            </a:r>
            <a:r>
              <a:rPr sz="1400" spc="-15" dirty="0">
                <a:solidFill>
                  <a:srgbClr val="FFFFFF"/>
                </a:solidFill>
                <a:latin typeface="Courier New"/>
                <a:cs typeface="Courier New"/>
              </a:rPr>
              <a:t>add</a:t>
            </a:r>
            <a:endParaRPr sz="1400">
              <a:latin typeface="Courier New"/>
              <a:cs typeface="Courier New"/>
            </a:endParaRPr>
          </a:p>
          <a:p>
            <a:pPr marL="78740" marR="2624455">
              <a:lnSpc>
                <a:spcPts val="1580"/>
              </a:lnSpc>
              <a:spcBef>
                <a:spcPts val="100"/>
              </a:spcBef>
            </a:pPr>
            <a:r>
              <a:rPr sz="1400" spc="-5" dirty="0">
                <a:solidFill>
                  <a:srgbClr val="FFFFFF"/>
                </a:solidFill>
                <a:latin typeface="Courier New"/>
                <a:cs typeface="Courier New"/>
              </a:rPr>
              <a:t># hosts to </a:t>
            </a:r>
            <a:r>
              <a:rPr sz="1400" spc="-10" dirty="0">
                <a:solidFill>
                  <a:srgbClr val="FFFFFF"/>
                </a:solidFill>
                <a:latin typeface="Courier New"/>
                <a:cs typeface="Courier New"/>
              </a:rPr>
              <a:t>known_hosts  host_key_checking </a:t>
            </a:r>
            <a:r>
              <a:rPr sz="1400" spc="-5" dirty="0">
                <a:solidFill>
                  <a:srgbClr val="FFFFFF"/>
                </a:solidFill>
                <a:latin typeface="Courier New"/>
                <a:cs typeface="Courier New"/>
              </a:rPr>
              <a:t>=</a:t>
            </a:r>
            <a:r>
              <a:rPr sz="1400" spc="-15" dirty="0">
                <a:solidFill>
                  <a:srgbClr val="FFFFFF"/>
                </a:solidFill>
                <a:latin typeface="Courier New"/>
                <a:cs typeface="Courier New"/>
              </a:rPr>
              <a:t> </a:t>
            </a:r>
            <a:r>
              <a:rPr sz="1400" spc="-10" dirty="0">
                <a:solidFill>
                  <a:srgbClr val="FFFFFF"/>
                </a:solidFill>
                <a:latin typeface="Courier New"/>
                <a:cs typeface="Courier New"/>
              </a:rPr>
              <a:t>False</a:t>
            </a:r>
            <a:endParaRPr sz="1400">
              <a:latin typeface="Courier New"/>
              <a:cs typeface="Courier New"/>
            </a:endParaRPr>
          </a:p>
          <a:p>
            <a:pPr>
              <a:lnSpc>
                <a:spcPct val="100000"/>
              </a:lnSpc>
              <a:spcBef>
                <a:spcPts val="35"/>
              </a:spcBef>
            </a:pPr>
            <a:endParaRPr sz="1350">
              <a:latin typeface="Times New Roman"/>
              <a:cs typeface="Times New Roman"/>
            </a:endParaRPr>
          </a:p>
          <a:p>
            <a:pPr marL="78740" marR="705485">
              <a:lnSpc>
                <a:spcPts val="1610"/>
              </a:lnSpc>
              <a:tabLst>
                <a:tab pos="1676400" algn="l"/>
              </a:tabLst>
            </a:pPr>
            <a:r>
              <a:rPr sz="1400" spc="-5" dirty="0">
                <a:solidFill>
                  <a:srgbClr val="FFFFFF"/>
                </a:solidFill>
                <a:latin typeface="Courier New"/>
                <a:cs typeface="Courier New"/>
              </a:rPr>
              <a:t># set the </a:t>
            </a:r>
            <a:r>
              <a:rPr sz="1400" spc="-10" dirty="0">
                <a:solidFill>
                  <a:srgbClr val="FFFFFF"/>
                </a:solidFill>
                <a:latin typeface="Courier New"/>
                <a:cs typeface="Courier New"/>
              </a:rPr>
              <a:t>roles </a:t>
            </a:r>
            <a:r>
              <a:rPr sz="1400" spc="-5" dirty="0">
                <a:solidFill>
                  <a:srgbClr val="FFFFFF"/>
                </a:solidFill>
                <a:latin typeface="Courier New"/>
                <a:cs typeface="Courier New"/>
              </a:rPr>
              <a:t>path to the </a:t>
            </a:r>
            <a:r>
              <a:rPr sz="1400" spc="-10" dirty="0">
                <a:solidFill>
                  <a:srgbClr val="FFFFFF"/>
                </a:solidFill>
                <a:latin typeface="Courier New"/>
                <a:cs typeface="Courier New"/>
              </a:rPr>
              <a:t>local </a:t>
            </a:r>
            <a:r>
              <a:rPr sz="1400" spc="-5" dirty="0">
                <a:solidFill>
                  <a:srgbClr val="FFFFFF"/>
                </a:solidFill>
                <a:latin typeface="Courier New"/>
                <a:cs typeface="Courier New"/>
              </a:rPr>
              <a:t>directory  roles_path	=</a:t>
            </a:r>
            <a:r>
              <a:rPr sz="1400" spc="-100" dirty="0">
                <a:solidFill>
                  <a:srgbClr val="FFFFFF"/>
                </a:solidFill>
                <a:latin typeface="Courier New"/>
                <a:cs typeface="Courier New"/>
              </a:rPr>
              <a:t> </a:t>
            </a:r>
            <a:r>
              <a:rPr sz="1400" spc="-5" dirty="0">
                <a:solidFill>
                  <a:srgbClr val="FFFFFF"/>
                </a:solidFill>
                <a:latin typeface="Courier New"/>
                <a:cs typeface="Courier New"/>
              </a:rPr>
              <a:t>./</a:t>
            </a:r>
            <a:endParaRPr sz="1400">
              <a:latin typeface="Courier New"/>
              <a:cs typeface="Courier New"/>
            </a:endParaRPr>
          </a:p>
        </p:txBody>
      </p:sp>
    </p:spTree>
    <p:extLst>
      <p:ext uri="{BB962C8B-B14F-4D97-AF65-F5344CB8AC3E}">
        <p14:creationId xmlns:p14="http://schemas.microsoft.com/office/powerpoint/2010/main" val="3597221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a:lnSpc>
                <a:spcPct val="100000"/>
              </a:lnSpc>
              <a:spcBef>
                <a:spcPts val="90"/>
              </a:spcBef>
            </a:pPr>
            <a:r>
              <a:rPr sz="800" spc="80" dirty="0">
                <a:solidFill>
                  <a:srgbClr val="A6A6A6"/>
                </a:solidFill>
                <a:latin typeface="Arial"/>
                <a:cs typeface="Arial"/>
              </a:rPr>
              <a:t>© </a:t>
            </a:r>
            <a:r>
              <a:rPr sz="800" spc="40" dirty="0">
                <a:solidFill>
                  <a:srgbClr val="A6A6A6"/>
                </a:solidFill>
                <a:latin typeface="Arial"/>
                <a:cs typeface="Arial"/>
              </a:rPr>
              <a:t>2017  </a:t>
            </a:r>
            <a:r>
              <a:rPr sz="800" spc="10" dirty="0">
                <a:solidFill>
                  <a:srgbClr val="A6A6A6"/>
                </a:solidFill>
                <a:latin typeface="Arial"/>
                <a:cs typeface="Arial"/>
              </a:rPr>
              <a:t>Cisco </a:t>
            </a:r>
            <a:r>
              <a:rPr sz="800" spc="15" dirty="0">
                <a:solidFill>
                  <a:srgbClr val="A6A6A6"/>
                </a:solidFill>
                <a:latin typeface="Arial"/>
                <a:cs typeface="Arial"/>
              </a:rPr>
              <a:t>and/or  </a:t>
            </a:r>
            <a:r>
              <a:rPr sz="800" spc="5" dirty="0">
                <a:solidFill>
                  <a:srgbClr val="A6A6A6"/>
                </a:solidFill>
                <a:latin typeface="Arial"/>
                <a:cs typeface="Arial"/>
              </a:rPr>
              <a:t>its affiliates.  </a:t>
            </a:r>
            <a:r>
              <a:rPr sz="800" dirty="0">
                <a:solidFill>
                  <a:srgbClr val="A6A6A6"/>
                </a:solidFill>
                <a:latin typeface="Arial"/>
                <a:cs typeface="Arial"/>
              </a:rPr>
              <a:t>All </a:t>
            </a:r>
            <a:r>
              <a:rPr sz="800" spc="5" dirty="0">
                <a:solidFill>
                  <a:srgbClr val="A6A6A6"/>
                </a:solidFill>
                <a:latin typeface="Arial"/>
                <a:cs typeface="Arial"/>
              </a:rPr>
              <a:t>rights  </a:t>
            </a:r>
            <a:r>
              <a:rPr sz="800" spc="10" dirty="0">
                <a:solidFill>
                  <a:srgbClr val="A6A6A6"/>
                </a:solidFill>
                <a:latin typeface="Arial"/>
                <a:cs typeface="Arial"/>
              </a:rPr>
              <a:t>reserved.    Cisco</a:t>
            </a:r>
            <a:r>
              <a:rPr sz="800" spc="100" dirty="0">
                <a:solidFill>
                  <a:srgbClr val="A6A6A6"/>
                </a:solidFill>
                <a:latin typeface="Arial"/>
                <a:cs typeface="Arial"/>
              </a:rPr>
              <a:t> </a:t>
            </a:r>
            <a:r>
              <a:rPr sz="800" spc="5" dirty="0">
                <a:solidFill>
                  <a:srgbClr val="A6A6A6"/>
                </a:solidFill>
                <a:latin typeface="Arial"/>
                <a:cs typeface="Arial"/>
              </a:rPr>
              <a:t>Confidential</a:t>
            </a:r>
            <a:endParaRPr sz="800">
              <a:latin typeface="Arial"/>
              <a:cs typeface="Arial"/>
            </a:endParaRPr>
          </a:p>
        </p:txBody>
      </p:sp>
      <p:sp>
        <p:nvSpPr>
          <p:cNvPr id="3" name="object 3"/>
          <p:cNvSpPr txBox="1"/>
          <p:nvPr/>
        </p:nvSpPr>
        <p:spPr>
          <a:xfrm>
            <a:off x="774903" y="1186488"/>
            <a:ext cx="10514965" cy="2463165"/>
          </a:xfrm>
          <a:prstGeom prst="rect">
            <a:avLst/>
          </a:prstGeom>
        </p:spPr>
        <p:txBody>
          <a:bodyPr vert="horz" wrap="square" lIns="0" tIns="81280" rIns="0" bIns="0" rtlCol="0">
            <a:spAutoFit/>
          </a:bodyPr>
          <a:lstStyle/>
          <a:p>
            <a:pPr marL="167640" indent="-154940">
              <a:lnSpc>
                <a:spcPct val="100000"/>
              </a:lnSpc>
              <a:spcBef>
                <a:spcPts val="640"/>
              </a:spcBef>
              <a:buSzPct val="58333"/>
              <a:buChar char="•"/>
              <a:tabLst>
                <a:tab pos="168275" algn="l"/>
              </a:tabLst>
            </a:pPr>
            <a:r>
              <a:rPr sz="2400" spc="-10" dirty="0">
                <a:solidFill>
                  <a:srgbClr val="282828"/>
                </a:solidFill>
                <a:latin typeface="Arial"/>
                <a:cs typeface="Arial"/>
              </a:rPr>
              <a:t>Inventory </a:t>
            </a:r>
            <a:r>
              <a:rPr sz="2400" spc="0" dirty="0">
                <a:solidFill>
                  <a:srgbClr val="282828"/>
                </a:solidFill>
                <a:latin typeface="Arial"/>
                <a:cs typeface="Arial"/>
              </a:rPr>
              <a:t>file </a:t>
            </a:r>
            <a:r>
              <a:rPr sz="2400" spc="5" dirty="0">
                <a:solidFill>
                  <a:srgbClr val="282828"/>
                </a:solidFill>
                <a:latin typeface="Arial"/>
                <a:cs typeface="Arial"/>
              </a:rPr>
              <a:t>identifies hosts, </a:t>
            </a:r>
            <a:r>
              <a:rPr sz="2400" spc="-10" dirty="0">
                <a:solidFill>
                  <a:srgbClr val="282828"/>
                </a:solidFill>
                <a:latin typeface="Arial"/>
                <a:cs typeface="Arial"/>
              </a:rPr>
              <a:t>and </a:t>
            </a:r>
            <a:r>
              <a:rPr sz="2400" spc="15" dirty="0">
                <a:solidFill>
                  <a:srgbClr val="282828"/>
                </a:solidFill>
                <a:latin typeface="Arial"/>
                <a:cs typeface="Arial"/>
              </a:rPr>
              <a:t>groups </a:t>
            </a:r>
            <a:r>
              <a:rPr sz="2400" spc="35" dirty="0">
                <a:solidFill>
                  <a:srgbClr val="282828"/>
                </a:solidFill>
                <a:latin typeface="Arial"/>
                <a:cs typeface="Arial"/>
              </a:rPr>
              <a:t>of </a:t>
            </a:r>
            <a:r>
              <a:rPr sz="2400" spc="5" dirty="0">
                <a:solidFill>
                  <a:srgbClr val="282828"/>
                </a:solidFill>
                <a:latin typeface="Arial"/>
                <a:cs typeface="Arial"/>
              </a:rPr>
              <a:t>hosts </a:t>
            </a:r>
            <a:r>
              <a:rPr sz="2400" spc="10" dirty="0">
                <a:solidFill>
                  <a:srgbClr val="282828"/>
                </a:solidFill>
                <a:latin typeface="Arial"/>
                <a:cs typeface="Arial"/>
              </a:rPr>
              <a:t>under</a:t>
            </a:r>
            <a:r>
              <a:rPr sz="2400" spc="434" dirty="0">
                <a:solidFill>
                  <a:srgbClr val="282828"/>
                </a:solidFill>
                <a:latin typeface="Arial"/>
                <a:cs typeface="Arial"/>
              </a:rPr>
              <a:t> </a:t>
            </a:r>
            <a:r>
              <a:rPr sz="2400" spc="5" dirty="0">
                <a:solidFill>
                  <a:srgbClr val="282828"/>
                </a:solidFill>
                <a:latin typeface="Arial"/>
                <a:cs typeface="Arial"/>
              </a:rPr>
              <a:t>management</a:t>
            </a:r>
            <a:endParaRPr sz="2400">
              <a:latin typeface="Arial"/>
              <a:cs typeface="Arial"/>
            </a:endParaRPr>
          </a:p>
          <a:p>
            <a:pPr marL="320040" lvl="1" indent="-152400">
              <a:lnSpc>
                <a:spcPct val="100000"/>
              </a:lnSpc>
              <a:spcBef>
                <a:spcPts val="515"/>
              </a:spcBef>
              <a:buSzPct val="59523"/>
              <a:buChar char="•"/>
              <a:tabLst>
                <a:tab pos="320675" algn="l"/>
              </a:tabLst>
            </a:pPr>
            <a:r>
              <a:rPr sz="2100" spc="10" dirty="0">
                <a:solidFill>
                  <a:srgbClr val="282828"/>
                </a:solidFill>
                <a:latin typeface="Arial"/>
                <a:cs typeface="Arial"/>
              </a:rPr>
              <a:t>Hosts </a:t>
            </a:r>
            <a:r>
              <a:rPr sz="2100" spc="25" dirty="0">
                <a:solidFill>
                  <a:srgbClr val="282828"/>
                </a:solidFill>
                <a:latin typeface="Arial"/>
                <a:cs typeface="Arial"/>
              </a:rPr>
              <a:t>can </a:t>
            </a:r>
            <a:r>
              <a:rPr sz="2100" spc="55" dirty="0">
                <a:solidFill>
                  <a:srgbClr val="282828"/>
                </a:solidFill>
                <a:latin typeface="Arial"/>
                <a:cs typeface="Arial"/>
              </a:rPr>
              <a:t>be </a:t>
            </a:r>
            <a:r>
              <a:rPr sz="2100" spc="-90" dirty="0">
                <a:solidFill>
                  <a:srgbClr val="282828"/>
                </a:solidFill>
                <a:latin typeface="Arial"/>
                <a:cs typeface="Arial"/>
              </a:rPr>
              <a:t>IP </a:t>
            </a:r>
            <a:r>
              <a:rPr sz="2100" spc="35" dirty="0">
                <a:solidFill>
                  <a:srgbClr val="282828"/>
                </a:solidFill>
                <a:latin typeface="Arial"/>
                <a:cs typeface="Arial"/>
              </a:rPr>
              <a:t>or</a:t>
            </a:r>
            <a:r>
              <a:rPr sz="2100" spc="135" dirty="0">
                <a:solidFill>
                  <a:srgbClr val="282828"/>
                </a:solidFill>
                <a:latin typeface="Arial"/>
                <a:cs typeface="Arial"/>
              </a:rPr>
              <a:t> </a:t>
            </a:r>
            <a:r>
              <a:rPr sz="2100" spc="-45" dirty="0">
                <a:solidFill>
                  <a:srgbClr val="282828"/>
                </a:solidFill>
                <a:latin typeface="Arial"/>
                <a:cs typeface="Arial"/>
              </a:rPr>
              <a:t>FQDN</a:t>
            </a:r>
            <a:endParaRPr sz="2100">
              <a:latin typeface="Arial"/>
              <a:cs typeface="Arial"/>
            </a:endParaRPr>
          </a:p>
          <a:p>
            <a:pPr marL="320040" lvl="1" indent="-152400">
              <a:lnSpc>
                <a:spcPct val="100000"/>
              </a:lnSpc>
              <a:spcBef>
                <a:spcPts val="500"/>
              </a:spcBef>
              <a:buSzPct val="59523"/>
              <a:buChar char="•"/>
              <a:tabLst>
                <a:tab pos="320675" algn="l"/>
              </a:tabLst>
            </a:pPr>
            <a:r>
              <a:rPr sz="2100" spc="5" dirty="0">
                <a:solidFill>
                  <a:srgbClr val="282828"/>
                </a:solidFill>
                <a:latin typeface="Arial"/>
                <a:cs typeface="Arial"/>
              </a:rPr>
              <a:t>Groups </a:t>
            </a:r>
            <a:r>
              <a:rPr sz="2100" spc="25" dirty="0">
                <a:solidFill>
                  <a:srgbClr val="282828"/>
                </a:solidFill>
                <a:latin typeface="Arial"/>
                <a:cs typeface="Arial"/>
              </a:rPr>
              <a:t>inclosed </a:t>
            </a:r>
            <a:r>
              <a:rPr sz="2100" spc="-5" dirty="0">
                <a:solidFill>
                  <a:srgbClr val="282828"/>
                </a:solidFill>
                <a:latin typeface="Arial"/>
                <a:cs typeface="Arial"/>
              </a:rPr>
              <a:t>in</a:t>
            </a:r>
            <a:r>
              <a:rPr sz="2100" spc="15" dirty="0">
                <a:solidFill>
                  <a:srgbClr val="282828"/>
                </a:solidFill>
                <a:latin typeface="Arial"/>
                <a:cs typeface="Arial"/>
              </a:rPr>
              <a:t> </a:t>
            </a:r>
            <a:r>
              <a:rPr sz="2100" spc="-30" dirty="0">
                <a:solidFill>
                  <a:srgbClr val="282828"/>
                </a:solidFill>
                <a:latin typeface="Arial"/>
                <a:cs typeface="Arial"/>
              </a:rPr>
              <a:t>[]</a:t>
            </a:r>
            <a:endParaRPr sz="2100">
              <a:latin typeface="Arial"/>
              <a:cs typeface="Arial"/>
            </a:endParaRPr>
          </a:p>
          <a:p>
            <a:pPr marL="167640" indent="-154940">
              <a:lnSpc>
                <a:spcPct val="100000"/>
              </a:lnSpc>
              <a:spcBef>
                <a:spcPts val="1355"/>
              </a:spcBef>
              <a:buSzPct val="60416"/>
              <a:buChar char="•"/>
              <a:tabLst>
                <a:tab pos="168275" algn="l"/>
              </a:tabLst>
            </a:pPr>
            <a:r>
              <a:rPr sz="2400" spc="-30" dirty="0">
                <a:solidFill>
                  <a:srgbClr val="282828"/>
                </a:solidFill>
                <a:latin typeface="Arial"/>
                <a:cs typeface="Arial"/>
              </a:rPr>
              <a:t>Can </a:t>
            </a:r>
            <a:r>
              <a:rPr sz="2400" spc="5" dirty="0">
                <a:solidFill>
                  <a:srgbClr val="282828"/>
                </a:solidFill>
                <a:latin typeface="Arial"/>
                <a:cs typeface="Arial"/>
              </a:rPr>
              <a:t>include </a:t>
            </a:r>
            <a:r>
              <a:rPr sz="2400" spc="10" dirty="0">
                <a:solidFill>
                  <a:srgbClr val="282828"/>
                </a:solidFill>
                <a:latin typeface="Arial"/>
                <a:cs typeface="Arial"/>
              </a:rPr>
              <a:t>host </a:t>
            </a:r>
            <a:r>
              <a:rPr sz="2400" spc="25" dirty="0">
                <a:solidFill>
                  <a:srgbClr val="282828"/>
                </a:solidFill>
                <a:latin typeface="Arial"/>
                <a:cs typeface="Arial"/>
              </a:rPr>
              <a:t>specific </a:t>
            </a:r>
            <a:r>
              <a:rPr sz="2400" spc="5" dirty="0">
                <a:solidFill>
                  <a:srgbClr val="282828"/>
                </a:solidFill>
                <a:latin typeface="Arial"/>
                <a:cs typeface="Arial"/>
              </a:rPr>
              <a:t>parameters </a:t>
            </a:r>
            <a:r>
              <a:rPr sz="2400" spc="-40" dirty="0">
                <a:solidFill>
                  <a:srgbClr val="282828"/>
                </a:solidFill>
                <a:latin typeface="Arial"/>
                <a:cs typeface="Arial"/>
              </a:rPr>
              <a:t>as</a:t>
            </a:r>
            <a:r>
              <a:rPr sz="2400" spc="300" dirty="0">
                <a:solidFill>
                  <a:srgbClr val="282828"/>
                </a:solidFill>
                <a:latin typeface="Arial"/>
                <a:cs typeface="Arial"/>
              </a:rPr>
              <a:t> </a:t>
            </a:r>
            <a:r>
              <a:rPr sz="2400" spc="15" dirty="0">
                <a:solidFill>
                  <a:srgbClr val="282828"/>
                </a:solidFill>
                <a:latin typeface="Arial"/>
                <a:cs typeface="Arial"/>
              </a:rPr>
              <a:t>well</a:t>
            </a:r>
            <a:endParaRPr sz="2400">
              <a:latin typeface="Arial"/>
              <a:cs typeface="Arial"/>
            </a:endParaRPr>
          </a:p>
          <a:p>
            <a:pPr marL="320040" lvl="1" indent="-152400">
              <a:lnSpc>
                <a:spcPts val="2475"/>
              </a:lnSpc>
              <a:spcBef>
                <a:spcPts val="515"/>
              </a:spcBef>
              <a:buClr>
                <a:srgbClr val="282828"/>
              </a:buClr>
              <a:buSzPct val="59523"/>
              <a:buChar char="•"/>
              <a:tabLst>
                <a:tab pos="320675" algn="l"/>
              </a:tabLst>
            </a:pPr>
            <a:r>
              <a:rPr sz="2100" spc="-5" dirty="0">
                <a:solidFill>
                  <a:srgbClr val="E2231B"/>
                </a:solidFill>
                <a:latin typeface="Arial"/>
                <a:cs typeface="Arial"/>
              </a:rPr>
              <a:t>Example: </a:t>
            </a:r>
            <a:r>
              <a:rPr sz="2100" spc="10" dirty="0">
                <a:solidFill>
                  <a:srgbClr val="E2231B"/>
                </a:solidFill>
                <a:latin typeface="Arial"/>
                <a:cs typeface="Arial"/>
              </a:rPr>
              <a:t>Instructing Ansible </a:t>
            </a:r>
            <a:r>
              <a:rPr sz="2100" spc="50" dirty="0">
                <a:solidFill>
                  <a:srgbClr val="E2231B"/>
                </a:solidFill>
                <a:latin typeface="Arial"/>
                <a:cs typeface="Arial"/>
              </a:rPr>
              <a:t>to </a:t>
            </a:r>
            <a:r>
              <a:rPr sz="2100" spc="15" dirty="0">
                <a:solidFill>
                  <a:srgbClr val="E2231B"/>
                </a:solidFill>
                <a:latin typeface="Arial"/>
                <a:cs typeface="Arial"/>
              </a:rPr>
              <a:t>use </a:t>
            </a:r>
            <a:r>
              <a:rPr sz="2100" spc="35" dirty="0">
                <a:solidFill>
                  <a:srgbClr val="E2231B"/>
                </a:solidFill>
                <a:latin typeface="Arial"/>
                <a:cs typeface="Arial"/>
              </a:rPr>
              <a:t>the </a:t>
            </a:r>
            <a:r>
              <a:rPr sz="2100" spc="25" dirty="0">
                <a:solidFill>
                  <a:srgbClr val="E2231B"/>
                </a:solidFill>
                <a:latin typeface="Arial"/>
                <a:cs typeface="Arial"/>
              </a:rPr>
              <a:t>active </a:t>
            </a:r>
            <a:r>
              <a:rPr sz="2100" spc="5" dirty="0">
                <a:solidFill>
                  <a:srgbClr val="E2231B"/>
                </a:solidFill>
                <a:latin typeface="Arial"/>
                <a:cs typeface="Arial"/>
              </a:rPr>
              <a:t>Python </a:t>
            </a:r>
            <a:r>
              <a:rPr sz="2100" spc="25" dirty="0">
                <a:solidFill>
                  <a:srgbClr val="E2231B"/>
                </a:solidFill>
                <a:latin typeface="Arial"/>
                <a:cs typeface="Arial"/>
              </a:rPr>
              <a:t>Interpreter </a:t>
            </a:r>
            <a:r>
              <a:rPr sz="2100" spc="40" dirty="0">
                <a:solidFill>
                  <a:srgbClr val="E2231B"/>
                </a:solidFill>
                <a:latin typeface="Arial"/>
                <a:cs typeface="Arial"/>
              </a:rPr>
              <a:t>when </a:t>
            </a:r>
            <a:r>
              <a:rPr sz="2100" spc="5" dirty="0">
                <a:solidFill>
                  <a:srgbClr val="E2231B"/>
                </a:solidFill>
                <a:latin typeface="Arial"/>
                <a:cs typeface="Arial"/>
              </a:rPr>
              <a:t>using</a:t>
            </a:r>
            <a:r>
              <a:rPr sz="2100" spc="275" dirty="0">
                <a:solidFill>
                  <a:srgbClr val="E2231B"/>
                </a:solidFill>
                <a:latin typeface="Arial"/>
                <a:cs typeface="Arial"/>
              </a:rPr>
              <a:t> </a:t>
            </a:r>
            <a:r>
              <a:rPr sz="2100" spc="5" dirty="0">
                <a:solidFill>
                  <a:srgbClr val="E2231B"/>
                </a:solidFill>
                <a:latin typeface="Arial"/>
                <a:cs typeface="Arial"/>
              </a:rPr>
              <a:t>Python</a:t>
            </a:r>
            <a:endParaRPr sz="2100">
              <a:latin typeface="Arial"/>
              <a:cs typeface="Arial"/>
            </a:endParaRPr>
          </a:p>
          <a:p>
            <a:pPr marL="320040">
              <a:lnSpc>
                <a:spcPts val="2475"/>
              </a:lnSpc>
            </a:pPr>
            <a:r>
              <a:rPr sz="2100" spc="-10" dirty="0">
                <a:solidFill>
                  <a:srgbClr val="E2231B"/>
                </a:solidFill>
                <a:latin typeface="Arial"/>
                <a:cs typeface="Arial"/>
              </a:rPr>
              <a:t>Virtual</a:t>
            </a:r>
            <a:r>
              <a:rPr sz="2100" spc="-25" dirty="0">
                <a:solidFill>
                  <a:srgbClr val="E2231B"/>
                </a:solidFill>
                <a:latin typeface="Arial"/>
                <a:cs typeface="Arial"/>
              </a:rPr>
              <a:t> </a:t>
            </a:r>
            <a:r>
              <a:rPr sz="2100" spc="0" dirty="0">
                <a:solidFill>
                  <a:srgbClr val="E2231B"/>
                </a:solidFill>
                <a:latin typeface="Arial"/>
                <a:cs typeface="Arial"/>
              </a:rPr>
              <a:t>Environments</a:t>
            </a:r>
            <a:endParaRPr sz="2100">
              <a:latin typeface="Arial"/>
              <a:cs typeface="Arial"/>
            </a:endParaRPr>
          </a:p>
        </p:txBody>
      </p:sp>
      <p:sp>
        <p:nvSpPr>
          <p:cNvPr id="4" name="object 4"/>
          <p:cNvSpPr txBox="1"/>
          <p:nvPr/>
        </p:nvSpPr>
        <p:spPr>
          <a:xfrm>
            <a:off x="710183" y="3864864"/>
            <a:ext cx="11299190" cy="2258695"/>
          </a:xfrm>
          <a:prstGeom prst="rect">
            <a:avLst/>
          </a:prstGeom>
          <a:solidFill>
            <a:srgbClr val="282828"/>
          </a:solidFill>
        </p:spPr>
        <p:txBody>
          <a:bodyPr vert="horz" wrap="square" lIns="0" tIns="15875" rIns="0" bIns="0" rtlCol="0">
            <a:spAutoFit/>
          </a:bodyPr>
          <a:lstStyle/>
          <a:p>
            <a:pPr marL="76835">
              <a:lnSpc>
                <a:spcPts val="1875"/>
              </a:lnSpc>
              <a:spcBef>
                <a:spcPts val="125"/>
              </a:spcBef>
            </a:pPr>
            <a:r>
              <a:rPr sz="1600" spc="-5" dirty="0">
                <a:solidFill>
                  <a:srgbClr val="FFFFFF"/>
                </a:solidFill>
                <a:latin typeface="Courier New"/>
                <a:cs typeface="Courier New"/>
              </a:rPr>
              <a:t>DevNet$ cat</a:t>
            </a:r>
            <a:r>
              <a:rPr sz="1600" spc="-80" dirty="0">
                <a:solidFill>
                  <a:srgbClr val="FFFFFF"/>
                </a:solidFill>
                <a:latin typeface="Courier New"/>
                <a:cs typeface="Courier New"/>
              </a:rPr>
              <a:t> </a:t>
            </a:r>
            <a:r>
              <a:rPr sz="1600" dirty="0">
                <a:solidFill>
                  <a:srgbClr val="FFFFFF"/>
                </a:solidFill>
                <a:latin typeface="Courier New"/>
                <a:cs typeface="Courier New"/>
              </a:rPr>
              <a:t>hosts</a:t>
            </a:r>
            <a:endParaRPr sz="1600">
              <a:latin typeface="Courier New"/>
              <a:cs typeface="Courier New"/>
            </a:endParaRPr>
          </a:p>
          <a:p>
            <a:pPr marL="76835">
              <a:lnSpc>
                <a:spcPts val="1825"/>
              </a:lnSpc>
            </a:pPr>
            <a:r>
              <a:rPr sz="1600" spc="-5" dirty="0">
                <a:solidFill>
                  <a:srgbClr val="FFFFFF"/>
                </a:solidFill>
                <a:latin typeface="Courier New"/>
                <a:cs typeface="Courier New"/>
              </a:rPr>
              <a:t>[servers]</a:t>
            </a:r>
            <a:endParaRPr sz="1600">
              <a:latin typeface="Courier New"/>
              <a:cs typeface="Courier New"/>
            </a:endParaRPr>
          </a:p>
          <a:p>
            <a:pPr marL="76835">
              <a:lnSpc>
                <a:spcPts val="1870"/>
              </a:lnSpc>
            </a:pPr>
            <a:r>
              <a:rPr sz="1600" spc="-5" dirty="0">
                <a:solidFill>
                  <a:srgbClr val="FFFFFF"/>
                </a:solidFill>
                <a:latin typeface="Courier New"/>
                <a:cs typeface="Courier New"/>
              </a:rPr>
              <a:t>10.10.20.20 </a:t>
            </a:r>
            <a:r>
              <a:rPr sz="1600" dirty="0">
                <a:solidFill>
                  <a:srgbClr val="FFFFFF"/>
                </a:solidFill>
                <a:latin typeface="Courier New"/>
                <a:cs typeface="Courier New"/>
              </a:rPr>
              <a:t>ansible_python_interpreter="/usr/bin/env</a:t>
            </a:r>
            <a:r>
              <a:rPr sz="1600" spc="-25" dirty="0">
                <a:solidFill>
                  <a:srgbClr val="FFFFFF"/>
                </a:solidFill>
                <a:latin typeface="Courier New"/>
                <a:cs typeface="Courier New"/>
              </a:rPr>
              <a:t> </a:t>
            </a:r>
            <a:r>
              <a:rPr sz="1600" spc="-5" dirty="0">
                <a:solidFill>
                  <a:srgbClr val="FFFFFF"/>
                </a:solidFill>
                <a:latin typeface="Courier New"/>
                <a:cs typeface="Courier New"/>
              </a:rPr>
              <a:t>python"</a:t>
            </a:r>
            <a:endParaRPr sz="1600">
              <a:latin typeface="Courier New"/>
              <a:cs typeface="Courier New"/>
            </a:endParaRPr>
          </a:p>
          <a:p>
            <a:pPr>
              <a:lnSpc>
                <a:spcPct val="100000"/>
              </a:lnSpc>
              <a:spcBef>
                <a:spcPts val="30"/>
              </a:spcBef>
            </a:pPr>
            <a:endParaRPr sz="1600">
              <a:latin typeface="Times New Roman"/>
              <a:cs typeface="Times New Roman"/>
            </a:endParaRPr>
          </a:p>
          <a:p>
            <a:pPr marL="76835" marR="9629140">
              <a:lnSpc>
                <a:spcPts val="1820"/>
              </a:lnSpc>
            </a:pPr>
            <a:r>
              <a:rPr sz="1600" spc="-5" dirty="0">
                <a:solidFill>
                  <a:srgbClr val="FFFFFF"/>
                </a:solidFill>
                <a:latin typeface="Courier New"/>
                <a:cs typeface="Courier New"/>
              </a:rPr>
              <a:t>[switches]  </a:t>
            </a:r>
            <a:r>
              <a:rPr sz="1600" spc="-10" dirty="0">
                <a:solidFill>
                  <a:srgbClr val="FFFFFF"/>
                </a:solidFill>
                <a:latin typeface="Courier New"/>
                <a:cs typeface="Courier New"/>
              </a:rPr>
              <a:t>172.16.30.101</a:t>
            </a:r>
            <a:endParaRPr sz="1600">
              <a:latin typeface="Courier New"/>
              <a:cs typeface="Courier New"/>
            </a:endParaRPr>
          </a:p>
          <a:p>
            <a:pPr marL="76835">
              <a:lnSpc>
                <a:spcPts val="1730"/>
              </a:lnSpc>
            </a:pPr>
            <a:r>
              <a:rPr sz="1600" spc="-10" dirty="0">
                <a:solidFill>
                  <a:srgbClr val="FFFFFF"/>
                </a:solidFill>
                <a:latin typeface="Courier New"/>
                <a:cs typeface="Courier New"/>
              </a:rPr>
              <a:t>172.16.30.102</a:t>
            </a:r>
            <a:endParaRPr sz="1600">
              <a:latin typeface="Courier New"/>
              <a:cs typeface="Courier New"/>
            </a:endParaRPr>
          </a:p>
          <a:p>
            <a:pPr marL="76835">
              <a:lnSpc>
                <a:spcPts val="1825"/>
              </a:lnSpc>
            </a:pPr>
            <a:r>
              <a:rPr sz="1600" spc="-5" dirty="0">
                <a:solidFill>
                  <a:srgbClr val="FFFFFF"/>
                </a:solidFill>
                <a:latin typeface="Courier New"/>
                <a:cs typeface="Courier New"/>
              </a:rPr>
              <a:t>172.16.30.103</a:t>
            </a:r>
            <a:endParaRPr sz="1600">
              <a:latin typeface="Courier New"/>
              <a:cs typeface="Courier New"/>
            </a:endParaRPr>
          </a:p>
          <a:p>
            <a:pPr marL="76835">
              <a:lnSpc>
                <a:spcPts val="1875"/>
              </a:lnSpc>
            </a:pPr>
            <a:r>
              <a:rPr sz="1600" spc="-10" dirty="0">
                <a:solidFill>
                  <a:srgbClr val="FFFFFF"/>
                </a:solidFill>
                <a:latin typeface="Courier New"/>
                <a:cs typeface="Courier New"/>
              </a:rPr>
              <a:t>172.16.30.104</a:t>
            </a:r>
            <a:endParaRPr sz="1600">
              <a:latin typeface="Courier New"/>
              <a:cs typeface="Courier New"/>
            </a:endParaRPr>
          </a:p>
        </p:txBody>
      </p:sp>
      <p:sp>
        <p:nvSpPr>
          <p:cNvPr id="5" name="object 5"/>
          <p:cNvSpPr txBox="1"/>
          <p:nvPr/>
        </p:nvSpPr>
        <p:spPr>
          <a:xfrm>
            <a:off x="2436876" y="5085588"/>
            <a:ext cx="6083935" cy="948055"/>
          </a:xfrm>
          <a:prstGeom prst="rect">
            <a:avLst/>
          </a:prstGeom>
          <a:solidFill>
            <a:srgbClr val="282828"/>
          </a:solidFill>
          <a:ln w="57911">
            <a:solidFill>
              <a:srgbClr val="E2231B"/>
            </a:solidFill>
          </a:ln>
        </p:spPr>
        <p:txBody>
          <a:bodyPr vert="horz" wrap="square" lIns="0" tIns="0" rIns="0" bIns="0" rtlCol="0">
            <a:spAutoFit/>
          </a:bodyPr>
          <a:lstStyle/>
          <a:p>
            <a:pPr marL="31750" algn="just">
              <a:lnSpc>
                <a:spcPts val="1280"/>
              </a:lnSpc>
            </a:pPr>
            <a:r>
              <a:rPr sz="1600" dirty="0">
                <a:solidFill>
                  <a:srgbClr val="FFFFFF"/>
                </a:solidFill>
                <a:latin typeface="Courier New"/>
                <a:cs typeface="Courier New"/>
              </a:rPr>
              <a:t>ansible_python_interpreter="/usr/bin/env</a:t>
            </a:r>
            <a:r>
              <a:rPr sz="1600" spc="-35" dirty="0">
                <a:solidFill>
                  <a:srgbClr val="FFFFFF"/>
                </a:solidFill>
                <a:latin typeface="Courier New"/>
                <a:cs typeface="Courier New"/>
              </a:rPr>
              <a:t> </a:t>
            </a:r>
            <a:r>
              <a:rPr sz="1600" spc="-5" dirty="0">
                <a:solidFill>
                  <a:srgbClr val="FFFFFF"/>
                </a:solidFill>
                <a:latin typeface="Courier New"/>
                <a:cs typeface="Courier New"/>
              </a:rPr>
              <a:t>python"</a:t>
            </a:r>
            <a:endParaRPr sz="1600">
              <a:latin typeface="Courier New"/>
              <a:cs typeface="Courier New"/>
            </a:endParaRPr>
          </a:p>
          <a:p>
            <a:pPr marL="31750" marR="116839" algn="just">
              <a:lnSpc>
                <a:spcPts val="1830"/>
              </a:lnSpc>
              <a:spcBef>
                <a:spcPts val="85"/>
              </a:spcBef>
            </a:pPr>
            <a:r>
              <a:rPr sz="1600" dirty="0">
                <a:solidFill>
                  <a:srgbClr val="FFFFFF"/>
                </a:solidFill>
                <a:latin typeface="Courier New"/>
                <a:cs typeface="Courier New"/>
              </a:rPr>
              <a:t>ansible_python_interpreter="/usr/bin/env </a:t>
            </a:r>
            <a:r>
              <a:rPr sz="1600" spc="-5" dirty="0">
                <a:solidFill>
                  <a:srgbClr val="FFFFFF"/>
                </a:solidFill>
                <a:latin typeface="Courier New"/>
                <a:cs typeface="Courier New"/>
              </a:rPr>
              <a:t>python"  </a:t>
            </a:r>
            <a:r>
              <a:rPr sz="1600" dirty="0">
                <a:solidFill>
                  <a:srgbClr val="FFFFFF"/>
                </a:solidFill>
                <a:latin typeface="Courier New"/>
                <a:cs typeface="Courier New"/>
              </a:rPr>
              <a:t>ansible_python_interpreter="/usr/bin/env </a:t>
            </a:r>
            <a:r>
              <a:rPr sz="1600" spc="-5" dirty="0">
                <a:solidFill>
                  <a:srgbClr val="FFFFFF"/>
                </a:solidFill>
                <a:latin typeface="Courier New"/>
                <a:cs typeface="Courier New"/>
              </a:rPr>
              <a:t>python"  </a:t>
            </a:r>
            <a:r>
              <a:rPr sz="1600" dirty="0">
                <a:solidFill>
                  <a:srgbClr val="FFFFFF"/>
                </a:solidFill>
                <a:latin typeface="Courier New"/>
                <a:cs typeface="Courier New"/>
              </a:rPr>
              <a:t>ansible_python_interpreter="/usr/bin/env</a:t>
            </a:r>
            <a:r>
              <a:rPr sz="1600" spc="-35" dirty="0">
                <a:solidFill>
                  <a:srgbClr val="FFFFFF"/>
                </a:solidFill>
                <a:latin typeface="Courier New"/>
                <a:cs typeface="Courier New"/>
              </a:rPr>
              <a:t> </a:t>
            </a:r>
            <a:r>
              <a:rPr sz="1600" spc="-5" dirty="0">
                <a:solidFill>
                  <a:srgbClr val="FFFFFF"/>
                </a:solidFill>
                <a:latin typeface="Courier New"/>
                <a:cs typeface="Courier New"/>
              </a:rPr>
              <a:t>python"</a:t>
            </a:r>
            <a:endParaRPr sz="1600">
              <a:latin typeface="Courier New"/>
              <a:cs typeface="Courier New"/>
            </a:endParaRPr>
          </a:p>
        </p:txBody>
      </p:sp>
      <p:sp>
        <p:nvSpPr>
          <p:cNvPr id="6" name="object 6"/>
          <p:cNvSpPr txBox="1">
            <a:spLocks noGrp="1"/>
          </p:cNvSpPr>
          <p:nvPr>
            <p:ph type="title"/>
          </p:nvPr>
        </p:nvSpPr>
        <p:spPr>
          <a:xfrm>
            <a:off x="662736" y="587501"/>
            <a:ext cx="6358255" cy="596265"/>
          </a:xfrm>
          <a:prstGeom prst="rect">
            <a:avLst/>
          </a:prstGeom>
        </p:spPr>
        <p:txBody>
          <a:bodyPr vert="horz" wrap="square" lIns="0" tIns="12065" rIns="0" bIns="0" rtlCol="0">
            <a:spAutoFit/>
          </a:bodyPr>
          <a:lstStyle/>
          <a:p>
            <a:pPr marL="12700">
              <a:lnSpc>
                <a:spcPct val="100000"/>
              </a:lnSpc>
              <a:spcBef>
                <a:spcPts val="95"/>
              </a:spcBef>
            </a:pPr>
            <a:r>
              <a:rPr spc="-20" dirty="0"/>
              <a:t>Review: </a:t>
            </a:r>
            <a:r>
              <a:rPr spc="-10" dirty="0"/>
              <a:t>Ansible Inventory</a:t>
            </a:r>
            <a:r>
              <a:rPr spc="150" dirty="0"/>
              <a:t> </a:t>
            </a:r>
            <a:r>
              <a:rPr spc="-75" dirty="0"/>
              <a:t>File</a:t>
            </a:r>
          </a:p>
        </p:txBody>
      </p:sp>
      <p:sp>
        <p:nvSpPr>
          <p:cNvPr id="7" name="object 7"/>
          <p:cNvSpPr txBox="1"/>
          <p:nvPr/>
        </p:nvSpPr>
        <p:spPr>
          <a:xfrm>
            <a:off x="7722489" y="6157366"/>
            <a:ext cx="3910329" cy="666750"/>
          </a:xfrm>
          <a:prstGeom prst="rect">
            <a:avLst/>
          </a:prstGeom>
        </p:spPr>
        <p:txBody>
          <a:bodyPr vert="horz" wrap="square" lIns="0" tIns="12700" rIns="0" bIns="0" rtlCol="0">
            <a:spAutoFit/>
          </a:bodyPr>
          <a:lstStyle/>
          <a:p>
            <a:pPr marL="273050">
              <a:lnSpc>
                <a:spcPct val="100000"/>
              </a:lnSpc>
              <a:spcBef>
                <a:spcPts val="100"/>
              </a:spcBef>
            </a:pPr>
            <a:r>
              <a:rPr sz="1800" i="1" spc="0" dirty="0">
                <a:solidFill>
                  <a:srgbClr val="282828"/>
                </a:solidFill>
                <a:latin typeface="Arial"/>
                <a:cs typeface="Arial"/>
              </a:rPr>
              <a:t>Output </a:t>
            </a:r>
            <a:r>
              <a:rPr sz="1800" i="1" spc="15" dirty="0">
                <a:solidFill>
                  <a:srgbClr val="282828"/>
                </a:solidFill>
                <a:latin typeface="Arial"/>
                <a:cs typeface="Arial"/>
              </a:rPr>
              <a:t>edited for </a:t>
            </a:r>
            <a:r>
              <a:rPr sz="1800" i="1" spc="5" dirty="0">
                <a:solidFill>
                  <a:srgbClr val="282828"/>
                </a:solidFill>
                <a:latin typeface="Arial"/>
                <a:cs typeface="Arial"/>
              </a:rPr>
              <a:t>brevity </a:t>
            </a:r>
            <a:r>
              <a:rPr sz="1800" i="1" spc="-10" dirty="0">
                <a:solidFill>
                  <a:srgbClr val="282828"/>
                </a:solidFill>
                <a:latin typeface="Arial"/>
                <a:cs typeface="Arial"/>
              </a:rPr>
              <a:t>and</a:t>
            </a:r>
            <a:r>
              <a:rPr sz="1800" i="1" spc="150" dirty="0">
                <a:solidFill>
                  <a:srgbClr val="282828"/>
                </a:solidFill>
                <a:latin typeface="Arial"/>
                <a:cs typeface="Arial"/>
              </a:rPr>
              <a:t> </a:t>
            </a:r>
            <a:r>
              <a:rPr sz="1800" i="1" dirty="0">
                <a:solidFill>
                  <a:srgbClr val="282828"/>
                </a:solidFill>
                <a:latin typeface="Arial"/>
                <a:cs typeface="Arial"/>
              </a:rPr>
              <a:t>clarity</a:t>
            </a:r>
            <a:endParaRPr sz="1800">
              <a:latin typeface="Arial"/>
              <a:cs typeface="Arial"/>
            </a:endParaRPr>
          </a:p>
          <a:p>
            <a:pPr marL="12700">
              <a:lnSpc>
                <a:spcPct val="100000"/>
              </a:lnSpc>
              <a:spcBef>
                <a:spcPts val="1205"/>
              </a:spcBef>
            </a:pPr>
            <a:r>
              <a:rPr sz="1400" spc="10" dirty="0">
                <a:solidFill>
                  <a:srgbClr val="00BBEB"/>
                </a:solidFill>
                <a:latin typeface="Arial"/>
                <a:cs typeface="Arial"/>
              </a:rPr>
              <a:t>netprog_basics/netdevops/ansible_part_2/hosts</a:t>
            </a:r>
            <a:endParaRPr sz="1400">
              <a:latin typeface="Arial"/>
              <a:cs typeface="Arial"/>
            </a:endParaRPr>
          </a:p>
        </p:txBody>
      </p:sp>
    </p:spTree>
    <p:extLst>
      <p:ext uri="{BB962C8B-B14F-4D97-AF65-F5344CB8AC3E}">
        <p14:creationId xmlns:p14="http://schemas.microsoft.com/office/powerpoint/2010/main" val="21711438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D8D707D-F12E-B84D-944F-2926ADE0243C}"/>
              </a:ext>
            </a:extLst>
          </p:cNvPr>
          <p:cNvSpPr>
            <a:spLocks noGrp="1"/>
          </p:cNvSpPr>
          <p:nvPr>
            <p:ph type="body" sz="quarter" idx="10"/>
          </p:nvPr>
        </p:nvSpPr>
        <p:spPr/>
        <p:txBody>
          <a:bodyPr/>
          <a:lstStyle/>
          <a:p>
            <a:endParaRPr lang="en-CN"/>
          </a:p>
        </p:txBody>
      </p:sp>
      <p:sp>
        <p:nvSpPr>
          <p:cNvPr id="5" name="Text Placeholder 4">
            <a:extLst>
              <a:ext uri="{FF2B5EF4-FFF2-40B4-BE49-F238E27FC236}">
                <a16:creationId xmlns:a16="http://schemas.microsoft.com/office/drawing/2014/main" id="{A1101CCE-B0C7-BA43-BD78-08C0E3BD6FC4}"/>
              </a:ext>
            </a:extLst>
          </p:cNvPr>
          <p:cNvSpPr>
            <a:spLocks noGrp="1"/>
          </p:cNvSpPr>
          <p:nvPr>
            <p:ph type="body" sz="quarter" idx="11"/>
          </p:nvPr>
        </p:nvSpPr>
        <p:spPr>
          <a:xfrm>
            <a:off x="711199" y="602546"/>
            <a:ext cx="5181600" cy="5652908"/>
          </a:xfrm>
        </p:spPr>
        <p:txBody>
          <a:bodyPr/>
          <a:lstStyle/>
          <a:p>
            <a:r>
              <a:rPr lang="en-US" dirty="0"/>
              <a:t>#! /</a:t>
            </a:r>
            <a:r>
              <a:rPr lang="en-US" dirty="0" err="1"/>
              <a:t>usr</a:t>
            </a:r>
            <a:r>
              <a:rPr lang="en-US" dirty="0"/>
              <a:t>/bin/env python</a:t>
            </a:r>
            <a:br>
              <a:rPr lang="en-US" dirty="0"/>
            </a:br>
            <a:br>
              <a:rPr lang="en-US" dirty="0"/>
            </a:br>
            <a:r>
              <a:rPr lang="en-US" dirty="0"/>
              <a:t>from cli import </a:t>
            </a:r>
            <a:r>
              <a:rPr lang="en-US" dirty="0" err="1"/>
              <a:t>configurep</a:t>
            </a:r>
            <a:br>
              <a:rPr lang="en-US" dirty="0"/>
            </a:br>
            <a:r>
              <a:rPr lang="en-US" dirty="0"/>
              <a:t>import </a:t>
            </a:r>
            <a:r>
              <a:rPr lang="en-US" dirty="0" err="1"/>
              <a:t>argparse</a:t>
            </a:r>
            <a:br>
              <a:rPr lang="en-US" dirty="0"/>
            </a:br>
            <a:br>
              <a:rPr lang="en-US" dirty="0"/>
            </a:br>
            <a:r>
              <a:rPr lang="en-US" dirty="0"/>
              <a:t># Retrieve the interface from command line using </a:t>
            </a:r>
            <a:r>
              <a:rPr lang="en-US" dirty="0" err="1"/>
              <a:t>argparse</a:t>
            </a:r>
            <a:br>
              <a:rPr lang="en-US" dirty="0"/>
            </a:br>
            <a:r>
              <a:rPr lang="en-US" dirty="0"/>
              <a:t>parser = </a:t>
            </a:r>
            <a:r>
              <a:rPr lang="en-US" dirty="0" err="1"/>
              <a:t>argparse.ArgumentParser</a:t>
            </a:r>
            <a:r>
              <a:rPr lang="en-US" dirty="0"/>
              <a:t>()</a:t>
            </a:r>
            <a:br>
              <a:rPr lang="en-US" dirty="0"/>
            </a:br>
            <a:r>
              <a:rPr lang="en-US" dirty="0" err="1"/>
              <a:t>parser.add_argument</a:t>
            </a:r>
            <a:r>
              <a:rPr lang="en-US" dirty="0"/>
              <a:t>("interface", help="Interface to bring up")</a:t>
            </a:r>
            <a:br>
              <a:rPr lang="en-US" dirty="0"/>
            </a:br>
            <a:r>
              <a:rPr lang="en-US" dirty="0" err="1"/>
              <a:t>args</a:t>
            </a:r>
            <a:r>
              <a:rPr lang="en-US" dirty="0"/>
              <a:t> = </a:t>
            </a:r>
            <a:r>
              <a:rPr lang="en-US" dirty="0" err="1"/>
              <a:t>parser.parse_args</a:t>
            </a:r>
            <a:r>
              <a:rPr lang="en-US" dirty="0"/>
              <a:t>()</a:t>
            </a:r>
            <a:br>
              <a:rPr lang="en-US" dirty="0"/>
            </a:br>
            <a:br>
              <a:rPr lang="en-US" dirty="0"/>
            </a:br>
            <a:r>
              <a:rPr lang="en-US" dirty="0"/>
              <a:t># List of commands to run</a:t>
            </a:r>
            <a:br>
              <a:rPr lang="en-US" dirty="0"/>
            </a:br>
            <a:r>
              <a:rPr lang="en-US" dirty="0"/>
              <a:t>commands = [</a:t>
            </a:r>
            <a:br>
              <a:rPr lang="en-US" dirty="0"/>
            </a:br>
            <a:r>
              <a:rPr lang="en-US" dirty="0"/>
              <a:t>            "interface {}".format(</a:t>
            </a:r>
            <a:r>
              <a:rPr lang="en-US" dirty="0" err="1"/>
              <a:t>args.interface</a:t>
            </a:r>
            <a:r>
              <a:rPr lang="en-US" dirty="0"/>
              <a:t>),</a:t>
            </a:r>
            <a:br>
              <a:rPr lang="en-US" dirty="0"/>
            </a:br>
            <a:r>
              <a:rPr lang="en-US" dirty="0"/>
              <a:t>            "no shut"</a:t>
            </a:r>
            <a:br>
              <a:rPr lang="en-US" dirty="0"/>
            </a:br>
            <a:r>
              <a:rPr lang="en-US" dirty="0"/>
              <a:t>           ]</a:t>
            </a:r>
            <a:br>
              <a:rPr lang="en-US" dirty="0"/>
            </a:br>
            <a:br>
              <a:rPr lang="en-US" dirty="0"/>
            </a:br>
            <a:r>
              <a:rPr lang="en-US" dirty="0"/>
              <a:t># Run commands using Python API</a:t>
            </a:r>
            <a:br>
              <a:rPr lang="en-US" dirty="0"/>
            </a:br>
            <a:r>
              <a:rPr lang="en-US" dirty="0"/>
              <a:t># Commands need to be semicolon </a:t>
            </a:r>
            <a:r>
              <a:rPr lang="en-US" dirty="0" err="1"/>
              <a:t>seperated</a:t>
            </a:r>
            <a:br>
              <a:rPr lang="en-US" dirty="0"/>
            </a:br>
            <a:r>
              <a:rPr lang="en-US" dirty="0" err="1"/>
              <a:t>configurep</a:t>
            </a:r>
            <a:r>
              <a:rPr lang="en-US" dirty="0"/>
              <a:t>(commands)</a:t>
            </a:r>
            <a:endParaRPr lang="en-CN" dirty="0"/>
          </a:p>
        </p:txBody>
      </p:sp>
      <p:sp>
        <p:nvSpPr>
          <p:cNvPr id="6" name="Text Placeholder 4">
            <a:extLst>
              <a:ext uri="{FF2B5EF4-FFF2-40B4-BE49-F238E27FC236}">
                <a16:creationId xmlns:a16="http://schemas.microsoft.com/office/drawing/2014/main" id="{6701A2CA-14EC-1440-96C0-C6650A4171E3}"/>
              </a:ext>
            </a:extLst>
          </p:cNvPr>
          <p:cNvSpPr txBox="1">
            <a:spLocks/>
          </p:cNvSpPr>
          <p:nvPr/>
        </p:nvSpPr>
        <p:spPr>
          <a:xfrm>
            <a:off x="6382656" y="602546"/>
            <a:ext cx="5181600" cy="5652908"/>
          </a:xfrm>
          <a:prstGeom prst="rect">
            <a:avLst/>
          </a:prstGeom>
          <a:solidFill>
            <a:schemeClr val="tx1"/>
          </a:solidFill>
        </p:spPr>
        <p:txBody>
          <a:bodyPr lIns="0" tIns="45710" rIns="0" bIns="45710">
            <a:noAutofit/>
          </a:bodyPr>
          <a:lstStyle>
            <a:lvl1pPr marL="76199" indent="0" algn="l" defTabSz="912261" rtl="0" eaLnBrk="1" fontAlgn="base" hangingPunct="1">
              <a:lnSpc>
                <a:spcPct val="95000"/>
              </a:lnSpc>
              <a:spcBef>
                <a:spcPts val="0"/>
              </a:spcBef>
              <a:spcAft>
                <a:spcPct val="0"/>
              </a:spcAft>
              <a:buClr>
                <a:schemeClr val="tx1"/>
              </a:buClr>
              <a:buSzPct val="60000"/>
              <a:buFont typeface="Arial"/>
              <a:buNone/>
              <a:defRPr lang="en-US" sz="1600" b="0" i="0" kern="1200" baseline="0">
                <a:solidFill>
                  <a:schemeClr val="bg2"/>
                </a:solidFill>
                <a:latin typeface="Courier New" panose="02070309020205020404" pitchFamily="49" charset="0"/>
                <a:ea typeface="ＭＳ Ｐゴシック" charset="0"/>
                <a:cs typeface="Courier New" panose="02070309020205020404" pitchFamily="49" charset="0"/>
              </a:defRPr>
            </a:lvl1pPr>
            <a:lvl2pPr marL="232828" indent="0" algn="l" defTabSz="912261" rtl="0" eaLnBrk="1" fontAlgn="base" hangingPunct="1">
              <a:lnSpc>
                <a:spcPct val="95000"/>
              </a:lnSpc>
              <a:spcBef>
                <a:spcPts val="600"/>
              </a:spcBef>
              <a:spcAft>
                <a:spcPct val="0"/>
              </a:spcAft>
              <a:buClr>
                <a:schemeClr val="tx1"/>
              </a:buClr>
              <a:buSzPct val="60000"/>
              <a:buFont typeface="Arial"/>
              <a:buNone/>
              <a:defRPr lang="en-US" sz="1600" b="0" i="0" kern="1200">
                <a:solidFill>
                  <a:schemeClr val="bg2"/>
                </a:solidFill>
                <a:latin typeface="Courier New" panose="02070309020205020404" pitchFamily="49" charset="0"/>
                <a:ea typeface="ＭＳ Ｐゴシック" charset="0"/>
                <a:cs typeface="Courier New" panose="02070309020205020404" pitchFamily="49" charset="0"/>
              </a:defRPr>
            </a:lvl2pPr>
            <a:lvl3pPr marL="385224" indent="0" algn="l" defTabSz="912261" rtl="0" eaLnBrk="1" fontAlgn="base" hangingPunct="1">
              <a:lnSpc>
                <a:spcPct val="95000"/>
              </a:lnSpc>
              <a:spcBef>
                <a:spcPts val="833"/>
              </a:spcBef>
              <a:spcAft>
                <a:spcPct val="0"/>
              </a:spcAft>
              <a:buClr>
                <a:schemeClr val="tx1"/>
              </a:buClr>
              <a:buSzPct val="60000"/>
              <a:buFont typeface="Arial"/>
              <a:buNone/>
              <a:defRPr lang="en-US" sz="1600" b="0" i="0" kern="1200">
                <a:solidFill>
                  <a:schemeClr val="bg2"/>
                </a:solidFill>
                <a:latin typeface="Courier New" panose="02070309020205020404" pitchFamily="49" charset="0"/>
                <a:ea typeface="ＭＳ Ｐゴシック" charset="0"/>
                <a:cs typeface="Courier New" panose="02070309020205020404" pitchFamily="49" charset="0"/>
              </a:defRPr>
            </a:lvl3pPr>
            <a:lvl4pPr marL="537620" indent="0" algn="l" defTabSz="912261" rtl="0" eaLnBrk="1" fontAlgn="base" hangingPunct="1">
              <a:lnSpc>
                <a:spcPct val="95000"/>
              </a:lnSpc>
              <a:spcBef>
                <a:spcPts val="833"/>
              </a:spcBef>
              <a:spcAft>
                <a:spcPct val="0"/>
              </a:spcAft>
              <a:buClr>
                <a:schemeClr val="tx1"/>
              </a:buClr>
              <a:buSzPct val="60000"/>
              <a:buFont typeface="Arial"/>
              <a:buNone/>
              <a:defRPr lang="en-US" sz="1600" b="0" i="0" kern="1200">
                <a:solidFill>
                  <a:schemeClr val="bg2"/>
                </a:solidFill>
                <a:latin typeface="Courier New" panose="02070309020205020404" pitchFamily="49" charset="0"/>
                <a:ea typeface="ＭＳ Ｐゴシック" charset="0"/>
                <a:cs typeface="Courier New" panose="02070309020205020404" pitchFamily="49" charset="0"/>
              </a:defRPr>
            </a:lvl4pPr>
            <a:lvl5pPr marL="690016" indent="0" algn="l" defTabSz="912261" rtl="0" eaLnBrk="1" fontAlgn="base" hangingPunct="1">
              <a:lnSpc>
                <a:spcPct val="95000"/>
              </a:lnSpc>
              <a:spcBef>
                <a:spcPts val="833"/>
              </a:spcBef>
              <a:spcAft>
                <a:spcPct val="0"/>
              </a:spcAft>
              <a:buClr>
                <a:schemeClr val="tx1"/>
              </a:buClr>
              <a:buSzPct val="60000"/>
              <a:buFont typeface="Arial"/>
              <a:buNone/>
              <a:defRPr lang="en-US" sz="1600" b="0" i="0" kern="1200">
                <a:solidFill>
                  <a:schemeClr val="bg2"/>
                </a:solidFill>
                <a:latin typeface="Courier New" panose="02070309020205020404" pitchFamily="49" charset="0"/>
                <a:ea typeface="ＭＳ Ｐゴシック" charset="0"/>
                <a:cs typeface="Courier New" panose="02070309020205020404" pitchFamily="49" charset="0"/>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vent manager applet interface_Lo100_Shutdown</a:t>
            </a:r>
            <a:br>
              <a:rPr lang="en-US" dirty="0"/>
            </a:br>
            <a:r>
              <a:rPr lang="en-US" dirty="0"/>
              <a:t>  event syslog pattern "Interface Loopback100, changed state to administratively down"</a:t>
            </a:r>
            <a:br>
              <a:rPr lang="en-US" dirty="0"/>
            </a:br>
            <a:r>
              <a:rPr lang="en-US" dirty="0"/>
              <a:t>  action 0.0 cli command "</a:t>
            </a:r>
            <a:r>
              <a:rPr lang="en-US" dirty="0" err="1"/>
              <a:t>en</a:t>
            </a:r>
            <a:r>
              <a:rPr lang="en-US" dirty="0"/>
              <a:t>"</a:t>
            </a:r>
            <a:br>
              <a:rPr lang="en-US" dirty="0"/>
            </a:br>
            <a:r>
              <a:rPr lang="en-US" dirty="0"/>
              <a:t>  action 1.0 cli command "</a:t>
            </a:r>
            <a:r>
              <a:rPr lang="en-US" dirty="0" err="1"/>
              <a:t>guestshell</a:t>
            </a:r>
            <a:r>
              <a:rPr lang="en-US" dirty="0"/>
              <a:t> run python /flash/</a:t>
            </a:r>
            <a:r>
              <a:rPr lang="en-US" dirty="0" err="1"/>
              <a:t>eem_intf_up.py</a:t>
            </a:r>
            <a:r>
              <a:rPr lang="en-US" dirty="0"/>
              <a:t> lo100"</a:t>
            </a:r>
            <a:br>
              <a:rPr lang="en-US" dirty="0"/>
            </a:br>
            <a:r>
              <a:rPr lang="en-US" dirty="0"/>
              <a:t>exit</a:t>
            </a:r>
            <a:br>
              <a:rPr lang="en-US" dirty="0"/>
            </a:br>
            <a:endParaRPr lang="en-US" dirty="0"/>
          </a:p>
        </p:txBody>
      </p:sp>
      <p:sp>
        <p:nvSpPr>
          <p:cNvPr id="7" name="TextBox 6">
            <a:extLst>
              <a:ext uri="{FF2B5EF4-FFF2-40B4-BE49-F238E27FC236}">
                <a16:creationId xmlns:a16="http://schemas.microsoft.com/office/drawing/2014/main" id="{A5B9A0A5-2A61-E04E-B50D-3F48EC5B2CD1}"/>
              </a:ext>
            </a:extLst>
          </p:cNvPr>
          <p:cNvSpPr txBox="1"/>
          <p:nvPr/>
        </p:nvSpPr>
        <p:spPr>
          <a:xfrm>
            <a:off x="627744" y="233214"/>
            <a:ext cx="1814920" cy="369332"/>
          </a:xfrm>
          <a:prstGeom prst="rect">
            <a:avLst/>
          </a:prstGeom>
          <a:noFill/>
        </p:spPr>
        <p:txBody>
          <a:bodyPr wrap="none" rtlCol="0">
            <a:spAutoFit/>
          </a:bodyPr>
          <a:lstStyle/>
          <a:p>
            <a:r>
              <a:rPr lang="en-CN" dirty="0">
                <a:latin typeface="+mn-lt"/>
              </a:rPr>
              <a:t>eem</a:t>
            </a:r>
            <a:r>
              <a:rPr lang="en-US" altLang="zh-CN" dirty="0">
                <a:latin typeface="+mn-lt"/>
              </a:rPr>
              <a:t>_</a:t>
            </a:r>
            <a:r>
              <a:rPr lang="en-US" altLang="zh-CN" dirty="0" err="1">
                <a:latin typeface="+mn-lt"/>
              </a:rPr>
              <a:t>intf_up.py</a:t>
            </a:r>
            <a:endParaRPr lang="en-CN" dirty="0">
              <a:latin typeface="+mn-lt"/>
            </a:endParaRPr>
          </a:p>
        </p:txBody>
      </p:sp>
      <p:sp>
        <p:nvSpPr>
          <p:cNvPr id="8" name="TextBox 7">
            <a:extLst>
              <a:ext uri="{FF2B5EF4-FFF2-40B4-BE49-F238E27FC236}">
                <a16:creationId xmlns:a16="http://schemas.microsoft.com/office/drawing/2014/main" id="{C7B86931-EF13-6345-8FCE-A8D5AAF66DEC}"/>
              </a:ext>
            </a:extLst>
          </p:cNvPr>
          <p:cNvSpPr txBox="1"/>
          <p:nvPr/>
        </p:nvSpPr>
        <p:spPr>
          <a:xfrm>
            <a:off x="6382656" y="233214"/>
            <a:ext cx="1165704" cy="369332"/>
          </a:xfrm>
          <a:prstGeom prst="rect">
            <a:avLst/>
          </a:prstGeom>
          <a:noFill/>
        </p:spPr>
        <p:txBody>
          <a:bodyPr wrap="none" rtlCol="0">
            <a:spAutoFit/>
          </a:bodyPr>
          <a:lstStyle/>
          <a:p>
            <a:r>
              <a:rPr lang="en-US" altLang="zh-CN" dirty="0" err="1">
                <a:latin typeface="+mn-lt"/>
              </a:rPr>
              <a:t>eem.conf</a:t>
            </a:r>
            <a:endParaRPr lang="en-CN" dirty="0">
              <a:latin typeface="+mn-lt"/>
            </a:endParaRPr>
          </a:p>
        </p:txBody>
      </p:sp>
    </p:spTree>
    <p:extLst>
      <p:ext uri="{BB962C8B-B14F-4D97-AF65-F5344CB8AC3E}">
        <p14:creationId xmlns:p14="http://schemas.microsoft.com/office/powerpoint/2010/main" val="221231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a:lnSpc>
                <a:spcPct val="100000"/>
              </a:lnSpc>
              <a:spcBef>
                <a:spcPts val="90"/>
              </a:spcBef>
            </a:pPr>
            <a:r>
              <a:rPr sz="800" spc="80" dirty="0">
                <a:solidFill>
                  <a:srgbClr val="A6A6A6"/>
                </a:solidFill>
                <a:latin typeface="Arial"/>
                <a:cs typeface="Arial"/>
              </a:rPr>
              <a:t>© </a:t>
            </a:r>
            <a:r>
              <a:rPr sz="800" spc="40" dirty="0">
                <a:solidFill>
                  <a:srgbClr val="A6A6A6"/>
                </a:solidFill>
                <a:latin typeface="Arial"/>
                <a:cs typeface="Arial"/>
              </a:rPr>
              <a:t>2017  </a:t>
            </a:r>
            <a:r>
              <a:rPr sz="800" spc="10" dirty="0">
                <a:solidFill>
                  <a:srgbClr val="A6A6A6"/>
                </a:solidFill>
                <a:latin typeface="Arial"/>
                <a:cs typeface="Arial"/>
              </a:rPr>
              <a:t>Cisco </a:t>
            </a:r>
            <a:r>
              <a:rPr sz="800" spc="15" dirty="0">
                <a:solidFill>
                  <a:srgbClr val="A6A6A6"/>
                </a:solidFill>
                <a:latin typeface="Arial"/>
                <a:cs typeface="Arial"/>
              </a:rPr>
              <a:t>and/or  </a:t>
            </a:r>
            <a:r>
              <a:rPr sz="800" spc="5" dirty="0">
                <a:solidFill>
                  <a:srgbClr val="A6A6A6"/>
                </a:solidFill>
                <a:latin typeface="Arial"/>
                <a:cs typeface="Arial"/>
              </a:rPr>
              <a:t>its affiliates.  </a:t>
            </a:r>
            <a:r>
              <a:rPr sz="800" dirty="0">
                <a:solidFill>
                  <a:srgbClr val="A6A6A6"/>
                </a:solidFill>
                <a:latin typeface="Arial"/>
                <a:cs typeface="Arial"/>
              </a:rPr>
              <a:t>All </a:t>
            </a:r>
            <a:r>
              <a:rPr sz="800" spc="5" dirty="0">
                <a:solidFill>
                  <a:srgbClr val="A6A6A6"/>
                </a:solidFill>
                <a:latin typeface="Arial"/>
                <a:cs typeface="Arial"/>
              </a:rPr>
              <a:t>rights  </a:t>
            </a:r>
            <a:r>
              <a:rPr sz="800" spc="10" dirty="0">
                <a:solidFill>
                  <a:srgbClr val="A6A6A6"/>
                </a:solidFill>
                <a:latin typeface="Arial"/>
                <a:cs typeface="Arial"/>
              </a:rPr>
              <a:t>reserved.    Cisco</a:t>
            </a:r>
            <a:r>
              <a:rPr sz="800" spc="100" dirty="0">
                <a:solidFill>
                  <a:srgbClr val="A6A6A6"/>
                </a:solidFill>
                <a:latin typeface="Arial"/>
                <a:cs typeface="Arial"/>
              </a:rPr>
              <a:t> </a:t>
            </a:r>
            <a:r>
              <a:rPr sz="800" spc="5" dirty="0">
                <a:solidFill>
                  <a:srgbClr val="A6A6A6"/>
                </a:solidFill>
                <a:latin typeface="Arial"/>
                <a:cs typeface="Arial"/>
              </a:rPr>
              <a:t>Confidential</a:t>
            </a:r>
            <a:endParaRPr sz="800">
              <a:latin typeface="Arial"/>
              <a:cs typeface="Arial"/>
            </a:endParaRPr>
          </a:p>
        </p:txBody>
      </p:sp>
      <p:sp>
        <p:nvSpPr>
          <p:cNvPr id="3" name="object 3"/>
          <p:cNvSpPr txBox="1"/>
          <p:nvPr/>
        </p:nvSpPr>
        <p:spPr>
          <a:xfrm>
            <a:off x="774903" y="1623441"/>
            <a:ext cx="5109210" cy="3397885"/>
          </a:xfrm>
          <a:prstGeom prst="rect">
            <a:avLst/>
          </a:prstGeom>
        </p:spPr>
        <p:txBody>
          <a:bodyPr vert="horz" wrap="square" lIns="0" tIns="30480" rIns="0" bIns="0" rtlCol="0">
            <a:spAutoFit/>
          </a:bodyPr>
          <a:lstStyle/>
          <a:p>
            <a:pPr marL="167640" marR="92710" indent="-154940">
              <a:lnSpc>
                <a:spcPct val="95100"/>
              </a:lnSpc>
              <a:spcBef>
                <a:spcPts val="240"/>
              </a:spcBef>
              <a:buSzPct val="58333"/>
              <a:buChar char="•"/>
              <a:tabLst>
                <a:tab pos="168275" algn="l"/>
              </a:tabLst>
            </a:pPr>
            <a:r>
              <a:rPr sz="2400" spc="-20" dirty="0">
                <a:solidFill>
                  <a:srgbClr val="282828"/>
                </a:solidFill>
                <a:latin typeface="Arial"/>
                <a:cs typeface="Arial"/>
              </a:rPr>
              <a:t>Many </a:t>
            </a:r>
            <a:r>
              <a:rPr sz="2400" spc="25" dirty="0">
                <a:solidFill>
                  <a:srgbClr val="282828"/>
                </a:solidFill>
                <a:latin typeface="Arial"/>
                <a:cs typeface="Arial"/>
              </a:rPr>
              <a:t>network </a:t>
            </a:r>
            <a:r>
              <a:rPr sz="2400" spc="5" dirty="0">
                <a:solidFill>
                  <a:srgbClr val="282828"/>
                </a:solidFill>
                <a:latin typeface="Arial"/>
                <a:cs typeface="Arial"/>
              </a:rPr>
              <a:t>modules </a:t>
            </a:r>
            <a:r>
              <a:rPr sz="2400" spc="-10" dirty="0">
                <a:solidFill>
                  <a:srgbClr val="282828"/>
                </a:solidFill>
                <a:latin typeface="Arial"/>
                <a:cs typeface="Arial"/>
              </a:rPr>
              <a:t>and </a:t>
            </a:r>
            <a:r>
              <a:rPr sz="2400" spc="10" dirty="0">
                <a:solidFill>
                  <a:srgbClr val="282828"/>
                </a:solidFill>
                <a:latin typeface="Arial"/>
                <a:cs typeface="Arial"/>
              </a:rPr>
              <a:t>require  </a:t>
            </a:r>
            <a:r>
              <a:rPr sz="2400" dirty="0">
                <a:solidFill>
                  <a:srgbClr val="282828"/>
                </a:solidFill>
                <a:latin typeface="Arial"/>
                <a:cs typeface="Arial"/>
              </a:rPr>
              <a:t>username </a:t>
            </a:r>
            <a:r>
              <a:rPr sz="2400" spc="-10" dirty="0">
                <a:solidFill>
                  <a:srgbClr val="282828"/>
                </a:solidFill>
                <a:latin typeface="Arial"/>
                <a:cs typeface="Arial"/>
              </a:rPr>
              <a:t>and </a:t>
            </a:r>
            <a:r>
              <a:rPr sz="2400" spc="25" dirty="0">
                <a:solidFill>
                  <a:srgbClr val="282828"/>
                </a:solidFill>
                <a:latin typeface="Arial"/>
                <a:cs typeface="Arial"/>
              </a:rPr>
              <a:t>password </a:t>
            </a:r>
            <a:r>
              <a:rPr sz="2400" spc="30" dirty="0">
                <a:solidFill>
                  <a:srgbClr val="282828"/>
                </a:solidFill>
                <a:latin typeface="Arial"/>
                <a:cs typeface="Arial"/>
              </a:rPr>
              <a:t>for  </a:t>
            </a:r>
            <a:r>
              <a:rPr sz="2400" spc="0" dirty="0">
                <a:solidFill>
                  <a:srgbClr val="282828"/>
                </a:solidFill>
                <a:latin typeface="Arial"/>
                <a:cs typeface="Arial"/>
              </a:rPr>
              <a:t>authentication</a:t>
            </a:r>
            <a:endParaRPr sz="2400">
              <a:latin typeface="Arial"/>
              <a:cs typeface="Arial"/>
            </a:endParaRPr>
          </a:p>
          <a:p>
            <a:pPr marL="167640" marR="210185" indent="-154940">
              <a:lnSpc>
                <a:spcPts val="2740"/>
              </a:lnSpc>
              <a:spcBef>
                <a:spcPts val="1575"/>
              </a:spcBef>
              <a:buSzPct val="58333"/>
              <a:buChar char="•"/>
              <a:tabLst>
                <a:tab pos="168275" algn="l"/>
              </a:tabLst>
            </a:pPr>
            <a:r>
              <a:rPr sz="2400" spc="-10" dirty="0">
                <a:solidFill>
                  <a:srgbClr val="282828"/>
                </a:solidFill>
                <a:latin typeface="Arial"/>
                <a:cs typeface="Arial"/>
              </a:rPr>
              <a:t>Use </a:t>
            </a:r>
            <a:r>
              <a:rPr sz="2400" spc="-5" dirty="0">
                <a:solidFill>
                  <a:srgbClr val="282828"/>
                </a:solidFill>
                <a:latin typeface="Arial"/>
                <a:cs typeface="Arial"/>
              </a:rPr>
              <a:t>Ansible </a:t>
            </a:r>
            <a:r>
              <a:rPr sz="2400" spc="5" dirty="0">
                <a:solidFill>
                  <a:srgbClr val="282828"/>
                </a:solidFill>
                <a:latin typeface="Arial"/>
                <a:cs typeface="Arial"/>
              </a:rPr>
              <a:t>environment </a:t>
            </a:r>
            <a:r>
              <a:rPr sz="2400" spc="-15" dirty="0">
                <a:solidFill>
                  <a:srgbClr val="282828"/>
                </a:solidFill>
                <a:latin typeface="Arial"/>
                <a:cs typeface="Arial"/>
              </a:rPr>
              <a:t>variables  </a:t>
            </a:r>
            <a:r>
              <a:rPr sz="2400" spc="40" dirty="0">
                <a:solidFill>
                  <a:srgbClr val="282828"/>
                </a:solidFill>
                <a:latin typeface="Arial"/>
                <a:cs typeface="Arial"/>
              </a:rPr>
              <a:t>to</a:t>
            </a:r>
            <a:r>
              <a:rPr sz="2400" spc="-25" dirty="0">
                <a:solidFill>
                  <a:srgbClr val="282828"/>
                </a:solidFill>
                <a:latin typeface="Arial"/>
                <a:cs typeface="Arial"/>
              </a:rPr>
              <a:t> </a:t>
            </a:r>
            <a:r>
              <a:rPr sz="2400" spc="25" dirty="0">
                <a:solidFill>
                  <a:srgbClr val="282828"/>
                </a:solidFill>
                <a:latin typeface="Arial"/>
                <a:cs typeface="Arial"/>
              </a:rPr>
              <a:t>set</a:t>
            </a:r>
            <a:endParaRPr sz="2400">
              <a:latin typeface="Arial"/>
              <a:cs typeface="Arial"/>
            </a:endParaRPr>
          </a:p>
          <a:p>
            <a:pPr marL="320040" lvl="1" indent="-152400">
              <a:lnSpc>
                <a:spcPts val="1875"/>
              </a:lnSpc>
              <a:spcBef>
                <a:spcPts val="250"/>
              </a:spcBef>
              <a:buSzPct val="59375"/>
              <a:buFont typeface="Arial"/>
              <a:buChar char="•"/>
              <a:tabLst>
                <a:tab pos="320675" algn="l"/>
              </a:tabLst>
            </a:pPr>
            <a:r>
              <a:rPr sz="1600" spc="-5" dirty="0">
                <a:solidFill>
                  <a:srgbClr val="282828"/>
                </a:solidFill>
                <a:latin typeface="Courier New"/>
                <a:cs typeface="Courier New"/>
              </a:rPr>
              <a:t>export</a:t>
            </a:r>
            <a:r>
              <a:rPr sz="1600" spc="30" dirty="0">
                <a:solidFill>
                  <a:srgbClr val="282828"/>
                </a:solidFill>
                <a:latin typeface="Courier New"/>
                <a:cs typeface="Courier New"/>
              </a:rPr>
              <a:t> </a:t>
            </a:r>
            <a:r>
              <a:rPr sz="1600" spc="-5" dirty="0">
                <a:solidFill>
                  <a:srgbClr val="282828"/>
                </a:solidFill>
                <a:latin typeface="Courier New"/>
                <a:cs typeface="Courier New"/>
              </a:rPr>
              <a:t>ANSIBLE_NET_USERNAME=</a:t>
            </a:r>
            <a:r>
              <a:rPr sz="1600" b="1" spc="-5" dirty="0">
                <a:solidFill>
                  <a:srgbClr val="282828"/>
                </a:solidFill>
                <a:latin typeface="Courier New"/>
                <a:cs typeface="Courier New"/>
              </a:rPr>
              <a:t>cisco</a:t>
            </a:r>
            <a:endParaRPr sz="1600">
              <a:latin typeface="Courier New"/>
              <a:cs typeface="Courier New"/>
            </a:endParaRPr>
          </a:p>
          <a:p>
            <a:pPr marL="320040">
              <a:lnSpc>
                <a:spcPts val="1875"/>
              </a:lnSpc>
            </a:pPr>
            <a:r>
              <a:rPr sz="1600" spc="-5" dirty="0">
                <a:solidFill>
                  <a:srgbClr val="282828"/>
                </a:solidFill>
                <a:latin typeface="Courier New"/>
                <a:cs typeface="Courier New"/>
              </a:rPr>
              <a:t>export</a:t>
            </a:r>
            <a:r>
              <a:rPr sz="1600" spc="-40" dirty="0">
                <a:solidFill>
                  <a:srgbClr val="282828"/>
                </a:solidFill>
                <a:latin typeface="Courier New"/>
                <a:cs typeface="Courier New"/>
              </a:rPr>
              <a:t> </a:t>
            </a:r>
            <a:r>
              <a:rPr sz="1600" dirty="0">
                <a:solidFill>
                  <a:srgbClr val="282828"/>
                </a:solidFill>
                <a:latin typeface="Courier New"/>
                <a:cs typeface="Courier New"/>
              </a:rPr>
              <a:t>ANSIBLE_NET_PASSWORD=</a:t>
            </a:r>
            <a:r>
              <a:rPr sz="1600" b="1" dirty="0">
                <a:solidFill>
                  <a:srgbClr val="282828"/>
                </a:solidFill>
                <a:latin typeface="Courier New"/>
                <a:cs typeface="Courier New"/>
              </a:rPr>
              <a:t>cisco</a:t>
            </a:r>
            <a:endParaRPr sz="1600">
              <a:latin typeface="Courier New"/>
              <a:cs typeface="Courier New"/>
            </a:endParaRPr>
          </a:p>
          <a:p>
            <a:pPr marL="167640" indent="-154940">
              <a:lnSpc>
                <a:spcPts val="2810"/>
              </a:lnSpc>
              <a:spcBef>
                <a:spcPts val="1525"/>
              </a:spcBef>
              <a:buSzPct val="60416"/>
              <a:buChar char="•"/>
              <a:tabLst>
                <a:tab pos="168275" algn="l"/>
              </a:tabLst>
            </a:pPr>
            <a:r>
              <a:rPr sz="2400" spc="10" dirty="0">
                <a:solidFill>
                  <a:srgbClr val="282828"/>
                </a:solidFill>
                <a:latin typeface="Arial"/>
                <a:cs typeface="Arial"/>
              </a:rPr>
              <a:t>Suggest creating </a:t>
            </a:r>
            <a:r>
              <a:rPr sz="2400" spc="-10" dirty="0">
                <a:solidFill>
                  <a:srgbClr val="282828"/>
                </a:solidFill>
                <a:latin typeface="Arial"/>
                <a:cs typeface="Arial"/>
              </a:rPr>
              <a:t>and </a:t>
            </a:r>
            <a:r>
              <a:rPr sz="2400" spc="10" dirty="0">
                <a:solidFill>
                  <a:srgbClr val="282828"/>
                </a:solidFill>
                <a:latin typeface="Arial"/>
                <a:cs typeface="Arial"/>
              </a:rPr>
              <a:t>sourcing </a:t>
            </a:r>
            <a:r>
              <a:rPr sz="2400" spc="-65" dirty="0">
                <a:solidFill>
                  <a:srgbClr val="282828"/>
                </a:solidFill>
                <a:latin typeface="Arial"/>
                <a:cs typeface="Arial"/>
              </a:rPr>
              <a:t>a</a:t>
            </a:r>
            <a:r>
              <a:rPr sz="2400" spc="204" dirty="0">
                <a:solidFill>
                  <a:srgbClr val="282828"/>
                </a:solidFill>
                <a:latin typeface="Arial"/>
                <a:cs typeface="Arial"/>
              </a:rPr>
              <a:t> </a:t>
            </a:r>
            <a:r>
              <a:rPr sz="2400" spc="0" dirty="0">
                <a:solidFill>
                  <a:srgbClr val="282828"/>
                </a:solidFill>
                <a:latin typeface="Arial"/>
                <a:cs typeface="Arial"/>
              </a:rPr>
              <a:t>file</a:t>
            </a:r>
            <a:endParaRPr sz="2400">
              <a:latin typeface="Arial"/>
              <a:cs typeface="Arial"/>
            </a:endParaRPr>
          </a:p>
          <a:p>
            <a:pPr marL="167640">
              <a:lnSpc>
                <a:spcPts val="2810"/>
              </a:lnSpc>
            </a:pPr>
            <a:r>
              <a:rPr sz="2400" spc="40" dirty="0">
                <a:solidFill>
                  <a:srgbClr val="282828"/>
                </a:solidFill>
                <a:latin typeface="Arial"/>
                <a:cs typeface="Arial"/>
              </a:rPr>
              <a:t>to</a:t>
            </a:r>
            <a:r>
              <a:rPr sz="2400" spc="5" dirty="0">
                <a:solidFill>
                  <a:srgbClr val="282828"/>
                </a:solidFill>
                <a:latin typeface="Arial"/>
                <a:cs typeface="Arial"/>
              </a:rPr>
              <a:t> </a:t>
            </a:r>
            <a:r>
              <a:rPr sz="2400" dirty="0">
                <a:solidFill>
                  <a:srgbClr val="282828"/>
                </a:solidFill>
                <a:latin typeface="Arial"/>
                <a:cs typeface="Arial"/>
              </a:rPr>
              <a:t>simplify</a:t>
            </a:r>
            <a:endParaRPr sz="2400">
              <a:latin typeface="Arial"/>
              <a:cs typeface="Arial"/>
            </a:endParaRPr>
          </a:p>
        </p:txBody>
      </p:sp>
      <p:sp>
        <p:nvSpPr>
          <p:cNvPr id="4" name="object 4"/>
          <p:cNvSpPr txBox="1"/>
          <p:nvPr/>
        </p:nvSpPr>
        <p:spPr>
          <a:xfrm>
            <a:off x="6339840" y="1609344"/>
            <a:ext cx="5181600" cy="4109085"/>
          </a:xfrm>
          <a:prstGeom prst="rect">
            <a:avLst/>
          </a:prstGeom>
          <a:solidFill>
            <a:srgbClr val="282828"/>
          </a:solidFill>
        </p:spPr>
        <p:txBody>
          <a:bodyPr vert="horz" wrap="square" lIns="0" tIns="16510" rIns="0" bIns="0" rtlCol="0">
            <a:spAutoFit/>
          </a:bodyPr>
          <a:lstStyle/>
          <a:p>
            <a:pPr marL="78740">
              <a:lnSpc>
                <a:spcPts val="1630"/>
              </a:lnSpc>
              <a:spcBef>
                <a:spcPts val="130"/>
              </a:spcBef>
            </a:pPr>
            <a:r>
              <a:rPr sz="1400" spc="-5" dirty="0">
                <a:solidFill>
                  <a:srgbClr val="FFFFFF"/>
                </a:solidFill>
                <a:latin typeface="Courier New"/>
                <a:cs typeface="Courier New"/>
              </a:rPr>
              <a:t>DevNet$ cat</a:t>
            </a:r>
            <a:r>
              <a:rPr sz="1400" spc="-50" dirty="0">
                <a:solidFill>
                  <a:srgbClr val="FFFFFF"/>
                </a:solidFill>
                <a:latin typeface="Courier New"/>
                <a:cs typeface="Courier New"/>
              </a:rPr>
              <a:t> </a:t>
            </a:r>
            <a:r>
              <a:rPr sz="1400" spc="-10" dirty="0">
                <a:solidFill>
                  <a:srgbClr val="FFFFFF"/>
                </a:solidFill>
                <a:latin typeface="Courier New"/>
                <a:cs typeface="Courier New"/>
              </a:rPr>
              <a:t>.ansible_env</a:t>
            </a:r>
            <a:endParaRPr sz="1400">
              <a:latin typeface="Courier New"/>
              <a:cs typeface="Courier New"/>
            </a:endParaRPr>
          </a:p>
          <a:p>
            <a:pPr marL="78740">
              <a:lnSpc>
                <a:spcPts val="1595"/>
              </a:lnSpc>
            </a:pPr>
            <a:r>
              <a:rPr sz="1400" spc="-5" dirty="0">
                <a:solidFill>
                  <a:srgbClr val="FFFFFF"/>
                </a:solidFill>
                <a:latin typeface="Courier New"/>
                <a:cs typeface="Courier New"/>
              </a:rPr>
              <a:t># Setup </a:t>
            </a:r>
            <a:r>
              <a:rPr sz="1400" spc="-10" dirty="0">
                <a:solidFill>
                  <a:srgbClr val="FFFFFF"/>
                </a:solidFill>
                <a:latin typeface="Courier New"/>
                <a:cs typeface="Courier New"/>
              </a:rPr>
              <a:t>environment </a:t>
            </a:r>
            <a:r>
              <a:rPr sz="1400" spc="-5" dirty="0">
                <a:solidFill>
                  <a:srgbClr val="FFFFFF"/>
                </a:solidFill>
                <a:latin typeface="Courier New"/>
                <a:cs typeface="Courier New"/>
              </a:rPr>
              <a:t>for </a:t>
            </a:r>
            <a:r>
              <a:rPr sz="1400" spc="-10" dirty="0">
                <a:solidFill>
                  <a:srgbClr val="FFFFFF"/>
                </a:solidFill>
                <a:latin typeface="Courier New"/>
                <a:cs typeface="Courier New"/>
              </a:rPr>
              <a:t>ansible</a:t>
            </a:r>
            <a:r>
              <a:rPr sz="1400" spc="15" dirty="0">
                <a:solidFill>
                  <a:srgbClr val="FFFFFF"/>
                </a:solidFill>
                <a:latin typeface="Courier New"/>
                <a:cs typeface="Courier New"/>
              </a:rPr>
              <a:t> </a:t>
            </a:r>
            <a:r>
              <a:rPr sz="1400" spc="-5" dirty="0">
                <a:solidFill>
                  <a:srgbClr val="FFFFFF"/>
                </a:solidFill>
                <a:latin typeface="Courier New"/>
                <a:cs typeface="Courier New"/>
              </a:rPr>
              <a:t>playbooks</a:t>
            </a:r>
            <a:endParaRPr sz="1400">
              <a:latin typeface="Courier New"/>
              <a:cs typeface="Courier New"/>
            </a:endParaRPr>
          </a:p>
          <a:p>
            <a:pPr marL="78740">
              <a:lnSpc>
                <a:spcPts val="1595"/>
              </a:lnSpc>
            </a:pPr>
            <a:r>
              <a:rPr sz="1400" spc="-5" dirty="0">
                <a:solidFill>
                  <a:srgbClr val="FFFFFF"/>
                </a:solidFill>
                <a:latin typeface="Courier New"/>
                <a:cs typeface="Courier New"/>
              </a:rPr>
              <a:t># Credentials for DevNet Open NX-OS</a:t>
            </a:r>
            <a:r>
              <a:rPr sz="1400" spc="-114" dirty="0">
                <a:solidFill>
                  <a:srgbClr val="FFFFFF"/>
                </a:solidFill>
                <a:latin typeface="Courier New"/>
                <a:cs typeface="Courier New"/>
              </a:rPr>
              <a:t> </a:t>
            </a:r>
            <a:r>
              <a:rPr sz="1400" spc="-5" dirty="0">
                <a:solidFill>
                  <a:srgbClr val="FFFFFF"/>
                </a:solidFill>
                <a:latin typeface="Courier New"/>
                <a:cs typeface="Courier New"/>
              </a:rPr>
              <a:t>Sandbox</a:t>
            </a:r>
            <a:endParaRPr sz="1400">
              <a:latin typeface="Courier New"/>
              <a:cs typeface="Courier New"/>
            </a:endParaRPr>
          </a:p>
          <a:p>
            <a:pPr marL="78740">
              <a:lnSpc>
                <a:spcPts val="1630"/>
              </a:lnSpc>
              <a:tabLst>
                <a:tab pos="612140" algn="l"/>
              </a:tabLst>
            </a:pPr>
            <a:r>
              <a:rPr sz="1400" spc="-5" dirty="0">
                <a:solidFill>
                  <a:srgbClr val="FFFFFF"/>
                </a:solidFill>
                <a:latin typeface="Courier New"/>
                <a:cs typeface="Courier New"/>
              </a:rPr>
              <a:t>#	</a:t>
            </a:r>
            <a:r>
              <a:rPr sz="1400" spc="-10" dirty="0">
                <a:solidFill>
                  <a:srgbClr val="FFFFFF"/>
                </a:solidFill>
                <a:latin typeface="Courier New"/>
                <a:cs typeface="Courier New"/>
              </a:rPr>
              <a:t>https://devnetsandbox.cisco.com/</a:t>
            </a:r>
            <a:endParaRPr sz="1400">
              <a:latin typeface="Courier New"/>
              <a:cs typeface="Courier New"/>
            </a:endParaRPr>
          </a:p>
          <a:p>
            <a:pPr>
              <a:lnSpc>
                <a:spcPct val="100000"/>
              </a:lnSpc>
              <a:spcBef>
                <a:spcPts val="20"/>
              </a:spcBef>
            </a:pPr>
            <a:endParaRPr sz="1300">
              <a:latin typeface="Times New Roman"/>
              <a:cs typeface="Times New Roman"/>
            </a:endParaRPr>
          </a:p>
          <a:p>
            <a:pPr marL="78740">
              <a:lnSpc>
                <a:spcPct val="100000"/>
              </a:lnSpc>
            </a:pPr>
            <a:r>
              <a:rPr sz="1400" spc="-5" dirty="0">
                <a:solidFill>
                  <a:srgbClr val="FFFFFF"/>
                </a:solidFill>
                <a:latin typeface="Courier New"/>
                <a:cs typeface="Courier New"/>
              </a:rPr>
              <a:t># usage: </a:t>
            </a:r>
            <a:r>
              <a:rPr sz="1400" spc="-10" dirty="0">
                <a:solidFill>
                  <a:srgbClr val="FFFFFF"/>
                </a:solidFill>
                <a:latin typeface="Courier New"/>
                <a:cs typeface="Courier New"/>
              </a:rPr>
              <a:t>source</a:t>
            </a:r>
            <a:r>
              <a:rPr sz="1400" spc="-35" dirty="0">
                <a:solidFill>
                  <a:srgbClr val="FFFFFF"/>
                </a:solidFill>
                <a:latin typeface="Courier New"/>
                <a:cs typeface="Courier New"/>
              </a:rPr>
              <a:t> </a:t>
            </a:r>
            <a:r>
              <a:rPr sz="1400" spc="-10" dirty="0">
                <a:solidFill>
                  <a:srgbClr val="FFFFFF"/>
                </a:solidFill>
                <a:latin typeface="Courier New"/>
                <a:cs typeface="Courier New"/>
              </a:rPr>
              <a:t>.ansible_env</a:t>
            </a:r>
            <a:endParaRPr sz="1400">
              <a:latin typeface="Courier New"/>
              <a:cs typeface="Courier New"/>
            </a:endParaRPr>
          </a:p>
          <a:p>
            <a:pPr>
              <a:lnSpc>
                <a:spcPct val="100000"/>
              </a:lnSpc>
              <a:spcBef>
                <a:spcPts val="15"/>
              </a:spcBef>
            </a:pPr>
            <a:endParaRPr sz="1400">
              <a:latin typeface="Times New Roman"/>
              <a:cs typeface="Times New Roman"/>
            </a:endParaRPr>
          </a:p>
          <a:p>
            <a:pPr marL="78740" marR="412750">
              <a:lnSpc>
                <a:spcPts val="1610"/>
              </a:lnSpc>
            </a:pPr>
            <a:r>
              <a:rPr sz="1400" spc="-5" dirty="0">
                <a:solidFill>
                  <a:srgbClr val="FFFFFF"/>
                </a:solidFill>
                <a:latin typeface="Courier New"/>
                <a:cs typeface="Courier New"/>
              </a:rPr>
              <a:t># </a:t>
            </a:r>
            <a:r>
              <a:rPr sz="1400" spc="-10" dirty="0">
                <a:solidFill>
                  <a:srgbClr val="FFFFFF"/>
                </a:solidFill>
                <a:latin typeface="Courier New"/>
                <a:cs typeface="Courier New"/>
              </a:rPr>
              <a:t>Authentication </a:t>
            </a:r>
            <a:r>
              <a:rPr sz="1400" spc="-5" dirty="0">
                <a:solidFill>
                  <a:srgbClr val="FFFFFF"/>
                </a:solidFill>
                <a:latin typeface="Courier New"/>
                <a:cs typeface="Courier New"/>
              </a:rPr>
              <a:t>for </a:t>
            </a:r>
            <a:r>
              <a:rPr sz="1400" spc="-10" dirty="0">
                <a:solidFill>
                  <a:srgbClr val="FFFFFF"/>
                </a:solidFill>
                <a:latin typeface="Courier New"/>
                <a:cs typeface="Courier New"/>
              </a:rPr>
              <a:t>ansible </a:t>
            </a:r>
            <a:r>
              <a:rPr sz="1400" spc="-5" dirty="0">
                <a:solidFill>
                  <a:srgbClr val="FFFFFF"/>
                </a:solidFill>
                <a:latin typeface="Courier New"/>
                <a:cs typeface="Courier New"/>
              </a:rPr>
              <a:t>network </a:t>
            </a:r>
            <a:r>
              <a:rPr sz="1400" spc="-10" dirty="0">
                <a:solidFill>
                  <a:srgbClr val="FFFFFF"/>
                </a:solidFill>
                <a:latin typeface="Courier New"/>
                <a:cs typeface="Courier New"/>
              </a:rPr>
              <a:t>modules  </a:t>
            </a:r>
            <a:r>
              <a:rPr sz="1400" spc="-5" dirty="0">
                <a:solidFill>
                  <a:srgbClr val="FFFFFF"/>
                </a:solidFill>
                <a:latin typeface="Courier New"/>
                <a:cs typeface="Courier New"/>
              </a:rPr>
              <a:t>export</a:t>
            </a:r>
            <a:r>
              <a:rPr sz="1400" spc="-25" dirty="0">
                <a:solidFill>
                  <a:srgbClr val="FFFFFF"/>
                </a:solidFill>
                <a:latin typeface="Courier New"/>
                <a:cs typeface="Courier New"/>
              </a:rPr>
              <a:t> </a:t>
            </a:r>
            <a:r>
              <a:rPr sz="1400" spc="-10" dirty="0">
                <a:solidFill>
                  <a:srgbClr val="FFFFFF"/>
                </a:solidFill>
                <a:latin typeface="Courier New"/>
                <a:cs typeface="Courier New"/>
              </a:rPr>
              <a:t>ANSIBLE_NET_USERNAME=cisco</a:t>
            </a:r>
            <a:endParaRPr sz="1400">
              <a:latin typeface="Courier New"/>
              <a:cs typeface="Courier New"/>
            </a:endParaRPr>
          </a:p>
          <a:p>
            <a:pPr marL="78740">
              <a:lnSpc>
                <a:spcPts val="1540"/>
              </a:lnSpc>
            </a:pPr>
            <a:r>
              <a:rPr sz="1400" spc="-5" dirty="0">
                <a:solidFill>
                  <a:srgbClr val="FFFFFF"/>
                </a:solidFill>
                <a:latin typeface="Courier New"/>
                <a:cs typeface="Courier New"/>
              </a:rPr>
              <a:t>export</a:t>
            </a:r>
            <a:r>
              <a:rPr sz="1400" spc="-25" dirty="0">
                <a:solidFill>
                  <a:srgbClr val="FFFFFF"/>
                </a:solidFill>
                <a:latin typeface="Courier New"/>
                <a:cs typeface="Courier New"/>
              </a:rPr>
              <a:t> </a:t>
            </a:r>
            <a:r>
              <a:rPr sz="1400" spc="-10" dirty="0">
                <a:solidFill>
                  <a:srgbClr val="FFFFFF"/>
                </a:solidFill>
                <a:latin typeface="Courier New"/>
                <a:cs typeface="Courier New"/>
              </a:rPr>
              <a:t>ANSIBLE_NET_PASSWORD=cisco</a:t>
            </a:r>
            <a:endParaRPr sz="1400">
              <a:latin typeface="Courier New"/>
              <a:cs typeface="Courier New"/>
            </a:endParaRPr>
          </a:p>
          <a:p>
            <a:pPr>
              <a:lnSpc>
                <a:spcPct val="100000"/>
              </a:lnSpc>
              <a:spcBef>
                <a:spcPts val="15"/>
              </a:spcBef>
            </a:pPr>
            <a:endParaRPr sz="1300">
              <a:latin typeface="Times New Roman"/>
              <a:cs typeface="Times New Roman"/>
            </a:endParaRPr>
          </a:p>
          <a:p>
            <a:pPr marL="78740">
              <a:lnSpc>
                <a:spcPct val="100000"/>
              </a:lnSpc>
              <a:spcBef>
                <a:spcPts val="5"/>
              </a:spcBef>
            </a:pPr>
            <a:r>
              <a:rPr sz="1400" spc="-5" dirty="0">
                <a:solidFill>
                  <a:srgbClr val="FFFFFF"/>
                </a:solidFill>
                <a:latin typeface="Courier New"/>
                <a:cs typeface="Courier New"/>
              </a:rPr>
              <a:t>DevNet$ source</a:t>
            </a:r>
            <a:r>
              <a:rPr sz="1400" spc="-70" dirty="0">
                <a:solidFill>
                  <a:srgbClr val="FFFFFF"/>
                </a:solidFill>
                <a:latin typeface="Courier New"/>
                <a:cs typeface="Courier New"/>
              </a:rPr>
              <a:t> </a:t>
            </a:r>
            <a:r>
              <a:rPr sz="1400" spc="-10" dirty="0">
                <a:solidFill>
                  <a:srgbClr val="FFFFFF"/>
                </a:solidFill>
                <a:latin typeface="Courier New"/>
                <a:cs typeface="Courier New"/>
              </a:rPr>
              <a:t>.ansible_env</a:t>
            </a:r>
            <a:endParaRPr sz="1400">
              <a:latin typeface="Courier New"/>
              <a:cs typeface="Courier New"/>
            </a:endParaRPr>
          </a:p>
          <a:p>
            <a:pPr>
              <a:lnSpc>
                <a:spcPct val="100000"/>
              </a:lnSpc>
              <a:spcBef>
                <a:spcPts val="15"/>
              </a:spcBef>
            </a:pPr>
            <a:endParaRPr sz="1300">
              <a:latin typeface="Times New Roman"/>
              <a:cs typeface="Times New Roman"/>
            </a:endParaRPr>
          </a:p>
          <a:p>
            <a:pPr marL="78740">
              <a:lnSpc>
                <a:spcPts val="1645"/>
              </a:lnSpc>
            </a:pPr>
            <a:r>
              <a:rPr sz="1400" spc="-5" dirty="0">
                <a:solidFill>
                  <a:srgbClr val="FFFFFF"/>
                </a:solidFill>
                <a:latin typeface="Courier New"/>
                <a:cs typeface="Courier New"/>
              </a:rPr>
              <a:t>DevNet$ echo</a:t>
            </a:r>
            <a:r>
              <a:rPr sz="1400" spc="-15" dirty="0">
                <a:solidFill>
                  <a:srgbClr val="FFFFFF"/>
                </a:solidFill>
                <a:latin typeface="Courier New"/>
                <a:cs typeface="Courier New"/>
              </a:rPr>
              <a:t> </a:t>
            </a:r>
            <a:r>
              <a:rPr sz="1400" spc="-10" dirty="0">
                <a:solidFill>
                  <a:srgbClr val="FFFFFF"/>
                </a:solidFill>
                <a:latin typeface="Courier New"/>
                <a:cs typeface="Courier New"/>
              </a:rPr>
              <a:t>$ANSIBLE_NET_USERNAME</a:t>
            </a:r>
            <a:endParaRPr sz="1400">
              <a:latin typeface="Courier New"/>
              <a:cs typeface="Courier New"/>
            </a:endParaRPr>
          </a:p>
          <a:p>
            <a:pPr marL="78740">
              <a:lnSpc>
                <a:spcPts val="1645"/>
              </a:lnSpc>
            </a:pPr>
            <a:r>
              <a:rPr sz="1400" spc="-5" dirty="0">
                <a:solidFill>
                  <a:srgbClr val="FFFFFF"/>
                </a:solidFill>
                <a:latin typeface="Courier New"/>
                <a:cs typeface="Courier New"/>
              </a:rPr>
              <a:t>cisco</a:t>
            </a:r>
            <a:endParaRPr sz="1400">
              <a:latin typeface="Courier New"/>
              <a:cs typeface="Courier New"/>
            </a:endParaRPr>
          </a:p>
        </p:txBody>
      </p:sp>
      <p:sp>
        <p:nvSpPr>
          <p:cNvPr id="5" name="object 5"/>
          <p:cNvSpPr txBox="1">
            <a:spLocks noGrp="1"/>
          </p:cNvSpPr>
          <p:nvPr>
            <p:ph type="title"/>
          </p:nvPr>
        </p:nvSpPr>
        <p:spPr>
          <a:xfrm>
            <a:off x="662736" y="587501"/>
            <a:ext cx="4987925" cy="596265"/>
          </a:xfrm>
          <a:prstGeom prst="rect">
            <a:avLst/>
          </a:prstGeom>
        </p:spPr>
        <p:txBody>
          <a:bodyPr vert="horz" wrap="square" lIns="0" tIns="12065" rIns="0" bIns="0" rtlCol="0">
            <a:spAutoFit/>
          </a:bodyPr>
          <a:lstStyle/>
          <a:p>
            <a:pPr marL="12700">
              <a:lnSpc>
                <a:spcPct val="100000"/>
              </a:lnSpc>
              <a:spcBef>
                <a:spcPts val="95"/>
              </a:spcBef>
            </a:pPr>
            <a:r>
              <a:rPr spc="35" dirty="0"/>
              <a:t>Network</a:t>
            </a:r>
            <a:r>
              <a:rPr spc="50" dirty="0"/>
              <a:t> </a:t>
            </a:r>
            <a:r>
              <a:rPr spc="0" dirty="0"/>
              <a:t>Authentication</a:t>
            </a:r>
          </a:p>
        </p:txBody>
      </p:sp>
      <p:sp>
        <p:nvSpPr>
          <p:cNvPr id="6" name="object 6"/>
          <p:cNvSpPr txBox="1"/>
          <p:nvPr/>
        </p:nvSpPr>
        <p:spPr>
          <a:xfrm>
            <a:off x="7149465" y="6586219"/>
            <a:ext cx="4485640" cy="238125"/>
          </a:xfrm>
          <a:prstGeom prst="rect">
            <a:avLst/>
          </a:prstGeom>
        </p:spPr>
        <p:txBody>
          <a:bodyPr vert="horz" wrap="square" lIns="0" tIns="11430" rIns="0" bIns="0" rtlCol="0">
            <a:spAutoFit/>
          </a:bodyPr>
          <a:lstStyle/>
          <a:p>
            <a:pPr marL="12700">
              <a:lnSpc>
                <a:spcPct val="100000"/>
              </a:lnSpc>
              <a:spcBef>
                <a:spcPts val="90"/>
              </a:spcBef>
            </a:pPr>
            <a:r>
              <a:rPr sz="1400" spc="10" dirty="0">
                <a:solidFill>
                  <a:srgbClr val="00BBEB"/>
                </a:solidFill>
                <a:latin typeface="Arial"/>
                <a:cs typeface="Arial"/>
              </a:rPr>
              <a:t>netprog_basics/netdevops/ansible_part_2/.ansible_env</a:t>
            </a:r>
            <a:endParaRPr sz="1400">
              <a:latin typeface="Arial"/>
              <a:cs typeface="Arial"/>
            </a:endParaRPr>
          </a:p>
        </p:txBody>
      </p:sp>
    </p:spTree>
    <p:extLst>
      <p:ext uri="{BB962C8B-B14F-4D97-AF65-F5344CB8AC3E}">
        <p14:creationId xmlns:p14="http://schemas.microsoft.com/office/powerpoint/2010/main" val="614885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861234C-E437-6B47-B688-3FBF0B9DAA46}"/>
              </a:ext>
            </a:extLst>
          </p:cNvPr>
          <p:cNvSpPr>
            <a:spLocks noGrp="1"/>
          </p:cNvSpPr>
          <p:nvPr>
            <p:ph type="title"/>
          </p:nvPr>
        </p:nvSpPr>
        <p:spPr/>
        <p:txBody>
          <a:bodyPr/>
          <a:lstStyle/>
          <a:p>
            <a:r>
              <a:rPr lang="en-US" dirty="0" err="1"/>
              <a:t>ios_facts</a:t>
            </a:r>
            <a:endParaRPr lang="en-US" dirty="0"/>
          </a:p>
        </p:txBody>
      </p:sp>
      <p:sp>
        <p:nvSpPr>
          <p:cNvPr id="7" name="Text Placeholder 1">
            <a:extLst>
              <a:ext uri="{FF2B5EF4-FFF2-40B4-BE49-F238E27FC236}">
                <a16:creationId xmlns:a16="http://schemas.microsoft.com/office/drawing/2014/main" id="{2A03B59D-7BB3-554C-814D-F7EF1B814B5E}"/>
              </a:ext>
            </a:extLst>
          </p:cNvPr>
          <p:cNvSpPr txBox="1">
            <a:spLocks/>
          </p:cNvSpPr>
          <p:nvPr/>
        </p:nvSpPr>
        <p:spPr>
          <a:xfrm>
            <a:off x="711199" y="1607864"/>
            <a:ext cx="3997435" cy="4110792"/>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Used for gathering information about the platform</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Sets standard variables for use in subsequent tasks, such as </a:t>
            </a:r>
            <a:r>
              <a:rPr kumimoji="0" lang="en-US" sz="2000" b="0" i="0" u="none" strike="noStrike" kern="1200" cap="none" spc="0" normalizeH="0" baseline="0" noProof="0" dirty="0" err="1">
                <a:ln>
                  <a:noFill/>
                </a:ln>
                <a:solidFill>
                  <a:srgbClr val="282828"/>
                </a:solidFill>
                <a:effectLst/>
                <a:uLnTx/>
                <a:uFillTx/>
                <a:latin typeface="CiscoSansTT ExtraLight"/>
                <a:ea typeface="ＭＳ Ｐゴシック" charset="0"/>
              </a:rPr>
              <a:t>ansible_net_version</a:t>
            </a:r>
            <a:endPar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endParaRP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Subsets of facts can be gathered as needed. For example, subset: hardware</a:t>
            </a:r>
          </a:p>
        </p:txBody>
      </p:sp>
      <p:pic>
        <p:nvPicPr>
          <p:cNvPr id="5" name="Picture 4">
            <a:extLst>
              <a:ext uri="{FF2B5EF4-FFF2-40B4-BE49-F238E27FC236}">
                <a16:creationId xmlns:a16="http://schemas.microsoft.com/office/drawing/2014/main" id="{B8B0463B-B82C-5943-867C-0788338CB773}"/>
              </a:ext>
            </a:extLst>
          </p:cNvPr>
          <p:cNvPicPr>
            <a:picLocks noChangeAspect="1"/>
          </p:cNvPicPr>
          <p:nvPr/>
        </p:nvPicPr>
        <p:blipFill>
          <a:blip r:embed="rId7"/>
          <a:stretch>
            <a:fillRect/>
          </a:stretch>
        </p:blipFill>
        <p:spPr>
          <a:xfrm>
            <a:off x="4786310" y="1430868"/>
            <a:ext cx="6957227" cy="4287788"/>
          </a:xfrm>
          <a:prstGeom prst="rect">
            <a:avLst/>
          </a:prstGeom>
        </p:spPr>
      </p:pic>
    </p:spTree>
    <p:extLst>
      <p:ext uri="{BB962C8B-B14F-4D97-AF65-F5344CB8AC3E}">
        <p14:creationId xmlns:p14="http://schemas.microsoft.com/office/powerpoint/2010/main" val="28499592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861234C-E437-6B47-B688-3FBF0B9DAA46}"/>
              </a:ext>
            </a:extLst>
          </p:cNvPr>
          <p:cNvSpPr>
            <a:spLocks noGrp="1"/>
          </p:cNvSpPr>
          <p:nvPr>
            <p:ph type="title"/>
          </p:nvPr>
        </p:nvSpPr>
        <p:spPr/>
        <p:txBody>
          <a:bodyPr/>
          <a:lstStyle/>
          <a:p>
            <a:r>
              <a:rPr lang="en-US" dirty="0" err="1"/>
              <a:t>ios_command</a:t>
            </a:r>
            <a:endParaRPr lang="en-US" dirty="0"/>
          </a:p>
        </p:txBody>
      </p:sp>
      <p:sp>
        <p:nvSpPr>
          <p:cNvPr id="7" name="Text Placeholder 1">
            <a:extLst>
              <a:ext uri="{FF2B5EF4-FFF2-40B4-BE49-F238E27FC236}">
                <a16:creationId xmlns:a16="http://schemas.microsoft.com/office/drawing/2014/main" id="{2A03B59D-7BB3-554C-814D-F7EF1B814B5E}"/>
              </a:ext>
            </a:extLst>
          </p:cNvPr>
          <p:cNvSpPr txBox="1">
            <a:spLocks/>
          </p:cNvSpPr>
          <p:nvPr/>
        </p:nvSpPr>
        <p:spPr>
          <a:xfrm>
            <a:off x="711198" y="1607864"/>
            <a:ext cx="10082926" cy="2207391"/>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Catch-all for running arbitrary commands on IOS</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Can run one command, or a list of multiple commands</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Returns raw text, so less convenient to work with than something like </a:t>
            </a:r>
            <a:r>
              <a:rPr kumimoji="0" lang="en-US" sz="2000" b="0" i="0" u="none" strike="noStrike" kern="1200" cap="none" spc="0" normalizeH="0" baseline="0" noProof="0" dirty="0" err="1">
                <a:ln>
                  <a:noFill/>
                </a:ln>
                <a:solidFill>
                  <a:srgbClr val="282828"/>
                </a:solidFill>
                <a:effectLst/>
                <a:uLnTx/>
                <a:uFillTx/>
                <a:latin typeface="CiscoSansTT ExtraLight"/>
                <a:ea typeface="ＭＳ Ｐゴシック" charset="0"/>
              </a:rPr>
              <a:t>ios_facts</a:t>
            </a:r>
            <a:endPar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endParaRP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endPar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pic>
        <p:nvPicPr>
          <p:cNvPr id="9" name="Picture 8">
            <a:extLst>
              <a:ext uri="{FF2B5EF4-FFF2-40B4-BE49-F238E27FC236}">
                <a16:creationId xmlns:a16="http://schemas.microsoft.com/office/drawing/2014/main" id="{8F52E20C-258C-E145-AFC4-4A932DBFBD5C}"/>
              </a:ext>
            </a:extLst>
          </p:cNvPr>
          <p:cNvPicPr>
            <a:picLocks noChangeAspect="1"/>
          </p:cNvPicPr>
          <p:nvPr/>
        </p:nvPicPr>
        <p:blipFill>
          <a:blip r:embed="rId7"/>
          <a:stretch>
            <a:fillRect/>
          </a:stretch>
        </p:blipFill>
        <p:spPr>
          <a:xfrm>
            <a:off x="711199" y="3815255"/>
            <a:ext cx="8615574" cy="2199721"/>
          </a:xfrm>
          <a:prstGeom prst="rect">
            <a:avLst/>
          </a:prstGeom>
        </p:spPr>
      </p:pic>
    </p:spTree>
    <p:extLst>
      <p:ext uri="{BB962C8B-B14F-4D97-AF65-F5344CB8AC3E}">
        <p14:creationId xmlns:p14="http://schemas.microsoft.com/office/powerpoint/2010/main" val="24884559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3"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861234C-E437-6B47-B688-3FBF0B9DAA46}"/>
              </a:ext>
            </a:extLst>
          </p:cNvPr>
          <p:cNvSpPr>
            <a:spLocks noGrp="1"/>
          </p:cNvSpPr>
          <p:nvPr>
            <p:ph type="title"/>
          </p:nvPr>
        </p:nvSpPr>
        <p:spPr/>
        <p:txBody>
          <a:bodyPr/>
          <a:lstStyle/>
          <a:p>
            <a:r>
              <a:rPr lang="en-US" dirty="0" err="1"/>
              <a:t>ios_config</a:t>
            </a:r>
            <a:endParaRPr lang="en-US" dirty="0"/>
          </a:p>
        </p:txBody>
      </p:sp>
      <p:sp>
        <p:nvSpPr>
          <p:cNvPr id="7" name="Text Placeholder 1">
            <a:extLst>
              <a:ext uri="{FF2B5EF4-FFF2-40B4-BE49-F238E27FC236}">
                <a16:creationId xmlns:a16="http://schemas.microsoft.com/office/drawing/2014/main" id="{2A03B59D-7BB3-554C-814D-F7EF1B814B5E}"/>
              </a:ext>
            </a:extLst>
          </p:cNvPr>
          <p:cNvSpPr txBox="1">
            <a:spLocks/>
          </p:cNvSpPr>
          <p:nvPr/>
        </p:nvSpPr>
        <p:spPr>
          <a:xfrm>
            <a:off x="711199" y="1607864"/>
            <a:ext cx="10650484" cy="2417598"/>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Catch-all for running arbitrary config commands on IOS</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Can run a single config command, or multiple config commands</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Can run [nearly] every config command, but many will not be idempotent</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Has optional parameters “parents” to handle nested commands such as lines within an ACL and “before” to do a task first such as deleting any existing ACL before creating</a:t>
            </a:r>
          </a:p>
        </p:txBody>
      </p:sp>
      <p:pic>
        <p:nvPicPr>
          <p:cNvPr id="2" name="Picture 1">
            <a:extLst>
              <a:ext uri="{FF2B5EF4-FFF2-40B4-BE49-F238E27FC236}">
                <a16:creationId xmlns:a16="http://schemas.microsoft.com/office/drawing/2014/main" id="{B818E19B-60CA-1E4A-B1F6-2F4067C3A805}"/>
              </a:ext>
            </a:extLst>
          </p:cNvPr>
          <p:cNvPicPr>
            <a:picLocks noChangeAspect="1"/>
          </p:cNvPicPr>
          <p:nvPr/>
        </p:nvPicPr>
        <p:blipFill>
          <a:blip r:embed="rId7"/>
          <a:stretch>
            <a:fillRect/>
          </a:stretch>
        </p:blipFill>
        <p:spPr>
          <a:xfrm>
            <a:off x="711199" y="3743036"/>
            <a:ext cx="7878619" cy="2428861"/>
          </a:xfrm>
          <a:prstGeom prst="rect">
            <a:avLst/>
          </a:prstGeom>
        </p:spPr>
      </p:pic>
    </p:spTree>
    <p:extLst>
      <p:ext uri="{BB962C8B-B14F-4D97-AF65-F5344CB8AC3E}">
        <p14:creationId xmlns:p14="http://schemas.microsoft.com/office/powerpoint/2010/main" val="16267987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861234C-E437-6B47-B688-3FBF0B9DAA46}"/>
              </a:ext>
            </a:extLst>
          </p:cNvPr>
          <p:cNvSpPr>
            <a:spLocks noGrp="1"/>
          </p:cNvSpPr>
          <p:nvPr>
            <p:ph type="title"/>
          </p:nvPr>
        </p:nvSpPr>
        <p:spPr/>
        <p:txBody>
          <a:bodyPr/>
          <a:lstStyle/>
          <a:p>
            <a:r>
              <a:rPr lang="en-US" dirty="0" err="1"/>
              <a:t>ios_vrf</a:t>
            </a:r>
            <a:endParaRPr lang="en-US" dirty="0"/>
          </a:p>
        </p:txBody>
      </p:sp>
      <p:sp>
        <p:nvSpPr>
          <p:cNvPr id="7" name="Text Placeholder 1">
            <a:extLst>
              <a:ext uri="{FF2B5EF4-FFF2-40B4-BE49-F238E27FC236}">
                <a16:creationId xmlns:a16="http://schemas.microsoft.com/office/drawing/2014/main" id="{2A03B59D-7BB3-554C-814D-F7EF1B814B5E}"/>
              </a:ext>
            </a:extLst>
          </p:cNvPr>
          <p:cNvSpPr txBox="1">
            <a:spLocks/>
          </p:cNvSpPr>
          <p:nvPr/>
        </p:nvSpPr>
        <p:spPr>
          <a:xfrm>
            <a:off x="711199" y="1607864"/>
            <a:ext cx="5181597" cy="4110792"/>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Configure VRFs on an IOS device</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Supports passing in a hash for multiple VRFs</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Supports “purge”, aka declarative mode</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This play shows optional “</a:t>
            </a:r>
            <a:r>
              <a:rPr kumimoji="0" lang="en-US" sz="2000" b="0" i="0" u="none" strike="noStrike" kern="1200" cap="none" spc="0" normalizeH="0" baseline="0" noProof="0" dirty="0" err="1">
                <a:ln>
                  <a:noFill/>
                </a:ln>
                <a:solidFill>
                  <a:srgbClr val="282828"/>
                </a:solidFill>
                <a:effectLst/>
                <a:uLnTx/>
                <a:uFillTx/>
                <a:latin typeface="CiscoSansTT ExtraLight"/>
                <a:ea typeface="ＭＳ Ｐゴシック" charset="0"/>
              </a:rPr>
              <a:t>check_mode</a:t>
            </a: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 which only reports on what it would do. It does not actually make changes when set.</a:t>
            </a:r>
          </a:p>
        </p:txBody>
      </p:sp>
      <p:pic>
        <p:nvPicPr>
          <p:cNvPr id="3" name="Picture 2">
            <a:extLst>
              <a:ext uri="{FF2B5EF4-FFF2-40B4-BE49-F238E27FC236}">
                <a16:creationId xmlns:a16="http://schemas.microsoft.com/office/drawing/2014/main" id="{99FF585D-FA58-8142-B608-5F1286F4D918}"/>
              </a:ext>
            </a:extLst>
          </p:cNvPr>
          <p:cNvPicPr>
            <a:picLocks noChangeAspect="1"/>
          </p:cNvPicPr>
          <p:nvPr/>
        </p:nvPicPr>
        <p:blipFill>
          <a:blip r:embed="rId7"/>
          <a:stretch>
            <a:fillRect/>
          </a:stretch>
        </p:blipFill>
        <p:spPr>
          <a:xfrm>
            <a:off x="5892798" y="1430867"/>
            <a:ext cx="1770271" cy="2212839"/>
          </a:xfrm>
          <a:prstGeom prst="rect">
            <a:avLst/>
          </a:prstGeom>
        </p:spPr>
      </p:pic>
      <p:pic>
        <p:nvPicPr>
          <p:cNvPr id="5" name="Picture 4">
            <a:extLst>
              <a:ext uri="{FF2B5EF4-FFF2-40B4-BE49-F238E27FC236}">
                <a16:creationId xmlns:a16="http://schemas.microsoft.com/office/drawing/2014/main" id="{57135EB8-4539-BC4B-81C0-96E553311D40}"/>
              </a:ext>
            </a:extLst>
          </p:cNvPr>
          <p:cNvPicPr>
            <a:picLocks noChangeAspect="1"/>
          </p:cNvPicPr>
          <p:nvPr/>
        </p:nvPicPr>
        <p:blipFill>
          <a:blip r:embed="rId8"/>
          <a:stretch>
            <a:fillRect/>
          </a:stretch>
        </p:blipFill>
        <p:spPr>
          <a:xfrm>
            <a:off x="5946083" y="3643706"/>
            <a:ext cx="3416578" cy="2842802"/>
          </a:xfrm>
          <a:prstGeom prst="rect">
            <a:avLst/>
          </a:prstGeom>
        </p:spPr>
      </p:pic>
      <p:pic>
        <p:nvPicPr>
          <p:cNvPr id="8" name="Picture 7">
            <a:extLst>
              <a:ext uri="{FF2B5EF4-FFF2-40B4-BE49-F238E27FC236}">
                <a16:creationId xmlns:a16="http://schemas.microsoft.com/office/drawing/2014/main" id="{F9286A82-EABA-F642-9CC2-856F1F88DB58}"/>
              </a:ext>
            </a:extLst>
          </p:cNvPr>
          <p:cNvPicPr>
            <a:picLocks noChangeAspect="1"/>
          </p:cNvPicPr>
          <p:nvPr/>
        </p:nvPicPr>
        <p:blipFill>
          <a:blip r:embed="rId9"/>
          <a:stretch>
            <a:fillRect/>
          </a:stretch>
        </p:blipFill>
        <p:spPr>
          <a:xfrm>
            <a:off x="5892797" y="1984784"/>
            <a:ext cx="2241476" cy="1515665"/>
          </a:xfrm>
          <a:prstGeom prst="rect">
            <a:avLst/>
          </a:prstGeom>
        </p:spPr>
      </p:pic>
      <p:pic>
        <p:nvPicPr>
          <p:cNvPr id="9" name="Picture 8">
            <a:extLst>
              <a:ext uri="{FF2B5EF4-FFF2-40B4-BE49-F238E27FC236}">
                <a16:creationId xmlns:a16="http://schemas.microsoft.com/office/drawing/2014/main" id="{83F703C7-36B2-8747-99C7-CFB23717BEAE}"/>
              </a:ext>
            </a:extLst>
          </p:cNvPr>
          <p:cNvPicPr>
            <a:picLocks noChangeAspect="1"/>
          </p:cNvPicPr>
          <p:nvPr/>
        </p:nvPicPr>
        <p:blipFill>
          <a:blip r:embed="rId10"/>
          <a:stretch>
            <a:fillRect/>
          </a:stretch>
        </p:blipFill>
        <p:spPr>
          <a:xfrm>
            <a:off x="5892798" y="4075386"/>
            <a:ext cx="5364746" cy="2411122"/>
          </a:xfrm>
          <a:prstGeom prst="rect">
            <a:avLst/>
          </a:prstGeom>
        </p:spPr>
      </p:pic>
    </p:spTree>
    <p:extLst>
      <p:ext uri="{BB962C8B-B14F-4D97-AF65-F5344CB8AC3E}">
        <p14:creationId xmlns:p14="http://schemas.microsoft.com/office/powerpoint/2010/main" val="20512573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861234C-E437-6B47-B688-3FBF0B9DAA46}"/>
              </a:ext>
            </a:extLst>
          </p:cNvPr>
          <p:cNvSpPr>
            <a:spLocks noGrp="1"/>
          </p:cNvSpPr>
          <p:nvPr>
            <p:ph type="title"/>
          </p:nvPr>
        </p:nvSpPr>
        <p:spPr/>
        <p:txBody>
          <a:bodyPr/>
          <a:lstStyle/>
          <a:p>
            <a:r>
              <a:rPr lang="en-US" dirty="0" err="1"/>
              <a:t>ios_user</a:t>
            </a:r>
            <a:endParaRPr lang="en-US" dirty="0"/>
          </a:p>
        </p:txBody>
      </p:sp>
      <p:sp>
        <p:nvSpPr>
          <p:cNvPr id="7" name="Text Placeholder 1">
            <a:extLst>
              <a:ext uri="{FF2B5EF4-FFF2-40B4-BE49-F238E27FC236}">
                <a16:creationId xmlns:a16="http://schemas.microsoft.com/office/drawing/2014/main" id="{2A03B59D-7BB3-554C-814D-F7EF1B814B5E}"/>
              </a:ext>
            </a:extLst>
          </p:cNvPr>
          <p:cNvSpPr txBox="1">
            <a:spLocks/>
          </p:cNvSpPr>
          <p:nvPr/>
        </p:nvSpPr>
        <p:spPr>
          <a:xfrm>
            <a:off x="711199" y="1607864"/>
            <a:ext cx="5181600" cy="4110792"/>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Configure local users on IOS device</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This play shows an example of looping over a nested data structure to configure multiple users</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endPar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pic>
        <p:nvPicPr>
          <p:cNvPr id="3" name="Picture 2">
            <a:extLst>
              <a:ext uri="{FF2B5EF4-FFF2-40B4-BE49-F238E27FC236}">
                <a16:creationId xmlns:a16="http://schemas.microsoft.com/office/drawing/2014/main" id="{E372794D-270D-1C4B-8D93-3FEB297182B9}"/>
              </a:ext>
            </a:extLst>
          </p:cNvPr>
          <p:cNvPicPr>
            <a:picLocks noChangeAspect="1"/>
          </p:cNvPicPr>
          <p:nvPr/>
        </p:nvPicPr>
        <p:blipFill>
          <a:blip r:embed="rId7"/>
          <a:stretch>
            <a:fillRect/>
          </a:stretch>
        </p:blipFill>
        <p:spPr>
          <a:xfrm>
            <a:off x="5892798" y="1430867"/>
            <a:ext cx="2654853" cy="2174233"/>
          </a:xfrm>
          <a:prstGeom prst="rect">
            <a:avLst/>
          </a:prstGeom>
        </p:spPr>
      </p:pic>
      <p:pic>
        <p:nvPicPr>
          <p:cNvPr id="5" name="Picture 4">
            <a:extLst>
              <a:ext uri="{FF2B5EF4-FFF2-40B4-BE49-F238E27FC236}">
                <a16:creationId xmlns:a16="http://schemas.microsoft.com/office/drawing/2014/main" id="{1BC2DF35-A4AB-A74E-8F03-0FF566E50133}"/>
              </a:ext>
            </a:extLst>
          </p:cNvPr>
          <p:cNvPicPr>
            <a:picLocks noChangeAspect="1"/>
          </p:cNvPicPr>
          <p:nvPr/>
        </p:nvPicPr>
        <p:blipFill>
          <a:blip r:embed="rId8"/>
          <a:stretch>
            <a:fillRect/>
          </a:stretch>
        </p:blipFill>
        <p:spPr>
          <a:xfrm>
            <a:off x="3092084" y="3699747"/>
            <a:ext cx="5176260" cy="2260895"/>
          </a:xfrm>
          <a:prstGeom prst="rect">
            <a:avLst/>
          </a:prstGeom>
        </p:spPr>
      </p:pic>
      <p:pic>
        <p:nvPicPr>
          <p:cNvPr id="9" name="Picture 8">
            <a:extLst>
              <a:ext uri="{FF2B5EF4-FFF2-40B4-BE49-F238E27FC236}">
                <a16:creationId xmlns:a16="http://schemas.microsoft.com/office/drawing/2014/main" id="{5348A591-FD5C-3146-9C08-C16C3F0287C1}"/>
              </a:ext>
            </a:extLst>
          </p:cNvPr>
          <p:cNvPicPr>
            <a:picLocks noChangeAspect="1"/>
          </p:cNvPicPr>
          <p:nvPr/>
        </p:nvPicPr>
        <p:blipFill>
          <a:blip r:embed="rId9"/>
          <a:stretch>
            <a:fillRect/>
          </a:stretch>
        </p:blipFill>
        <p:spPr>
          <a:xfrm>
            <a:off x="5912375" y="1825431"/>
            <a:ext cx="3694079" cy="1847040"/>
          </a:xfrm>
          <a:prstGeom prst="rect">
            <a:avLst/>
          </a:prstGeom>
        </p:spPr>
      </p:pic>
      <p:pic>
        <p:nvPicPr>
          <p:cNvPr id="10" name="Picture 9">
            <a:extLst>
              <a:ext uri="{FF2B5EF4-FFF2-40B4-BE49-F238E27FC236}">
                <a16:creationId xmlns:a16="http://schemas.microsoft.com/office/drawing/2014/main" id="{CA75A7C4-4C40-E84D-A86E-21DBB2A4F966}"/>
              </a:ext>
            </a:extLst>
          </p:cNvPr>
          <p:cNvPicPr>
            <a:picLocks noChangeAspect="1"/>
          </p:cNvPicPr>
          <p:nvPr/>
        </p:nvPicPr>
        <p:blipFill>
          <a:blip r:embed="rId10"/>
          <a:stretch>
            <a:fillRect/>
          </a:stretch>
        </p:blipFill>
        <p:spPr>
          <a:xfrm>
            <a:off x="3092084" y="4013278"/>
            <a:ext cx="8618921" cy="2029712"/>
          </a:xfrm>
          <a:prstGeom prst="rect">
            <a:avLst/>
          </a:prstGeom>
        </p:spPr>
      </p:pic>
    </p:spTree>
    <p:extLst>
      <p:ext uri="{BB962C8B-B14F-4D97-AF65-F5344CB8AC3E}">
        <p14:creationId xmlns:p14="http://schemas.microsoft.com/office/powerpoint/2010/main" val="14670901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861234C-E437-6B47-B688-3FBF0B9DAA46}"/>
              </a:ext>
            </a:extLst>
          </p:cNvPr>
          <p:cNvSpPr>
            <a:spLocks noGrp="1"/>
          </p:cNvSpPr>
          <p:nvPr>
            <p:ph type="title"/>
          </p:nvPr>
        </p:nvSpPr>
        <p:spPr/>
        <p:txBody>
          <a:bodyPr/>
          <a:lstStyle/>
          <a:p>
            <a:r>
              <a:rPr lang="en-US" dirty="0" err="1"/>
              <a:t>netconf_config</a:t>
            </a:r>
            <a:endParaRPr lang="en-US" dirty="0"/>
          </a:p>
        </p:txBody>
      </p:sp>
      <p:sp>
        <p:nvSpPr>
          <p:cNvPr id="7" name="Text Placeholder 1">
            <a:extLst>
              <a:ext uri="{FF2B5EF4-FFF2-40B4-BE49-F238E27FC236}">
                <a16:creationId xmlns:a16="http://schemas.microsoft.com/office/drawing/2014/main" id="{2A03B59D-7BB3-554C-814D-F7EF1B814B5E}"/>
              </a:ext>
            </a:extLst>
          </p:cNvPr>
          <p:cNvSpPr txBox="1">
            <a:spLocks/>
          </p:cNvSpPr>
          <p:nvPr/>
        </p:nvSpPr>
        <p:spPr>
          <a:xfrm>
            <a:off x="711198" y="1607864"/>
            <a:ext cx="9859797" cy="1524219"/>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r>
              <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rPr>
              <a:t>Allows configuration of multiple different platforms leveraging a single supported YANG data model</a:t>
            </a:r>
          </a:p>
          <a:p>
            <a:pPr marL="226478" marR="0" lvl="0" indent="-226478" algn="l" defTabSz="912261" rtl="0" eaLnBrk="1" fontAlgn="base" latinLnBrk="0" hangingPunct="1">
              <a:lnSpc>
                <a:spcPct val="95000"/>
              </a:lnSpc>
              <a:spcBef>
                <a:spcPts val="1433"/>
              </a:spcBef>
              <a:spcAft>
                <a:spcPct val="0"/>
              </a:spcAft>
              <a:buClr>
                <a:srgbClr val="005073"/>
              </a:buClr>
              <a:buSzPct val="90000"/>
              <a:buFont typeface="Arial" charset="0"/>
              <a:buChar char="•"/>
              <a:tabLst/>
              <a:defRPr/>
            </a:pPr>
            <a:endParaRPr kumimoji="0" lang="en-US" sz="20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pic>
        <p:nvPicPr>
          <p:cNvPr id="9" name="Picture 8">
            <a:extLst>
              <a:ext uri="{FF2B5EF4-FFF2-40B4-BE49-F238E27FC236}">
                <a16:creationId xmlns:a16="http://schemas.microsoft.com/office/drawing/2014/main" id="{76DF59C3-066B-594F-804B-A618489AD62B}"/>
              </a:ext>
            </a:extLst>
          </p:cNvPr>
          <p:cNvPicPr>
            <a:picLocks noChangeAspect="1"/>
          </p:cNvPicPr>
          <p:nvPr/>
        </p:nvPicPr>
        <p:blipFill>
          <a:blip r:embed="rId7"/>
          <a:stretch>
            <a:fillRect/>
          </a:stretch>
        </p:blipFill>
        <p:spPr>
          <a:xfrm>
            <a:off x="583688" y="3002857"/>
            <a:ext cx="9987308" cy="3294782"/>
          </a:xfrm>
          <a:prstGeom prst="rect">
            <a:avLst/>
          </a:prstGeom>
        </p:spPr>
      </p:pic>
    </p:spTree>
    <p:extLst>
      <p:ext uri="{BB962C8B-B14F-4D97-AF65-F5344CB8AC3E}">
        <p14:creationId xmlns:p14="http://schemas.microsoft.com/office/powerpoint/2010/main" val="19319723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74903" y="1550450"/>
            <a:ext cx="4140200" cy="4274820"/>
          </a:xfrm>
          <a:prstGeom prst="rect">
            <a:avLst/>
          </a:prstGeom>
        </p:spPr>
        <p:txBody>
          <a:bodyPr vert="horz" wrap="square" lIns="0" tIns="85725" rIns="0" bIns="0" rtlCol="0">
            <a:spAutoFit/>
          </a:bodyPr>
          <a:lstStyle/>
          <a:p>
            <a:pPr marL="167640" marR="0" lvl="0" indent="-154940" algn="l" defTabSz="914400" rtl="0" eaLnBrk="1" fontAlgn="auto" latinLnBrk="0" hangingPunct="1">
              <a:lnSpc>
                <a:spcPct val="100000"/>
              </a:lnSpc>
              <a:spcBef>
                <a:spcPts val="675"/>
              </a:spcBef>
              <a:spcAft>
                <a:spcPts val="0"/>
              </a:spcAft>
              <a:buClrTx/>
              <a:buSzPct val="58333"/>
              <a:buFontTx/>
              <a:buChar char="•"/>
              <a:tabLst>
                <a:tab pos="168275" algn="l"/>
              </a:tabLst>
              <a:defRPr/>
            </a:pPr>
            <a:r>
              <a:rPr kumimoji="0" sz="2400" b="0" i="0" u="none" strike="noStrike" kern="1200" cap="none" spc="-10" normalizeH="0" baseline="0" noProof="0" dirty="0">
                <a:ln>
                  <a:noFill/>
                </a:ln>
                <a:solidFill>
                  <a:srgbClr val="282828"/>
                </a:solidFill>
                <a:effectLst/>
                <a:uLnTx/>
                <a:uFillTx/>
                <a:latin typeface="Arial"/>
                <a:ea typeface="+mn-ea"/>
                <a:cs typeface="Arial"/>
              </a:rPr>
              <a:t>Inventory</a:t>
            </a:r>
            <a:r>
              <a:rPr kumimoji="0" sz="2400" b="0" i="0" u="none" strike="noStrike" kern="1200" cap="none" spc="0" normalizeH="0" baseline="0" noProof="0" dirty="0">
                <a:ln>
                  <a:noFill/>
                </a:ln>
                <a:solidFill>
                  <a:srgbClr val="282828"/>
                </a:solidFill>
                <a:effectLst/>
                <a:uLnTx/>
                <a:uFillTx/>
                <a:latin typeface="Arial"/>
                <a:ea typeface="+mn-ea"/>
                <a:cs typeface="Arial"/>
              </a:rPr>
              <a:t> </a:t>
            </a:r>
            <a:r>
              <a:rPr kumimoji="0" sz="2400" b="0" i="0" u="none" strike="noStrike" kern="1200" cap="none" spc="-45" normalizeH="0" baseline="0" noProof="0" dirty="0">
                <a:ln>
                  <a:noFill/>
                </a:ln>
                <a:solidFill>
                  <a:srgbClr val="282828"/>
                </a:solidFill>
                <a:effectLst/>
                <a:uLnTx/>
                <a:uFillTx/>
                <a:latin typeface="Arial"/>
                <a:ea typeface="+mn-ea"/>
                <a:cs typeface="Arial"/>
              </a:rPr>
              <a:t>File</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70"/>
              </a:spcBef>
              <a:spcAft>
                <a:spcPts val="0"/>
              </a:spcAft>
              <a:buClrTx/>
              <a:buSzPct val="60000"/>
              <a:buFontTx/>
              <a:buChar char="•"/>
              <a:tabLst>
                <a:tab pos="320675" algn="l"/>
              </a:tabLst>
              <a:defRPr/>
            </a:pPr>
            <a:r>
              <a:rPr kumimoji="0" sz="2000" b="0" i="0" u="none" strike="noStrike" kern="1200" cap="none" spc="-15" normalizeH="0" baseline="0" noProof="0" dirty="0">
                <a:ln>
                  <a:noFill/>
                </a:ln>
                <a:solidFill>
                  <a:srgbClr val="282828"/>
                </a:solidFill>
                <a:effectLst/>
                <a:uLnTx/>
                <a:uFillTx/>
                <a:latin typeface="Arial"/>
                <a:ea typeface="+mn-ea"/>
                <a:cs typeface="Arial"/>
              </a:rPr>
              <a:t>List </a:t>
            </a:r>
            <a:r>
              <a:rPr kumimoji="0" sz="2000" b="0" i="0" u="none" strike="noStrike" kern="1200" cap="none" spc="15" normalizeH="0" baseline="0" noProof="0" dirty="0">
                <a:ln>
                  <a:noFill/>
                </a:ln>
                <a:solidFill>
                  <a:srgbClr val="282828"/>
                </a:solidFill>
                <a:effectLst/>
                <a:uLnTx/>
                <a:uFillTx/>
                <a:latin typeface="Arial"/>
                <a:ea typeface="+mn-ea"/>
                <a:cs typeface="Arial"/>
              </a:rPr>
              <a:t>network</a:t>
            </a:r>
            <a:r>
              <a:rPr kumimoji="0" sz="2000" b="0" i="0" u="none" strike="noStrike" kern="1200" cap="none" spc="85" normalizeH="0" baseline="0" noProof="0" dirty="0">
                <a:ln>
                  <a:noFill/>
                </a:ln>
                <a:solidFill>
                  <a:srgbClr val="282828"/>
                </a:solidFill>
                <a:effectLst/>
                <a:uLnTx/>
                <a:uFillTx/>
                <a:latin typeface="Arial"/>
                <a:ea typeface="+mn-ea"/>
                <a:cs typeface="Arial"/>
              </a:rPr>
              <a:t> </a:t>
            </a:r>
            <a:r>
              <a:rPr kumimoji="0" sz="2000" b="0" i="0" u="none" strike="noStrike" kern="1200" cap="none" spc="5" normalizeH="0" baseline="0" noProof="0" dirty="0">
                <a:ln>
                  <a:noFill/>
                </a:ln>
                <a:solidFill>
                  <a:srgbClr val="282828"/>
                </a:solidFill>
                <a:effectLst/>
                <a:uLnTx/>
                <a:uFillTx/>
                <a:latin typeface="Arial"/>
                <a:ea typeface="+mn-ea"/>
                <a:cs typeface="Arial"/>
              </a:rPr>
              <a:t>devices</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80"/>
              </a:spcBef>
              <a:spcAft>
                <a:spcPts val="0"/>
              </a:spcAft>
              <a:buClrTx/>
              <a:buSzPct val="60000"/>
              <a:buFontTx/>
              <a:buChar char="•"/>
              <a:tabLst>
                <a:tab pos="320675" algn="l"/>
              </a:tabLst>
              <a:defRPr/>
            </a:pPr>
            <a:r>
              <a:rPr kumimoji="0" sz="2000" b="0" i="0" u="none" strike="noStrike" kern="1200" cap="none" spc="-10" normalizeH="0" baseline="0" noProof="0" dirty="0">
                <a:ln>
                  <a:noFill/>
                </a:ln>
                <a:solidFill>
                  <a:srgbClr val="282828"/>
                </a:solidFill>
                <a:effectLst/>
                <a:uLnTx/>
                <a:uFillTx/>
                <a:latin typeface="Arial"/>
                <a:ea typeface="+mn-ea"/>
                <a:cs typeface="Arial"/>
              </a:rPr>
              <a:t>Logically </a:t>
            </a:r>
            <a:r>
              <a:rPr kumimoji="0" sz="2000" b="0" i="0" u="none" strike="noStrike" kern="1200" cap="none" spc="10" normalizeH="0" baseline="0" noProof="0" dirty="0">
                <a:ln>
                  <a:noFill/>
                </a:ln>
                <a:solidFill>
                  <a:srgbClr val="282828"/>
                </a:solidFill>
                <a:effectLst/>
                <a:uLnTx/>
                <a:uFillTx/>
                <a:latin typeface="Arial"/>
                <a:ea typeface="+mn-ea"/>
                <a:cs typeface="Arial"/>
              </a:rPr>
              <a:t>group </a:t>
            </a:r>
            <a:r>
              <a:rPr kumimoji="0" sz="2000" b="0" i="0" u="none" strike="noStrike" kern="1200" cap="none" spc="25" normalizeH="0" baseline="0" noProof="0" dirty="0">
                <a:ln>
                  <a:noFill/>
                </a:ln>
                <a:solidFill>
                  <a:srgbClr val="282828"/>
                </a:solidFill>
                <a:effectLst/>
                <a:uLnTx/>
                <a:uFillTx/>
                <a:latin typeface="Arial"/>
                <a:ea typeface="+mn-ea"/>
                <a:cs typeface="Arial"/>
              </a:rPr>
              <a:t>for</a:t>
            </a:r>
            <a:r>
              <a:rPr kumimoji="0" sz="2000" b="0" i="0" u="none" strike="noStrike" kern="1200" cap="none" spc="185" normalizeH="0" baseline="0" noProof="0" dirty="0">
                <a:ln>
                  <a:noFill/>
                </a:ln>
                <a:solidFill>
                  <a:srgbClr val="282828"/>
                </a:solidFill>
                <a:effectLst/>
                <a:uLnTx/>
                <a:uFillTx/>
                <a:latin typeface="Arial"/>
                <a:ea typeface="+mn-ea"/>
                <a:cs typeface="Arial"/>
              </a:rPr>
              <a:t> </a:t>
            </a:r>
            <a:r>
              <a:rPr kumimoji="0" sz="2000" b="0" i="0" u="none" strike="noStrike" kern="1200" cap="none" spc="0" normalizeH="0" baseline="0" noProof="0" dirty="0">
                <a:ln>
                  <a:noFill/>
                </a:ln>
                <a:solidFill>
                  <a:srgbClr val="282828"/>
                </a:solidFill>
                <a:effectLst/>
                <a:uLnTx/>
                <a:uFillTx/>
                <a:latin typeface="Arial"/>
                <a:ea typeface="+mn-ea"/>
                <a:cs typeface="Arial"/>
              </a:rPr>
              <a:t>configuration</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75"/>
              </a:spcBef>
              <a:spcAft>
                <a:spcPts val="0"/>
              </a:spcAft>
              <a:buClrTx/>
              <a:buSzPct val="58333"/>
              <a:buFontTx/>
              <a:buChar char="•"/>
              <a:tabLst>
                <a:tab pos="168275" algn="l"/>
              </a:tabLst>
              <a:defRPr/>
            </a:pPr>
            <a:r>
              <a:rPr kumimoji="0" sz="2400" b="0" i="0" u="none" strike="noStrike" kern="1200" cap="none" spc="10" normalizeH="0" baseline="0" noProof="0" dirty="0">
                <a:ln>
                  <a:noFill/>
                </a:ln>
                <a:solidFill>
                  <a:srgbClr val="282828"/>
                </a:solidFill>
                <a:effectLst/>
                <a:uLnTx/>
                <a:uFillTx/>
                <a:latin typeface="Arial"/>
                <a:ea typeface="+mn-ea"/>
                <a:cs typeface="Arial"/>
              </a:rPr>
              <a:t>Host/Group </a:t>
            </a:r>
            <a:r>
              <a:rPr kumimoji="0" sz="2400" b="0" i="0" u="none" strike="noStrike" kern="1200" cap="none" spc="-25" normalizeH="0" baseline="0" noProof="0" dirty="0">
                <a:ln>
                  <a:noFill/>
                </a:ln>
                <a:solidFill>
                  <a:srgbClr val="282828"/>
                </a:solidFill>
                <a:effectLst/>
                <a:uLnTx/>
                <a:uFillTx/>
                <a:latin typeface="Arial"/>
                <a:ea typeface="+mn-ea"/>
                <a:cs typeface="Arial"/>
              </a:rPr>
              <a:t>Variable</a:t>
            </a:r>
            <a:r>
              <a:rPr kumimoji="0" sz="2400" b="0" i="0" u="none" strike="noStrike" kern="1200" cap="none" spc="15" normalizeH="0" baseline="0" noProof="0" dirty="0">
                <a:ln>
                  <a:noFill/>
                </a:ln>
                <a:solidFill>
                  <a:srgbClr val="282828"/>
                </a:solidFill>
                <a:effectLst/>
                <a:uLnTx/>
                <a:uFillTx/>
                <a:latin typeface="Arial"/>
                <a:ea typeface="+mn-ea"/>
                <a:cs typeface="Arial"/>
              </a:rPr>
              <a:t> </a:t>
            </a:r>
            <a:r>
              <a:rPr kumimoji="0" sz="2400" b="0" i="0" u="none" strike="noStrike" kern="1200" cap="none" spc="-40" normalizeH="0" baseline="0" noProof="0" dirty="0">
                <a:ln>
                  <a:noFill/>
                </a:ln>
                <a:solidFill>
                  <a:srgbClr val="282828"/>
                </a:solidFill>
                <a:effectLst/>
                <a:uLnTx/>
                <a:uFillTx/>
                <a:latin typeface="Arial"/>
                <a:ea typeface="+mn-ea"/>
                <a:cs typeface="Arial"/>
              </a:rPr>
              <a:t>Files</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70"/>
              </a:spcBef>
              <a:spcAft>
                <a:spcPts val="0"/>
              </a:spcAft>
              <a:buClrTx/>
              <a:buSzPct val="60000"/>
              <a:buFontTx/>
              <a:buChar char="•"/>
              <a:tabLst>
                <a:tab pos="320675" algn="l"/>
              </a:tabLst>
              <a:defRPr/>
            </a:pPr>
            <a:r>
              <a:rPr kumimoji="0" sz="2000" b="0" i="0" u="none" strike="noStrike" kern="1200" cap="none" spc="-5" normalizeH="0" baseline="0" noProof="0" dirty="0">
                <a:ln>
                  <a:noFill/>
                </a:ln>
                <a:solidFill>
                  <a:srgbClr val="282828"/>
                </a:solidFill>
                <a:effectLst/>
                <a:uLnTx/>
                <a:uFillTx/>
                <a:latin typeface="Arial"/>
                <a:ea typeface="+mn-ea"/>
                <a:cs typeface="Arial"/>
              </a:rPr>
              <a:t>Device </a:t>
            </a:r>
            <a:r>
              <a:rPr kumimoji="0" sz="2000" b="0" i="0" u="none" strike="noStrike" kern="1200" cap="none" spc="15" normalizeH="0" baseline="0" noProof="0" dirty="0">
                <a:ln>
                  <a:noFill/>
                </a:ln>
                <a:solidFill>
                  <a:srgbClr val="282828"/>
                </a:solidFill>
                <a:effectLst/>
                <a:uLnTx/>
                <a:uFillTx/>
                <a:latin typeface="Arial"/>
                <a:ea typeface="+mn-ea"/>
                <a:cs typeface="Arial"/>
              </a:rPr>
              <a:t>specific</a:t>
            </a:r>
            <a:r>
              <a:rPr kumimoji="0" sz="2000" b="0" i="0" u="none" strike="noStrike" kern="1200" cap="none" spc="90" normalizeH="0" baseline="0" noProof="0" dirty="0">
                <a:ln>
                  <a:noFill/>
                </a:ln>
                <a:solidFill>
                  <a:srgbClr val="282828"/>
                </a:solidFill>
                <a:effectLst/>
                <a:uLnTx/>
                <a:uFillTx/>
                <a:latin typeface="Arial"/>
                <a:ea typeface="+mn-ea"/>
                <a:cs typeface="Arial"/>
              </a:rPr>
              <a:t> </a:t>
            </a:r>
            <a:r>
              <a:rPr kumimoji="0" sz="2000" b="0" i="0" u="none" strike="noStrike" kern="1200" cap="none" spc="-10" normalizeH="0" baseline="0" noProof="0" dirty="0">
                <a:ln>
                  <a:noFill/>
                </a:ln>
                <a:solidFill>
                  <a:srgbClr val="282828"/>
                </a:solidFill>
                <a:effectLst/>
                <a:uLnTx/>
                <a:uFillTx/>
                <a:latin typeface="Arial"/>
                <a:ea typeface="+mn-ea"/>
                <a:cs typeface="Arial"/>
              </a:rPr>
              <a:t>details</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80"/>
              </a:spcBef>
              <a:spcAft>
                <a:spcPts val="0"/>
              </a:spcAft>
              <a:buClrTx/>
              <a:buSzPct val="60000"/>
              <a:buFontTx/>
              <a:buChar char="•"/>
              <a:tabLst>
                <a:tab pos="320675" algn="l"/>
              </a:tabLst>
              <a:defRPr/>
            </a:pPr>
            <a:r>
              <a:rPr kumimoji="0" sz="2000" b="0" i="0" u="none" strike="noStrike" kern="1200" cap="none" spc="-25" normalizeH="0" baseline="0" noProof="0" dirty="0">
                <a:ln>
                  <a:noFill/>
                </a:ln>
                <a:solidFill>
                  <a:srgbClr val="282828"/>
                </a:solidFill>
                <a:effectLst/>
                <a:uLnTx/>
                <a:uFillTx/>
                <a:latin typeface="Arial"/>
                <a:ea typeface="+mn-ea"/>
                <a:cs typeface="Arial"/>
              </a:rPr>
              <a:t>General </a:t>
            </a:r>
            <a:r>
              <a:rPr kumimoji="0" sz="2000" b="0" i="0" u="none" strike="noStrike" kern="1200" cap="none" spc="10" normalizeH="0" baseline="0" noProof="0" dirty="0">
                <a:ln>
                  <a:noFill/>
                </a:ln>
                <a:solidFill>
                  <a:srgbClr val="282828"/>
                </a:solidFill>
                <a:effectLst/>
                <a:uLnTx/>
                <a:uFillTx/>
                <a:latin typeface="Arial"/>
                <a:ea typeface="+mn-ea"/>
                <a:cs typeface="Arial"/>
              </a:rPr>
              <a:t>group</a:t>
            </a:r>
            <a:r>
              <a:rPr kumimoji="0" sz="2000" b="0" i="0" u="none" strike="noStrike" kern="1200" cap="none" spc="140" normalizeH="0" baseline="0" noProof="0" dirty="0">
                <a:ln>
                  <a:noFill/>
                </a:ln>
                <a:solidFill>
                  <a:srgbClr val="282828"/>
                </a:solidFill>
                <a:effectLst/>
                <a:uLnTx/>
                <a:uFillTx/>
                <a:latin typeface="Arial"/>
                <a:ea typeface="+mn-ea"/>
                <a:cs typeface="Arial"/>
              </a:rPr>
              <a:t> </a:t>
            </a:r>
            <a:r>
              <a:rPr kumimoji="0" sz="2000" b="0" i="0" u="none" strike="noStrike" kern="1200" cap="none" spc="-10" normalizeH="0" baseline="0" noProof="0" dirty="0">
                <a:ln>
                  <a:noFill/>
                </a:ln>
                <a:solidFill>
                  <a:srgbClr val="282828"/>
                </a:solidFill>
                <a:effectLst/>
                <a:uLnTx/>
                <a:uFillTx/>
                <a:latin typeface="Arial"/>
                <a:ea typeface="+mn-ea"/>
                <a:cs typeface="Arial"/>
              </a:rPr>
              <a:t>details</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50"/>
              </a:spcBef>
              <a:spcAft>
                <a:spcPts val="0"/>
              </a:spcAft>
              <a:buClrTx/>
              <a:buSzPct val="60416"/>
              <a:buFontTx/>
              <a:buChar char="•"/>
              <a:tabLst>
                <a:tab pos="168275" algn="l"/>
              </a:tabLst>
              <a:defRPr/>
            </a:pPr>
            <a:r>
              <a:rPr kumimoji="0" sz="2400" b="0" i="0" u="none" strike="noStrike" kern="1200" cap="none" spc="-5" normalizeH="0" baseline="0" noProof="0" dirty="0">
                <a:ln>
                  <a:noFill/>
                </a:ln>
                <a:solidFill>
                  <a:srgbClr val="282828"/>
                </a:solidFill>
                <a:effectLst/>
                <a:uLnTx/>
                <a:uFillTx/>
                <a:latin typeface="Arial"/>
                <a:ea typeface="+mn-ea"/>
                <a:cs typeface="Arial"/>
              </a:rPr>
              <a:t>Ansible</a:t>
            </a:r>
            <a:r>
              <a:rPr kumimoji="0" sz="2400" b="0" i="0" u="none" strike="noStrike" kern="1200" cap="none" spc="-15" normalizeH="0" baseline="0" noProof="0" dirty="0">
                <a:ln>
                  <a:noFill/>
                </a:ln>
                <a:solidFill>
                  <a:srgbClr val="282828"/>
                </a:solidFill>
                <a:effectLst/>
                <a:uLnTx/>
                <a:uFillTx/>
                <a:latin typeface="Arial"/>
                <a:ea typeface="+mn-ea"/>
                <a:cs typeface="Arial"/>
              </a:rPr>
              <a:t> </a:t>
            </a:r>
            <a:r>
              <a:rPr kumimoji="0" sz="2400" b="0" i="0" u="none" strike="noStrike" kern="1200" cap="none" spc="-40" normalizeH="0" baseline="0" noProof="0" dirty="0">
                <a:ln>
                  <a:noFill/>
                </a:ln>
                <a:solidFill>
                  <a:srgbClr val="282828"/>
                </a:solidFill>
                <a:effectLst/>
                <a:uLnTx/>
                <a:uFillTx/>
                <a:latin typeface="Arial"/>
                <a:ea typeface="+mn-ea"/>
                <a:cs typeface="Arial"/>
              </a:rPr>
              <a:t>Roles</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75"/>
              </a:spcBef>
              <a:spcAft>
                <a:spcPts val="0"/>
              </a:spcAft>
              <a:buClrTx/>
              <a:buSzPct val="60000"/>
              <a:buFontTx/>
              <a:buChar char="•"/>
              <a:tabLst>
                <a:tab pos="320675" algn="l"/>
              </a:tabLst>
              <a:defRPr/>
            </a:pPr>
            <a:r>
              <a:rPr kumimoji="0" sz="2000" b="0" i="0" u="none" strike="noStrike" kern="1200" cap="none" spc="-15" normalizeH="0" baseline="0" noProof="0" dirty="0">
                <a:ln>
                  <a:noFill/>
                </a:ln>
                <a:solidFill>
                  <a:srgbClr val="282828"/>
                </a:solidFill>
                <a:effectLst/>
                <a:uLnTx/>
                <a:uFillTx/>
                <a:latin typeface="Arial"/>
                <a:ea typeface="+mn-ea"/>
                <a:cs typeface="Arial"/>
              </a:rPr>
              <a:t>Align </a:t>
            </a:r>
            <a:r>
              <a:rPr kumimoji="0" sz="2000" b="0" i="0" u="none" strike="noStrike" kern="1200" cap="none" spc="30" normalizeH="0" baseline="0" noProof="0" dirty="0">
                <a:ln>
                  <a:noFill/>
                </a:ln>
                <a:solidFill>
                  <a:srgbClr val="282828"/>
                </a:solidFill>
                <a:effectLst/>
                <a:uLnTx/>
                <a:uFillTx/>
                <a:latin typeface="Arial"/>
                <a:ea typeface="+mn-ea"/>
                <a:cs typeface="Arial"/>
              </a:rPr>
              <a:t>to </a:t>
            </a:r>
            <a:r>
              <a:rPr kumimoji="0" sz="2000" b="0" i="0" u="none" strike="noStrike" kern="1200" cap="none" spc="15" normalizeH="0" baseline="0" noProof="0" dirty="0">
                <a:ln>
                  <a:noFill/>
                </a:ln>
                <a:solidFill>
                  <a:srgbClr val="282828"/>
                </a:solidFill>
                <a:effectLst/>
                <a:uLnTx/>
                <a:uFillTx/>
                <a:latin typeface="Arial"/>
                <a:ea typeface="+mn-ea"/>
                <a:cs typeface="Arial"/>
              </a:rPr>
              <a:t>network</a:t>
            </a:r>
            <a:r>
              <a:rPr kumimoji="0" sz="2000" b="0" i="0" u="none" strike="noStrike" kern="1200" cap="none" spc="85" normalizeH="0" baseline="0" noProof="0" dirty="0">
                <a:ln>
                  <a:noFill/>
                </a:ln>
                <a:solidFill>
                  <a:srgbClr val="282828"/>
                </a:solidFill>
                <a:effectLst/>
                <a:uLnTx/>
                <a:uFillTx/>
                <a:latin typeface="Arial"/>
                <a:ea typeface="+mn-ea"/>
                <a:cs typeface="Arial"/>
              </a:rPr>
              <a:t> </a:t>
            </a:r>
            <a:r>
              <a:rPr kumimoji="0" sz="2000" b="0" i="0" u="none" strike="noStrike" kern="1200" cap="none" spc="0" normalizeH="0" baseline="0" noProof="0" dirty="0">
                <a:ln>
                  <a:noFill/>
                </a:ln>
                <a:solidFill>
                  <a:srgbClr val="282828"/>
                </a:solidFill>
                <a:effectLst/>
                <a:uLnTx/>
                <a:uFillTx/>
                <a:latin typeface="Arial"/>
                <a:ea typeface="+mn-ea"/>
                <a:cs typeface="Arial"/>
              </a:rPr>
              <a:t>roles</a:t>
            </a:r>
            <a:endParaRPr kumimoji="0" sz="20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75"/>
              </a:spcBef>
              <a:spcAft>
                <a:spcPts val="0"/>
              </a:spcAft>
              <a:buClrTx/>
              <a:buSzPct val="60416"/>
              <a:buFontTx/>
              <a:buChar char="•"/>
              <a:tabLst>
                <a:tab pos="168275" algn="l"/>
              </a:tabLst>
              <a:defRPr/>
            </a:pPr>
            <a:r>
              <a:rPr kumimoji="0" sz="2400" b="0" i="0" u="none" strike="noStrike" kern="1200" cap="none" spc="-5" normalizeH="0" baseline="0" noProof="0" dirty="0">
                <a:ln>
                  <a:noFill/>
                </a:ln>
                <a:solidFill>
                  <a:srgbClr val="282828"/>
                </a:solidFill>
                <a:effectLst/>
                <a:uLnTx/>
                <a:uFillTx/>
                <a:latin typeface="Arial"/>
                <a:ea typeface="+mn-ea"/>
                <a:cs typeface="Arial"/>
              </a:rPr>
              <a:t>Ansible </a:t>
            </a:r>
            <a:r>
              <a:rPr kumimoji="0" sz="2400" b="0" i="0" u="none" strike="noStrike" kern="1200" cap="none" spc="-15" normalizeH="0" baseline="0" noProof="0" dirty="0">
                <a:ln>
                  <a:noFill/>
                </a:ln>
                <a:solidFill>
                  <a:srgbClr val="282828"/>
                </a:solidFill>
                <a:effectLst/>
                <a:uLnTx/>
                <a:uFillTx/>
                <a:latin typeface="Arial"/>
                <a:ea typeface="+mn-ea"/>
                <a:cs typeface="Arial"/>
              </a:rPr>
              <a:t>Playbook</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320040" marR="0" lvl="1" indent="-152400" algn="l" defTabSz="914400" rtl="0" eaLnBrk="1" fontAlgn="auto" latinLnBrk="0" hangingPunct="1">
              <a:lnSpc>
                <a:spcPct val="100000"/>
              </a:lnSpc>
              <a:spcBef>
                <a:spcPts val="470"/>
              </a:spcBef>
              <a:spcAft>
                <a:spcPts val="0"/>
              </a:spcAft>
              <a:buClrTx/>
              <a:buSzPct val="60000"/>
              <a:buFontTx/>
              <a:buChar char="•"/>
              <a:tabLst>
                <a:tab pos="320675" algn="l"/>
              </a:tabLst>
              <a:defRPr/>
            </a:pPr>
            <a:r>
              <a:rPr kumimoji="0" sz="2000" b="0" i="0" u="none" strike="noStrike" kern="1200" cap="none" spc="-85" normalizeH="0" baseline="0" noProof="0" dirty="0">
                <a:ln>
                  <a:noFill/>
                </a:ln>
                <a:solidFill>
                  <a:srgbClr val="282828"/>
                </a:solidFill>
                <a:effectLst/>
                <a:uLnTx/>
                <a:uFillTx/>
                <a:latin typeface="Arial"/>
                <a:ea typeface="+mn-ea"/>
                <a:cs typeface="Arial"/>
              </a:rPr>
              <a:t>Run  </a:t>
            </a:r>
            <a:r>
              <a:rPr kumimoji="0" sz="2000" b="0" i="0" u="none" strike="noStrike" kern="1200" cap="none" spc="-5" normalizeH="0" baseline="0" noProof="0" dirty="0">
                <a:ln>
                  <a:noFill/>
                </a:ln>
                <a:solidFill>
                  <a:srgbClr val="282828"/>
                </a:solidFill>
                <a:effectLst/>
                <a:uLnTx/>
                <a:uFillTx/>
                <a:latin typeface="Arial"/>
                <a:ea typeface="+mn-ea"/>
                <a:cs typeface="Arial"/>
              </a:rPr>
              <a:t>roles </a:t>
            </a:r>
            <a:r>
              <a:rPr kumimoji="0" sz="2000" b="0" i="0" u="none" strike="noStrike" kern="1200" cap="none" spc="-15" normalizeH="0" baseline="0" noProof="0" dirty="0">
                <a:ln>
                  <a:noFill/>
                </a:ln>
                <a:solidFill>
                  <a:srgbClr val="282828"/>
                </a:solidFill>
                <a:effectLst/>
                <a:uLnTx/>
                <a:uFillTx/>
                <a:latin typeface="Arial"/>
                <a:ea typeface="+mn-ea"/>
                <a:cs typeface="Arial"/>
              </a:rPr>
              <a:t>against </a:t>
            </a:r>
            <a:r>
              <a:rPr kumimoji="0" sz="2000" b="0" i="0" u="none" strike="noStrike" kern="1200" cap="none" spc="-10" normalizeH="0" baseline="0" noProof="0" dirty="0">
                <a:ln>
                  <a:noFill/>
                </a:ln>
                <a:solidFill>
                  <a:srgbClr val="282828"/>
                </a:solidFill>
                <a:effectLst/>
                <a:uLnTx/>
                <a:uFillTx/>
                <a:latin typeface="Arial"/>
                <a:ea typeface="+mn-ea"/>
                <a:cs typeface="Arial"/>
              </a:rPr>
              <a:t>relevant</a:t>
            </a:r>
            <a:r>
              <a:rPr kumimoji="0" sz="2000" b="0" i="0" u="none" strike="noStrike" kern="1200" cap="none" spc="-45" normalizeH="0" baseline="0" noProof="0" dirty="0">
                <a:ln>
                  <a:noFill/>
                </a:ln>
                <a:solidFill>
                  <a:srgbClr val="282828"/>
                </a:solidFill>
                <a:effectLst/>
                <a:uLnTx/>
                <a:uFillTx/>
                <a:latin typeface="Arial"/>
                <a:ea typeface="+mn-ea"/>
                <a:cs typeface="Arial"/>
              </a:rPr>
              <a:t> </a:t>
            </a:r>
            <a:r>
              <a:rPr kumimoji="0" sz="2000" b="0" i="0" u="none" strike="noStrike" kern="1200" cap="none" spc="5" normalizeH="0" baseline="0" noProof="0" dirty="0">
                <a:ln>
                  <a:noFill/>
                </a:ln>
                <a:solidFill>
                  <a:srgbClr val="282828"/>
                </a:solidFill>
                <a:effectLst/>
                <a:uLnTx/>
                <a:uFillTx/>
                <a:latin typeface="Arial"/>
                <a:ea typeface="+mn-ea"/>
                <a:cs typeface="Arial"/>
              </a:rPr>
              <a:t>groups</a:t>
            </a:r>
            <a:endParaRPr kumimoji="0" sz="20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a:spLocks noGrp="1"/>
          </p:cNvSpPr>
          <p:nvPr>
            <p:ph type="title"/>
          </p:nvPr>
        </p:nvSpPr>
        <p:spPr>
          <a:xfrm>
            <a:off x="662736" y="587501"/>
            <a:ext cx="5365750" cy="596265"/>
          </a:xfrm>
          <a:prstGeom prst="rect">
            <a:avLst/>
          </a:prstGeom>
        </p:spPr>
        <p:txBody>
          <a:bodyPr vert="horz" wrap="square" lIns="0" tIns="12065" rIns="0" bIns="0" rtlCol="0">
            <a:spAutoFit/>
          </a:bodyPr>
          <a:lstStyle/>
          <a:p>
            <a:pPr marL="12700">
              <a:lnSpc>
                <a:spcPct val="100000"/>
              </a:lnSpc>
              <a:spcBef>
                <a:spcPts val="95"/>
              </a:spcBef>
            </a:pPr>
            <a:r>
              <a:rPr spc="-15" dirty="0"/>
              <a:t>Use </a:t>
            </a:r>
            <a:r>
              <a:rPr spc="0" dirty="0"/>
              <a:t>our </a:t>
            </a:r>
            <a:r>
              <a:rPr spc="-10" dirty="0"/>
              <a:t>Ansible</a:t>
            </a:r>
            <a:r>
              <a:rPr spc="150" dirty="0"/>
              <a:t> </a:t>
            </a:r>
            <a:r>
              <a:rPr dirty="0"/>
              <a:t>Mastery!</a:t>
            </a:r>
          </a:p>
        </p:txBody>
      </p:sp>
      <p:sp>
        <p:nvSpPr>
          <p:cNvPr id="4" name="object 4"/>
          <p:cNvSpPr/>
          <p:nvPr/>
        </p:nvSpPr>
        <p:spPr>
          <a:xfrm>
            <a:off x="6998207" y="1716023"/>
            <a:ext cx="4294632" cy="3453383"/>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7363968" y="2791967"/>
            <a:ext cx="606551" cy="62483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txBox="1"/>
          <p:nvPr/>
        </p:nvSpPr>
        <p:spPr>
          <a:xfrm>
            <a:off x="706627" y="6355181"/>
            <a:ext cx="3641090" cy="162560"/>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7992413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9327" y="6367881"/>
            <a:ext cx="3615690" cy="137160"/>
          </a:xfrm>
          <a:prstGeom prst="rect">
            <a:avLst/>
          </a:prstGeom>
        </p:spPr>
        <p:txBody>
          <a:bodyPr vert="horz" wrap="square" lIns="0" tIns="0" rIns="0" bIns="0" rtlCol="0">
            <a:spAutoFit/>
          </a:bodyPr>
          <a:lstStyle/>
          <a:p>
            <a:pPr marL="0" marR="0" lvl="0" indent="0" algn="l" defTabSz="457200" rtl="0" eaLnBrk="1" fontAlgn="base" latinLnBrk="0" hangingPunct="1">
              <a:lnSpc>
                <a:spcPts val="950"/>
              </a:lnSpc>
              <a:spcBef>
                <a:spcPct val="0"/>
              </a:spcBef>
              <a:spcAft>
                <a:spcPct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40" normalizeH="0" baseline="0" noProof="0" dirty="0">
                <a:ln>
                  <a:noFill/>
                </a:ln>
                <a:solidFill>
                  <a:srgbClr val="A6A6A6"/>
                </a:solidFill>
                <a:effectLst/>
                <a:uLnTx/>
                <a:uFillTx/>
                <a:latin typeface="Arial"/>
                <a:ea typeface="ＭＳ Ｐゴシック" charset="0"/>
                <a:cs typeface="Arial"/>
              </a:rPr>
              <a:t>2017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Cisco </a:t>
            </a:r>
            <a:r>
              <a:rPr kumimoji="0" sz="800" b="0" i="0" u="none" strike="noStrike" kern="1200" cap="none" spc="15" normalizeH="0" baseline="0" noProof="0" dirty="0">
                <a:ln>
                  <a:noFill/>
                </a:ln>
                <a:solidFill>
                  <a:srgbClr val="A6A6A6"/>
                </a:solidFill>
                <a:effectLst/>
                <a:uLnTx/>
                <a:uFillTx/>
                <a:latin typeface="Arial"/>
                <a:ea typeface="ＭＳ Ｐゴシック" charset="0"/>
                <a:cs typeface="Arial"/>
              </a:rPr>
              <a:t>and/or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its affiliates.  </a:t>
            </a:r>
            <a:r>
              <a:rPr kumimoji="0" sz="800" b="0" i="0" u="none" strike="noStrike" kern="1200" cap="none" spc="0" normalizeH="0" baseline="0" noProof="0" dirty="0">
                <a:ln>
                  <a:noFill/>
                </a:ln>
                <a:solidFill>
                  <a:srgbClr val="A6A6A6"/>
                </a:solidFill>
                <a:effectLst/>
                <a:uLnTx/>
                <a:uFillTx/>
                <a:latin typeface="Arial"/>
                <a:ea typeface="ＭＳ Ｐゴシック" charset="0"/>
                <a:cs typeface="Arial"/>
              </a:rPr>
              <a:t>All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rights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reserved.    Cisco</a:t>
            </a:r>
            <a:r>
              <a:rPr kumimoji="0" sz="800" b="0" i="0" u="none" strike="noStrike" kern="1200" cap="none" spc="10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Confidential</a:t>
            </a:r>
            <a:endParaRPr kumimoji="0" sz="800" b="0" i="0" u="none" strike="noStrike" kern="1200" cap="none" spc="0" normalizeH="0" baseline="0" noProof="0">
              <a:ln>
                <a:noFill/>
              </a:ln>
              <a:solidFill>
                <a:srgbClr val="282828"/>
              </a:solidFill>
              <a:effectLst/>
              <a:uLnTx/>
              <a:uFillTx/>
              <a:latin typeface="Arial"/>
              <a:ea typeface="ＭＳ Ｐゴシック" charset="0"/>
              <a:cs typeface="Arial"/>
            </a:endParaRPr>
          </a:p>
        </p:txBody>
      </p:sp>
      <p:sp>
        <p:nvSpPr>
          <p:cNvPr id="4" name="object 4"/>
          <p:cNvSpPr txBox="1"/>
          <p:nvPr/>
        </p:nvSpPr>
        <p:spPr>
          <a:xfrm>
            <a:off x="634085" y="3654628"/>
            <a:ext cx="4272915" cy="962660"/>
          </a:xfrm>
          <a:prstGeom prst="rect">
            <a:avLst/>
          </a:prstGeom>
        </p:spPr>
        <p:txBody>
          <a:bodyPr vert="horz" wrap="square" lIns="0" tIns="12065" rIns="0" bIns="0" rtlCol="0">
            <a:spAutoFit/>
          </a:bodyPr>
          <a:lstStyle/>
          <a:p>
            <a:pPr marL="12700" marR="0" lvl="0" indent="0" algn="l" defTabSz="457200" rtl="0" eaLnBrk="1" fontAlgn="base" latinLnBrk="0" hangingPunct="1">
              <a:lnSpc>
                <a:spcPct val="100000"/>
              </a:lnSpc>
              <a:spcBef>
                <a:spcPts val="95"/>
              </a:spcBef>
              <a:spcAft>
                <a:spcPct val="0"/>
              </a:spcAft>
              <a:buClrTx/>
              <a:buSzTx/>
              <a:buFontTx/>
              <a:buNone/>
              <a:tabLst/>
              <a:defRPr/>
            </a:pPr>
            <a:r>
              <a:rPr kumimoji="0" sz="6150" b="0" i="0" u="none" strike="noStrike" kern="1200" cap="none" spc="10" normalizeH="0" baseline="0" noProof="0" dirty="0">
                <a:ln>
                  <a:noFill/>
                </a:ln>
                <a:solidFill>
                  <a:srgbClr val="005073"/>
                </a:solidFill>
                <a:effectLst/>
                <a:uLnTx/>
                <a:uFillTx/>
                <a:latin typeface="CiscoSansTT ExtraLight"/>
                <a:ea typeface="ＭＳ Ｐゴシック" charset="0"/>
                <a:cs typeface="Arial"/>
              </a:rPr>
              <a:t>Demo</a:t>
            </a:r>
            <a:r>
              <a:rPr kumimoji="0" sz="6150" b="0" i="0" u="none" strike="noStrike" kern="1200" cap="none" spc="35" normalizeH="0" baseline="0" noProof="0" dirty="0">
                <a:ln>
                  <a:noFill/>
                </a:ln>
                <a:solidFill>
                  <a:srgbClr val="005073"/>
                </a:solidFill>
                <a:effectLst/>
                <a:uLnTx/>
                <a:uFillTx/>
                <a:latin typeface="CiscoSansTT ExtraLight"/>
                <a:ea typeface="ＭＳ Ｐゴシック" charset="0"/>
                <a:cs typeface="Arial"/>
              </a:rPr>
              <a:t> </a:t>
            </a:r>
            <a:r>
              <a:rPr kumimoji="0" sz="6150" b="0" i="0" u="none" strike="noStrike" kern="1200" cap="none" spc="-50" normalizeH="0" baseline="0" noProof="0" dirty="0">
                <a:ln>
                  <a:noFill/>
                </a:ln>
                <a:solidFill>
                  <a:srgbClr val="005073"/>
                </a:solidFill>
                <a:effectLst/>
                <a:uLnTx/>
                <a:uFillTx/>
                <a:latin typeface="CiscoSansTT ExtraLight"/>
                <a:ea typeface="ＭＳ Ｐゴシック" charset="0"/>
                <a:cs typeface="Arial"/>
              </a:rPr>
              <a:t>Time!</a:t>
            </a:r>
            <a:endParaRPr kumimoji="0" sz="6150" b="0" i="0" u="none" strike="noStrike" kern="1200" cap="none" spc="0" normalizeH="0" baseline="0" noProof="0" dirty="0">
              <a:ln>
                <a:noFill/>
              </a:ln>
              <a:solidFill>
                <a:srgbClr val="282828"/>
              </a:solidFill>
              <a:effectLst/>
              <a:uLnTx/>
              <a:uFillTx/>
              <a:latin typeface="CiscoSansTT ExtraLight"/>
              <a:ea typeface="ＭＳ Ｐゴシック" charset="0"/>
              <a:cs typeface="Arial"/>
            </a:endParaRPr>
          </a:p>
        </p:txBody>
      </p:sp>
      <p:sp>
        <p:nvSpPr>
          <p:cNvPr id="5" name="object 5"/>
          <p:cNvSpPr/>
          <p:nvPr/>
        </p:nvSpPr>
        <p:spPr>
          <a:xfrm>
            <a:off x="5678423" y="1438655"/>
            <a:ext cx="5007864" cy="3883152"/>
          </a:xfrm>
          <a:prstGeom prst="rect">
            <a:avLst/>
          </a:prstGeom>
          <a:blipFill>
            <a:blip r:embed="rId2" cstate="print"/>
            <a:stretch>
              <a:fillRect/>
            </a:stretch>
          </a:blip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 name="TextBox 5">
            <a:extLst>
              <a:ext uri="{FF2B5EF4-FFF2-40B4-BE49-F238E27FC236}">
                <a16:creationId xmlns:a16="http://schemas.microsoft.com/office/drawing/2014/main" id="{6DFBF00C-4ECF-1248-84F2-0D8BC21D4FC5}"/>
              </a:ext>
            </a:extLst>
          </p:cNvPr>
          <p:cNvSpPr txBox="1"/>
          <p:nvPr/>
        </p:nvSpPr>
        <p:spPr>
          <a:xfrm>
            <a:off x="634085" y="5137141"/>
            <a:ext cx="2278188"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zh-CN" sz="1800" b="0" i="0" u="none" strike="noStrike" kern="1200" cap="none" spc="0" normalizeH="0" baseline="0" noProof="0" dirty="0" err="1">
                <a:ln>
                  <a:noFill/>
                </a:ln>
                <a:solidFill>
                  <a:srgbClr val="282828"/>
                </a:solidFill>
                <a:effectLst/>
                <a:uLnTx/>
                <a:uFillTx/>
                <a:latin typeface="CiscoSansTT ExtraLight"/>
                <a:ea typeface="ＭＳ Ｐゴシック" charset="0"/>
              </a:rPr>
              <a:t>network_deploy.yml</a:t>
            </a:r>
            <a:endParaRPr kumimoji="0" lang="en-CN"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Tree>
    <p:extLst>
      <p:ext uri="{BB962C8B-B14F-4D97-AF65-F5344CB8AC3E}">
        <p14:creationId xmlns:p14="http://schemas.microsoft.com/office/powerpoint/2010/main" val="39874682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40" normalizeH="0" baseline="0" noProof="0" dirty="0">
                <a:ln>
                  <a:noFill/>
                </a:ln>
                <a:solidFill>
                  <a:srgbClr val="A6A6A6"/>
                </a:solidFill>
                <a:effectLst/>
                <a:uLnTx/>
                <a:uFillTx/>
                <a:latin typeface="Arial"/>
                <a:ea typeface="ＭＳ Ｐゴシック" charset="0"/>
                <a:cs typeface="Arial"/>
              </a:rPr>
              <a:t>2017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Cisco </a:t>
            </a:r>
            <a:r>
              <a:rPr kumimoji="0" sz="800" b="0" i="0" u="none" strike="noStrike" kern="1200" cap="none" spc="15" normalizeH="0" baseline="0" noProof="0" dirty="0">
                <a:ln>
                  <a:noFill/>
                </a:ln>
                <a:solidFill>
                  <a:srgbClr val="A6A6A6"/>
                </a:solidFill>
                <a:effectLst/>
                <a:uLnTx/>
                <a:uFillTx/>
                <a:latin typeface="Arial"/>
                <a:ea typeface="ＭＳ Ｐゴシック" charset="0"/>
                <a:cs typeface="Arial"/>
              </a:rPr>
              <a:t>and/or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its affiliates.  </a:t>
            </a:r>
            <a:r>
              <a:rPr kumimoji="0" sz="800" b="0" i="0" u="none" strike="noStrike" kern="1200" cap="none" spc="0" normalizeH="0" baseline="0" noProof="0" dirty="0">
                <a:ln>
                  <a:noFill/>
                </a:ln>
                <a:solidFill>
                  <a:srgbClr val="A6A6A6"/>
                </a:solidFill>
                <a:effectLst/>
                <a:uLnTx/>
                <a:uFillTx/>
                <a:latin typeface="Arial"/>
                <a:ea typeface="ＭＳ Ｐゴシック" charset="0"/>
                <a:cs typeface="Arial"/>
              </a:rPr>
              <a:t>All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rights  </a:t>
            </a:r>
            <a:r>
              <a:rPr kumimoji="0" sz="800" b="0" i="0" u="none" strike="noStrike" kern="1200" cap="none" spc="10" normalizeH="0" baseline="0" noProof="0" dirty="0">
                <a:ln>
                  <a:noFill/>
                </a:ln>
                <a:solidFill>
                  <a:srgbClr val="A6A6A6"/>
                </a:solidFill>
                <a:effectLst/>
                <a:uLnTx/>
                <a:uFillTx/>
                <a:latin typeface="Arial"/>
                <a:ea typeface="ＭＳ Ｐゴシック" charset="0"/>
                <a:cs typeface="Arial"/>
              </a:rPr>
              <a:t>reserved.    Cisco</a:t>
            </a:r>
            <a:r>
              <a:rPr kumimoji="0" sz="800" b="0" i="0" u="none" strike="noStrike" kern="1200" cap="none" spc="100" normalizeH="0" baseline="0" noProof="0" dirty="0">
                <a:ln>
                  <a:noFill/>
                </a:ln>
                <a:solidFill>
                  <a:srgbClr val="A6A6A6"/>
                </a:solidFill>
                <a:effectLst/>
                <a:uLnTx/>
                <a:uFillTx/>
                <a:latin typeface="Arial"/>
                <a:ea typeface="ＭＳ Ｐゴシック" charset="0"/>
                <a:cs typeface="Arial"/>
              </a:rPr>
              <a:t> </a:t>
            </a:r>
            <a:r>
              <a:rPr kumimoji="0" sz="800" b="0" i="0" u="none" strike="noStrike" kern="1200" cap="none" spc="5" normalizeH="0" baseline="0" noProof="0" dirty="0">
                <a:ln>
                  <a:noFill/>
                </a:ln>
                <a:solidFill>
                  <a:srgbClr val="A6A6A6"/>
                </a:solidFill>
                <a:effectLst/>
                <a:uLnTx/>
                <a:uFillTx/>
                <a:latin typeface="Arial"/>
                <a:ea typeface="ＭＳ Ｐゴシック" charset="0"/>
                <a:cs typeface="Arial"/>
              </a:rPr>
              <a:t>Confidential</a:t>
            </a:r>
            <a:endParaRPr kumimoji="0" sz="800" b="0" i="0" u="none" strike="noStrike" kern="1200" cap="none" spc="0" normalizeH="0" baseline="0" noProof="0">
              <a:ln>
                <a:noFill/>
              </a:ln>
              <a:solidFill>
                <a:prstClr val="black"/>
              </a:solidFill>
              <a:effectLst/>
              <a:uLnTx/>
              <a:uFillTx/>
              <a:latin typeface="Arial"/>
              <a:ea typeface="ＭＳ Ｐゴシック" charset="0"/>
              <a:cs typeface="Arial"/>
            </a:endParaRPr>
          </a:p>
        </p:txBody>
      </p:sp>
      <p:sp>
        <p:nvSpPr>
          <p:cNvPr id="3" name="object 3"/>
          <p:cNvSpPr txBox="1"/>
          <p:nvPr/>
        </p:nvSpPr>
        <p:spPr>
          <a:xfrm>
            <a:off x="774903" y="1623441"/>
            <a:ext cx="4667250" cy="2162810"/>
          </a:xfrm>
          <a:prstGeom prst="rect">
            <a:avLst/>
          </a:prstGeom>
        </p:spPr>
        <p:txBody>
          <a:bodyPr vert="horz" wrap="square" lIns="0" tIns="12700" rIns="0" bIns="0" rtlCol="0">
            <a:spAutoFit/>
          </a:bodyPr>
          <a:lstStyle/>
          <a:p>
            <a:pPr marL="167640" marR="0" lvl="0" indent="-154940" algn="l" defTabSz="914400" rtl="0" eaLnBrk="1" fontAlgn="auto" latinLnBrk="0" hangingPunct="1">
              <a:lnSpc>
                <a:spcPts val="2810"/>
              </a:lnSpc>
              <a:spcBef>
                <a:spcPts val="100"/>
              </a:spcBef>
              <a:spcAft>
                <a:spcPts val="0"/>
              </a:spcAft>
              <a:buClrTx/>
              <a:buSzPct val="58333"/>
              <a:buFontTx/>
              <a:buChar char="•"/>
              <a:tabLst>
                <a:tab pos="168275" algn="l"/>
              </a:tabLst>
              <a:defRPr/>
            </a:pPr>
            <a:r>
              <a:rPr kumimoji="0" sz="2400" b="0" i="0" u="none" strike="noStrike" kern="1200" cap="none" spc="-30" normalizeH="0" baseline="0" noProof="0" dirty="0">
                <a:ln>
                  <a:noFill/>
                </a:ln>
                <a:solidFill>
                  <a:srgbClr val="282828"/>
                </a:solidFill>
                <a:effectLst/>
                <a:uLnTx/>
                <a:uFillTx/>
                <a:latin typeface="Arial"/>
                <a:ea typeface="ＭＳ Ｐゴシック" charset="0"/>
                <a:cs typeface="Arial"/>
              </a:rPr>
              <a:t>Reusable </a:t>
            </a:r>
            <a:r>
              <a:rPr kumimoji="0" sz="2400" b="0" i="0" u="none" strike="noStrike" kern="1200" cap="none" spc="0" normalizeH="0" baseline="0" noProof="0" dirty="0">
                <a:ln>
                  <a:noFill/>
                </a:ln>
                <a:solidFill>
                  <a:srgbClr val="282828"/>
                </a:solidFill>
                <a:effectLst/>
                <a:uLnTx/>
                <a:uFillTx/>
                <a:latin typeface="Arial"/>
                <a:ea typeface="ＭＳ Ｐゴシック" charset="0"/>
                <a:cs typeface="Arial"/>
              </a:rPr>
              <a:t>roles </a:t>
            </a:r>
            <a:r>
              <a:rPr kumimoji="0" sz="2400" b="0" i="0" u="none" strike="noStrike" kern="1200" cap="none" spc="25" normalizeH="0" baseline="0" noProof="0" dirty="0">
                <a:ln>
                  <a:noFill/>
                </a:ln>
                <a:solidFill>
                  <a:srgbClr val="282828"/>
                </a:solidFill>
                <a:effectLst/>
                <a:uLnTx/>
                <a:uFillTx/>
                <a:latin typeface="Arial"/>
                <a:ea typeface="ＭＳ Ｐゴシック" charset="0"/>
                <a:cs typeface="Arial"/>
              </a:rPr>
              <a:t>target</a:t>
            </a:r>
            <a:r>
              <a:rPr kumimoji="0" sz="2400" b="0" i="0" u="none" strike="noStrike" kern="1200" cap="none" spc="150" normalizeH="0" baseline="0" noProof="0" dirty="0">
                <a:ln>
                  <a:noFill/>
                </a:ln>
                <a:solidFill>
                  <a:srgbClr val="282828"/>
                </a:solidFill>
                <a:effectLst/>
                <a:uLnTx/>
                <a:uFillTx/>
                <a:latin typeface="Arial"/>
                <a:ea typeface="ＭＳ Ｐゴシック" charset="0"/>
                <a:cs typeface="Arial"/>
              </a:rPr>
              <a:t> </a:t>
            </a:r>
            <a:r>
              <a:rPr kumimoji="0" sz="2400" b="0" i="0" u="none" strike="noStrike" kern="1200" cap="none" spc="25" normalizeH="0" baseline="0" noProof="0" dirty="0">
                <a:ln>
                  <a:noFill/>
                </a:ln>
                <a:solidFill>
                  <a:srgbClr val="282828"/>
                </a:solidFill>
                <a:effectLst/>
                <a:uLnTx/>
                <a:uFillTx/>
                <a:latin typeface="Arial"/>
                <a:ea typeface="ＭＳ Ｐゴシック" charset="0"/>
                <a:cs typeface="Arial"/>
              </a:rPr>
              <a:t>specific</a:t>
            </a:r>
            <a:endParaRPr kumimoji="0" sz="2400" b="0" i="0" u="none" strike="noStrike" kern="1200" cap="none" spc="0" normalizeH="0" baseline="0" noProof="0">
              <a:ln>
                <a:noFill/>
              </a:ln>
              <a:solidFill>
                <a:prstClr val="black"/>
              </a:solidFill>
              <a:effectLst/>
              <a:uLnTx/>
              <a:uFillTx/>
              <a:latin typeface="Arial"/>
              <a:ea typeface="ＭＳ Ｐゴシック" charset="0"/>
              <a:cs typeface="Arial"/>
            </a:endParaRPr>
          </a:p>
          <a:p>
            <a:pPr marL="167640" marR="0" lvl="0" indent="0" algn="l" defTabSz="914400" rtl="0" eaLnBrk="1" fontAlgn="auto" latinLnBrk="0" hangingPunct="1">
              <a:lnSpc>
                <a:spcPts val="2810"/>
              </a:lnSpc>
              <a:spcBef>
                <a:spcPts val="0"/>
              </a:spcBef>
              <a:spcAft>
                <a:spcPts val="0"/>
              </a:spcAft>
              <a:buClrTx/>
              <a:buSzTx/>
              <a:buFontTx/>
              <a:buNone/>
              <a:tabLst/>
              <a:defRPr/>
            </a:pPr>
            <a:r>
              <a:rPr kumimoji="0" sz="2400" b="0" i="0" u="none" strike="noStrike" kern="1200" cap="none" spc="25" normalizeH="0" baseline="0" noProof="0" dirty="0">
                <a:ln>
                  <a:noFill/>
                </a:ln>
                <a:solidFill>
                  <a:srgbClr val="282828"/>
                </a:solidFill>
                <a:effectLst/>
                <a:uLnTx/>
                <a:uFillTx/>
                <a:latin typeface="Arial"/>
                <a:ea typeface="ＭＳ Ｐゴシック" charset="0"/>
                <a:cs typeface="Arial"/>
              </a:rPr>
              <a:t>network</a:t>
            </a:r>
            <a:r>
              <a:rPr kumimoji="0" sz="2400" b="0" i="0" u="none" strike="noStrike" kern="1200" cap="none" spc="60" normalizeH="0" baseline="0" noProof="0" dirty="0">
                <a:ln>
                  <a:noFill/>
                </a:ln>
                <a:solidFill>
                  <a:srgbClr val="282828"/>
                </a:solidFill>
                <a:effectLst/>
                <a:uLnTx/>
                <a:uFillTx/>
                <a:latin typeface="Arial"/>
                <a:ea typeface="ＭＳ Ｐゴシック" charset="0"/>
                <a:cs typeface="Arial"/>
              </a:rPr>
              <a:t> </a:t>
            </a:r>
            <a:r>
              <a:rPr kumimoji="0" sz="2400" b="0" i="0" u="none" strike="noStrike" kern="1200" cap="none" spc="5" normalizeH="0" baseline="0" noProof="0" dirty="0">
                <a:ln>
                  <a:noFill/>
                </a:ln>
                <a:solidFill>
                  <a:srgbClr val="282828"/>
                </a:solidFill>
                <a:effectLst/>
                <a:uLnTx/>
                <a:uFillTx/>
                <a:latin typeface="Arial"/>
                <a:ea typeface="ＭＳ Ｐゴシック" charset="0"/>
                <a:cs typeface="Arial"/>
              </a:rPr>
              <a:t>configuration</a:t>
            </a:r>
            <a:endParaRPr kumimoji="0" sz="2400" b="0" i="0" u="none" strike="noStrike" kern="1200" cap="none" spc="0" normalizeH="0" baseline="0" noProof="0">
              <a:ln>
                <a:noFill/>
              </a:ln>
              <a:solidFill>
                <a:prstClr val="black"/>
              </a:solidFill>
              <a:effectLst/>
              <a:uLnTx/>
              <a:uFillTx/>
              <a:latin typeface="Arial"/>
              <a:ea typeface="ＭＳ Ｐゴシック" charset="0"/>
              <a:cs typeface="Arial"/>
            </a:endParaRPr>
          </a:p>
          <a:p>
            <a:pPr marL="167640" marR="0" lvl="0" indent="-154940" algn="l" defTabSz="914400" rtl="0" eaLnBrk="1" fontAlgn="auto" latinLnBrk="0" hangingPunct="1">
              <a:lnSpc>
                <a:spcPct val="100000"/>
              </a:lnSpc>
              <a:spcBef>
                <a:spcPts val="1370"/>
              </a:spcBef>
              <a:spcAft>
                <a:spcPts val="0"/>
              </a:spcAft>
              <a:buClrTx/>
              <a:buSzPct val="60416"/>
              <a:buFontTx/>
              <a:buChar char="•"/>
              <a:tabLst>
                <a:tab pos="168275" algn="l"/>
              </a:tabLst>
              <a:defRPr/>
            </a:pPr>
            <a:r>
              <a:rPr kumimoji="0" sz="2400" b="0" i="0" u="none" strike="noStrike" kern="1200" cap="none" spc="0" normalizeH="0" baseline="0" noProof="0" dirty="0">
                <a:ln>
                  <a:noFill/>
                </a:ln>
                <a:solidFill>
                  <a:srgbClr val="282828"/>
                </a:solidFill>
                <a:effectLst/>
                <a:uLnTx/>
                <a:uFillTx/>
                <a:latin typeface="Arial"/>
                <a:ea typeface="ＭＳ Ｐゴシック" charset="0"/>
                <a:cs typeface="Arial"/>
              </a:rPr>
              <a:t>Start </a:t>
            </a:r>
            <a:r>
              <a:rPr kumimoji="0" sz="2400" b="0" i="0" u="none" strike="noStrike" kern="1200" cap="none" spc="25" normalizeH="0" baseline="0" noProof="0" dirty="0">
                <a:ln>
                  <a:noFill/>
                </a:ln>
                <a:solidFill>
                  <a:srgbClr val="282828"/>
                </a:solidFill>
                <a:effectLst/>
                <a:uLnTx/>
                <a:uFillTx/>
                <a:latin typeface="Arial"/>
                <a:ea typeface="ＭＳ Ｐゴシック" charset="0"/>
                <a:cs typeface="Arial"/>
              </a:rPr>
              <a:t>with </a:t>
            </a:r>
            <a:r>
              <a:rPr kumimoji="0" sz="2400" b="0" i="0" u="none" strike="noStrike" kern="1200" cap="none" spc="-5" normalizeH="0" baseline="0" noProof="0" dirty="0">
                <a:ln>
                  <a:noFill/>
                </a:ln>
                <a:solidFill>
                  <a:srgbClr val="282828"/>
                </a:solidFill>
                <a:effectLst/>
                <a:uLnTx/>
                <a:uFillTx/>
                <a:latin typeface="Arial"/>
                <a:ea typeface="ＭＳ Ｐゴシック" charset="0"/>
                <a:cs typeface="Arial"/>
              </a:rPr>
              <a:t>enabling </a:t>
            </a:r>
            <a:r>
              <a:rPr kumimoji="0" sz="2400" b="0" i="0" u="none" strike="noStrike" kern="1200" cap="none" spc="-65" normalizeH="0" baseline="0" noProof="0" dirty="0">
                <a:ln>
                  <a:noFill/>
                </a:ln>
                <a:solidFill>
                  <a:srgbClr val="282828"/>
                </a:solidFill>
                <a:effectLst/>
                <a:uLnTx/>
                <a:uFillTx/>
                <a:latin typeface="Arial"/>
                <a:ea typeface="ＭＳ Ｐゴシック" charset="0"/>
                <a:cs typeface="Arial"/>
              </a:rPr>
              <a:t>APIs </a:t>
            </a:r>
            <a:r>
              <a:rPr kumimoji="0" sz="2400" b="0" i="0" u="none" strike="noStrike" kern="1200" cap="none" spc="25" normalizeH="0" baseline="0" noProof="0" dirty="0">
                <a:ln>
                  <a:noFill/>
                </a:ln>
                <a:solidFill>
                  <a:srgbClr val="282828"/>
                </a:solidFill>
                <a:effectLst/>
                <a:uLnTx/>
                <a:uFillTx/>
                <a:latin typeface="Arial"/>
                <a:ea typeface="ＭＳ Ｐゴシック" charset="0"/>
                <a:cs typeface="Arial"/>
              </a:rPr>
              <a:t>for</a:t>
            </a:r>
            <a:r>
              <a:rPr kumimoji="0" sz="2400" b="0" i="0" u="none" strike="noStrike" kern="1200" cap="none" spc="280" normalizeH="0" baseline="0" noProof="0" dirty="0">
                <a:ln>
                  <a:noFill/>
                </a:ln>
                <a:solidFill>
                  <a:srgbClr val="282828"/>
                </a:solidFill>
                <a:effectLst/>
                <a:uLnTx/>
                <a:uFillTx/>
                <a:latin typeface="Arial"/>
                <a:ea typeface="ＭＳ Ｐゴシック" charset="0"/>
                <a:cs typeface="Arial"/>
              </a:rPr>
              <a:t> </a:t>
            </a:r>
            <a:r>
              <a:rPr kumimoji="0" sz="2400" b="0" i="0" u="none" strike="noStrike" kern="1200" cap="none" spc="0" normalizeH="0" baseline="0" noProof="0" dirty="0">
                <a:ln>
                  <a:noFill/>
                </a:ln>
                <a:solidFill>
                  <a:srgbClr val="282828"/>
                </a:solidFill>
                <a:effectLst/>
                <a:uLnTx/>
                <a:uFillTx/>
                <a:latin typeface="Arial"/>
                <a:ea typeface="ＭＳ Ｐゴシック" charset="0"/>
                <a:cs typeface="Arial"/>
              </a:rPr>
              <a:t>use</a:t>
            </a:r>
            <a:endParaRPr kumimoji="0" sz="2400" b="0" i="0" u="none" strike="noStrike" kern="1200" cap="none" spc="0" normalizeH="0" baseline="0" noProof="0">
              <a:ln>
                <a:noFill/>
              </a:ln>
              <a:solidFill>
                <a:prstClr val="black"/>
              </a:solidFill>
              <a:effectLst/>
              <a:uLnTx/>
              <a:uFillTx/>
              <a:latin typeface="Arial"/>
              <a:ea typeface="ＭＳ Ｐゴシック" charset="0"/>
              <a:cs typeface="Arial"/>
            </a:endParaRPr>
          </a:p>
          <a:p>
            <a:pPr marL="167640" marR="0" lvl="0" indent="-154940" algn="l" defTabSz="914400" rtl="0" eaLnBrk="1" fontAlgn="auto" latinLnBrk="0" hangingPunct="1">
              <a:lnSpc>
                <a:spcPts val="2810"/>
              </a:lnSpc>
              <a:spcBef>
                <a:spcPts val="1345"/>
              </a:spcBef>
              <a:spcAft>
                <a:spcPts val="0"/>
              </a:spcAft>
              <a:buClrTx/>
              <a:buSzPct val="58333"/>
              <a:buFontTx/>
              <a:buChar char="•"/>
              <a:tabLst>
                <a:tab pos="168275" algn="l"/>
              </a:tabLst>
              <a:defRPr/>
            </a:pPr>
            <a:r>
              <a:rPr kumimoji="0" sz="2400" b="0" i="0" u="none" strike="noStrike" kern="1200" cap="none" spc="5" normalizeH="0" baseline="0" noProof="0" dirty="0">
                <a:ln>
                  <a:noFill/>
                </a:ln>
                <a:solidFill>
                  <a:srgbClr val="282828"/>
                </a:solidFill>
                <a:effectLst/>
                <a:uLnTx/>
                <a:uFillTx/>
                <a:latin typeface="Arial"/>
                <a:ea typeface="ＭＳ Ｐゴシック" charset="0"/>
                <a:cs typeface="Arial"/>
              </a:rPr>
              <a:t>Different </a:t>
            </a:r>
            <a:r>
              <a:rPr kumimoji="0" sz="2400" b="0" i="0" u="none" strike="noStrike" kern="1200" cap="none" spc="15" normalizeH="0" baseline="0" noProof="0" dirty="0">
                <a:ln>
                  <a:noFill/>
                </a:ln>
                <a:solidFill>
                  <a:srgbClr val="282828"/>
                </a:solidFill>
                <a:effectLst/>
                <a:uLnTx/>
                <a:uFillTx/>
                <a:latin typeface="Arial"/>
                <a:ea typeface="ＭＳ Ｐゴシック" charset="0"/>
                <a:cs typeface="Arial"/>
              </a:rPr>
              <a:t>groups </a:t>
            </a:r>
            <a:r>
              <a:rPr kumimoji="0" sz="2400" b="0" i="0" u="none" strike="noStrike" kern="1200" cap="none" spc="0" normalizeH="0" baseline="0" noProof="0" dirty="0">
                <a:ln>
                  <a:noFill/>
                </a:ln>
                <a:solidFill>
                  <a:srgbClr val="282828"/>
                </a:solidFill>
                <a:effectLst/>
                <a:uLnTx/>
                <a:uFillTx/>
                <a:latin typeface="Arial"/>
                <a:ea typeface="ＭＳ Ｐゴシック" charset="0"/>
                <a:cs typeface="Arial"/>
              </a:rPr>
              <a:t>will </a:t>
            </a:r>
            <a:r>
              <a:rPr kumimoji="0" sz="2400" b="0" i="0" u="none" strike="noStrike" kern="1200" cap="none" spc="50" normalizeH="0" baseline="0" noProof="0" dirty="0">
                <a:ln>
                  <a:noFill/>
                </a:ln>
                <a:solidFill>
                  <a:srgbClr val="282828"/>
                </a:solidFill>
                <a:effectLst/>
                <a:uLnTx/>
                <a:uFillTx/>
                <a:latin typeface="Arial"/>
                <a:ea typeface="ＭＳ Ｐゴシック" charset="0"/>
                <a:cs typeface="Arial"/>
              </a:rPr>
              <a:t>get</a:t>
            </a:r>
            <a:r>
              <a:rPr kumimoji="0" sz="2400" b="0" i="0" u="none" strike="noStrike" kern="1200" cap="none" spc="165" normalizeH="0" baseline="0" noProof="0" dirty="0">
                <a:ln>
                  <a:noFill/>
                </a:ln>
                <a:solidFill>
                  <a:srgbClr val="282828"/>
                </a:solidFill>
                <a:effectLst/>
                <a:uLnTx/>
                <a:uFillTx/>
                <a:latin typeface="Arial"/>
                <a:ea typeface="ＭＳ Ｐゴシック" charset="0"/>
                <a:cs typeface="Arial"/>
              </a:rPr>
              <a:t> </a:t>
            </a:r>
            <a:r>
              <a:rPr kumimoji="0" sz="2400" b="0" i="0" u="none" strike="noStrike" kern="1200" cap="none" spc="25" normalizeH="0" baseline="0" noProof="0" dirty="0">
                <a:ln>
                  <a:noFill/>
                </a:ln>
                <a:solidFill>
                  <a:srgbClr val="282828"/>
                </a:solidFill>
                <a:effectLst/>
                <a:uLnTx/>
                <a:uFillTx/>
                <a:latin typeface="Arial"/>
                <a:ea typeface="ＭＳ Ｐゴシック" charset="0"/>
                <a:cs typeface="Arial"/>
              </a:rPr>
              <a:t>different</a:t>
            </a:r>
            <a:endParaRPr kumimoji="0" sz="2400" b="0" i="0" u="none" strike="noStrike" kern="1200" cap="none" spc="0" normalizeH="0" baseline="0" noProof="0">
              <a:ln>
                <a:noFill/>
              </a:ln>
              <a:solidFill>
                <a:prstClr val="black"/>
              </a:solidFill>
              <a:effectLst/>
              <a:uLnTx/>
              <a:uFillTx/>
              <a:latin typeface="Arial"/>
              <a:ea typeface="ＭＳ Ｐゴシック" charset="0"/>
              <a:cs typeface="Arial"/>
            </a:endParaRPr>
          </a:p>
          <a:p>
            <a:pPr marL="167640" marR="0" lvl="0" indent="0" algn="l" defTabSz="914400" rtl="0" eaLnBrk="1" fontAlgn="auto" latinLnBrk="0" hangingPunct="1">
              <a:lnSpc>
                <a:spcPts val="2810"/>
              </a:lnSpc>
              <a:spcBef>
                <a:spcPts val="0"/>
              </a:spcBef>
              <a:spcAft>
                <a:spcPts val="0"/>
              </a:spcAft>
              <a:buClrTx/>
              <a:buSzTx/>
              <a:buFontTx/>
              <a:buNone/>
              <a:tabLst/>
              <a:defRPr/>
            </a:pPr>
            <a:r>
              <a:rPr kumimoji="0" sz="2400" b="0" i="0" u="none" strike="noStrike" kern="1200" cap="none" spc="0" normalizeH="0" baseline="0" noProof="0" dirty="0">
                <a:ln>
                  <a:noFill/>
                </a:ln>
                <a:solidFill>
                  <a:srgbClr val="282828"/>
                </a:solidFill>
                <a:effectLst/>
                <a:uLnTx/>
                <a:uFillTx/>
                <a:latin typeface="Arial"/>
                <a:ea typeface="ＭＳ Ｐゴシック" charset="0"/>
                <a:cs typeface="Arial"/>
              </a:rPr>
              <a:t>roles</a:t>
            </a:r>
            <a:endParaRPr kumimoji="0" sz="2400" b="0" i="0" u="none" strike="noStrike" kern="1200" cap="none" spc="0" normalizeH="0" baseline="0" noProof="0">
              <a:ln>
                <a:noFill/>
              </a:ln>
              <a:solidFill>
                <a:prstClr val="black"/>
              </a:solidFill>
              <a:effectLst/>
              <a:uLnTx/>
              <a:uFillTx/>
              <a:latin typeface="Arial"/>
              <a:ea typeface="ＭＳ Ｐゴシック" charset="0"/>
              <a:cs typeface="Arial"/>
            </a:endParaRPr>
          </a:p>
        </p:txBody>
      </p:sp>
      <p:sp>
        <p:nvSpPr>
          <p:cNvPr id="4" name="object 4"/>
          <p:cNvSpPr/>
          <p:nvPr/>
        </p:nvSpPr>
        <p:spPr>
          <a:xfrm>
            <a:off x="6350726" y="1183766"/>
            <a:ext cx="5547360" cy="4735613"/>
          </a:xfrm>
          <a:custGeom>
            <a:avLst/>
            <a:gdLst/>
            <a:ahLst/>
            <a:cxnLst/>
            <a:rect l="l" t="t" r="r" b="b"/>
            <a:pathLst>
              <a:path w="5547359" h="4861560">
                <a:moveTo>
                  <a:pt x="0" y="4861560"/>
                </a:moveTo>
                <a:lnTo>
                  <a:pt x="5547360" y="4861560"/>
                </a:lnTo>
                <a:lnTo>
                  <a:pt x="5547360" y="0"/>
                </a:lnTo>
                <a:lnTo>
                  <a:pt x="0" y="0"/>
                </a:lnTo>
                <a:lnTo>
                  <a:pt x="0" y="4861560"/>
                </a:lnTo>
                <a:close/>
              </a:path>
            </a:pathLst>
          </a:custGeom>
          <a:solidFill>
            <a:srgbClr val="282828"/>
          </a:solidFill>
        </p:spPr>
        <p:txBody>
          <a:bodyPr wrap="square" lIns="0" tIns="0" rIns="0" bIns="0" rtlCol="0"/>
          <a:lstStyle/>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ansible.cfg</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lt;&lt;</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ansible</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config</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file</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bgp_temp.j2</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config</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group_vars</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lt;&lt;</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group</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variables</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all.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c9k.yml</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csr.yml</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host_vars</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lt;&lt;</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host</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variables</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10.124.38.14.yml</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10.124.41.180.yml</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10.124.41.193.yml</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hosts</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lt;&lt;</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inventory</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file</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playbooks</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lt;&lt;</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playbooks</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enable_api_demo.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ios_facts_demo.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network_deploy.yml</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lt;&lt;</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demo</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playbook</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template_demo.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var_demo.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roles</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lt;&lt;</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roles</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zh-CN" alt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altLang="zh-CN" sz="1400" dirty="0">
                <a:solidFill>
                  <a:schemeClr val="bg1"/>
                </a:solidFill>
                <a:latin typeface="Menlo" panose="020B0609030804020204" pitchFamily="49" charset="0"/>
                <a:ea typeface="Menlo" panose="020B0609030804020204" pitchFamily="49" charset="0"/>
                <a:cs typeface="Menlo" panose="020B0609030804020204" pitchFamily="49" charset="0"/>
              </a:rPr>
              <a:t>&lt;sniped&gt;</a:t>
            </a:r>
            <a:endParaRPr kumimoji="0" sz="1400" b="0" i="0" u="none" strike="noStrike" kern="1200" cap="none" spc="0" normalizeH="0" baseline="0" noProof="0" dirty="0">
              <a:ln>
                <a:noFill/>
              </a:ln>
              <a:solidFill>
                <a:schemeClr val="bg1"/>
              </a:solidFill>
              <a:effectLst/>
              <a:uLnTx/>
              <a:uFillTx/>
              <a:latin typeface="Menlo" panose="020B0609030804020204" pitchFamily="49" charset="0"/>
              <a:ea typeface="Menlo" panose="020B0609030804020204" pitchFamily="49" charset="0"/>
              <a:cs typeface="Menlo" panose="020B0609030804020204" pitchFamily="49" charset="0"/>
            </a:endParaRPr>
          </a:p>
        </p:txBody>
      </p:sp>
      <p:sp>
        <p:nvSpPr>
          <p:cNvPr id="6" name="object 6"/>
          <p:cNvSpPr txBox="1">
            <a:spLocks noGrp="1"/>
          </p:cNvSpPr>
          <p:nvPr>
            <p:ph type="title"/>
          </p:nvPr>
        </p:nvSpPr>
        <p:spPr>
          <a:xfrm>
            <a:off x="662736" y="587501"/>
            <a:ext cx="5534025" cy="596265"/>
          </a:xfrm>
          <a:prstGeom prst="rect">
            <a:avLst/>
          </a:prstGeom>
        </p:spPr>
        <p:txBody>
          <a:bodyPr vert="horz" wrap="square" lIns="0" tIns="12065" rIns="0" bIns="0" rtlCol="0">
            <a:spAutoFit/>
          </a:bodyPr>
          <a:lstStyle/>
          <a:p>
            <a:pPr marL="12700">
              <a:lnSpc>
                <a:spcPct val="100000"/>
              </a:lnSpc>
              <a:spcBef>
                <a:spcPts val="95"/>
              </a:spcBef>
            </a:pPr>
            <a:r>
              <a:rPr spc="-10" dirty="0"/>
              <a:t>Ansible </a:t>
            </a:r>
            <a:r>
              <a:rPr lang="en-US" altLang="zh-CN" spc="-70" dirty="0"/>
              <a:t>Working</a:t>
            </a:r>
            <a:r>
              <a:rPr lang="zh-CN" altLang="en-US" spc="-70" dirty="0"/>
              <a:t> </a:t>
            </a:r>
            <a:r>
              <a:rPr lang="en-US" altLang="zh-CN" spc="-70" dirty="0"/>
              <a:t>Directory</a:t>
            </a:r>
            <a:endParaRPr spc="-25" dirty="0"/>
          </a:p>
        </p:txBody>
      </p:sp>
    </p:spTree>
    <p:extLst>
      <p:ext uri="{BB962C8B-B14F-4D97-AF65-F5344CB8AC3E}">
        <p14:creationId xmlns:p14="http://schemas.microsoft.com/office/powerpoint/2010/main" val="2953714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91410B-5DD0-BE4F-B12F-737A13614620}"/>
              </a:ext>
            </a:extLst>
          </p:cNvPr>
          <p:cNvSpPr>
            <a:spLocks noGrp="1"/>
          </p:cNvSpPr>
          <p:nvPr>
            <p:ph type="ctrTitle"/>
          </p:nvPr>
        </p:nvSpPr>
        <p:spPr/>
        <p:txBody>
          <a:bodyPr/>
          <a:lstStyle/>
          <a:p>
            <a:r>
              <a:rPr lang="en-US" altLang="zh-CN" dirty="0"/>
              <a:t>DevOps</a:t>
            </a:r>
            <a:r>
              <a:rPr lang="zh-CN" altLang="en-US" dirty="0"/>
              <a:t> </a:t>
            </a:r>
            <a:r>
              <a:rPr lang="en-US" altLang="zh-CN" dirty="0"/>
              <a:t>&amp;</a:t>
            </a:r>
            <a:r>
              <a:rPr lang="zh-CN" altLang="en-US" dirty="0"/>
              <a:t> </a:t>
            </a:r>
            <a:r>
              <a:rPr lang="en-US" altLang="zh-CN" dirty="0" err="1"/>
              <a:t>NetDevOps</a:t>
            </a:r>
            <a:endParaRPr lang="en-CN" dirty="0"/>
          </a:p>
        </p:txBody>
      </p:sp>
    </p:spTree>
    <p:extLst>
      <p:ext uri="{BB962C8B-B14F-4D97-AF65-F5344CB8AC3E}">
        <p14:creationId xmlns:p14="http://schemas.microsoft.com/office/powerpoint/2010/main" val="32259293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706627" y="6355181"/>
            <a:ext cx="3641090" cy="14668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800" b="0" i="0" u="none" strike="noStrike" kern="1200" cap="none" spc="80" normalizeH="0" baseline="0" noProof="0" dirty="0">
                <a:ln>
                  <a:noFill/>
                </a:ln>
                <a:solidFill>
                  <a:srgbClr val="A6A6A6"/>
                </a:solidFill>
                <a:effectLst/>
                <a:uLnTx/>
                <a:uFillTx/>
                <a:latin typeface="Arial"/>
                <a:ea typeface="+mn-ea"/>
                <a:cs typeface="Arial"/>
              </a:rPr>
              <a:t>© </a:t>
            </a:r>
            <a:r>
              <a:rPr kumimoji="0" sz="800" b="0" i="0" u="none" strike="noStrike" kern="1200" cap="none" spc="40" normalizeH="0" baseline="0" noProof="0" dirty="0">
                <a:ln>
                  <a:noFill/>
                </a:ln>
                <a:solidFill>
                  <a:srgbClr val="A6A6A6"/>
                </a:solidFill>
                <a:effectLst/>
                <a:uLnTx/>
                <a:uFillTx/>
                <a:latin typeface="Arial"/>
                <a:ea typeface="+mn-ea"/>
                <a:cs typeface="Arial"/>
              </a:rPr>
              <a:t>2017  </a:t>
            </a:r>
            <a:r>
              <a:rPr kumimoji="0" sz="800" b="0" i="0" u="none" strike="noStrike" kern="1200" cap="none" spc="10" normalizeH="0" baseline="0" noProof="0" dirty="0">
                <a:ln>
                  <a:noFill/>
                </a:ln>
                <a:solidFill>
                  <a:srgbClr val="A6A6A6"/>
                </a:solidFill>
                <a:effectLst/>
                <a:uLnTx/>
                <a:uFillTx/>
                <a:latin typeface="Arial"/>
                <a:ea typeface="+mn-ea"/>
                <a:cs typeface="Arial"/>
              </a:rPr>
              <a:t>Cisco </a:t>
            </a:r>
            <a:r>
              <a:rPr kumimoji="0" sz="800" b="0" i="0" u="none" strike="noStrike" kern="1200" cap="none" spc="15" normalizeH="0" baseline="0" noProof="0" dirty="0">
                <a:ln>
                  <a:noFill/>
                </a:ln>
                <a:solidFill>
                  <a:srgbClr val="A6A6A6"/>
                </a:solidFill>
                <a:effectLst/>
                <a:uLnTx/>
                <a:uFillTx/>
                <a:latin typeface="Arial"/>
                <a:ea typeface="+mn-ea"/>
                <a:cs typeface="Arial"/>
              </a:rPr>
              <a:t>and/or  </a:t>
            </a:r>
            <a:r>
              <a:rPr kumimoji="0" sz="800" b="0" i="0" u="none" strike="noStrike" kern="1200" cap="none" spc="5" normalizeH="0" baseline="0" noProof="0" dirty="0">
                <a:ln>
                  <a:noFill/>
                </a:ln>
                <a:solidFill>
                  <a:srgbClr val="A6A6A6"/>
                </a:solidFill>
                <a:effectLst/>
                <a:uLnTx/>
                <a:uFillTx/>
                <a:latin typeface="Arial"/>
                <a:ea typeface="+mn-ea"/>
                <a:cs typeface="Arial"/>
              </a:rPr>
              <a:t>its affiliates.  </a:t>
            </a:r>
            <a:r>
              <a:rPr kumimoji="0" sz="800" b="0" i="0" u="none" strike="noStrike" kern="1200" cap="none" spc="0" normalizeH="0" baseline="0" noProof="0" dirty="0">
                <a:ln>
                  <a:noFill/>
                </a:ln>
                <a:solidFill>
                  <a:srgbClr val="A6A6A6"/>
                </a:solidFill>
                <a:effectLst/>
                <a:uLnTx/>
                <a:uFillTx/>
                <a:latin typeface="Arial"/>
                <a:ea typeface="+mn-ea"/>
                <a:cs typeface="Arial"/>
              </a:rPr>
              <a:t>All </a:t>
            </a:r>
            <a:r>
              <a:rPr kumimoji="0" sz="800" b="0" i="0" u="none" strike="noStrike" kern="1200" cap="none" spc="5" normalizeH="0" baseline="0" noProof="0" dirty="0">
                <a:ln>
                  <a:noFill/>
                </a:ln>
                <a:solidFill>
                  <a:srgbClr val="A6A6A6"/>
                </a:solidFill>
                <a:effectLst/>
                <a:uLnTx/>
                <a:uFillTx/>
                <a:latin typeface="Arial"/>
                <a:ea typeface="+mn-ea"/>
                <a:cs typeface="Arial"/>
              </a:rPr>
              <a:t>rights  </a:t>
            </a:r>
            <a:r>
              <a:rPr kumimoji="0" sz="800" b="0" i="0" u="none" strike="noStrike" kern="1200" cap="none" spc="10" normalizeH="0" baseline="0" noProof="0" dirty="0">
                <a:ln>
                  <a:noFill/>
                </a:ln>
                <a:solidFill>
                  <a:srgbClr val="A6A6A6"/>
                </a:solidFill>
                <a:effectLst/>
                <a:uLnTx/>
                <a:uFillTx/>
                <a:latin typeface="Arial"/>
                <a:ea typeface="+mn-ea"/>
                <a:cs typeface="Arial"/>
              </a:rPr>
              <a:t>reserved.    Cisco</a:t>
            </a:r>
            <a:r>
              <a:rPr kumimoji="0" sz="800" b="0" i="0" u="none" strike="noStrike" kern="1200" cap="none" spc="100" normalizeH="0" baseline="0" noProof="0" dirty="0">
                <a:ln>
                  <a:noFill/>
                </a:ln>
                <a:solidFill>
                  <a:srgbClr val="A6A6A6"/>
                </a:solidFill>
                <a:effectLst/>
                <a:uLnTx/>
                <a:uFillTx/>
                <a:latin typeface="Arial"/>
                <a:ea typeface="+mn-ea"/>
                <a:cs typeface="Arial"/>
              </a:rPr>
              <a:t> </a:t>
            </a:r>
            <a:r>
              <a:rPr kumimoji="0" sz="800" b="0" i="0" u="none" strike="noStrike" kern="1200" cap="none" spc="5" normalizeH="0" baseline="0" noProof="0" dirty="0">
                <a:ln>
                  <a:noFill/>
                </a:ln>
                <a:solidFill>
                  <a:srgbClr val="A6A6A6"/>
                </a:solidFill>
                <a:effectLst/>
                <a:uLnTx/>
                <a:uFillTx/>
                <a:latin typeface="Arial"/>
                <a:ea typeface="+mn-ea"/>
                <a:cs typeface="Arial"/>
              </a:rPr>
              <a:t>Confidentia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p:nvPr/>
        </p:nvSpPr>
        <p:spPr>
          <a:xfrm>
            <a:off x="774903" y="1623441"/>
            <a:ext cx="4667250" cy="2162810"/>
          </a:xfrm>
          <a:prstGeom prst="rect">
            <a:avLst/>
          </a:prstGeom>
        </p:spPr>
        <p:txBody>
          <a:bodyPr vert="horz" wrap="square" lIns="0" tIns="12700" rIns="0" bIns="0" rtlCol="0">
            <a:spAutoFit/>
          </a:bodyPr>
          <a:lstStyle/>
          <a:p>
            <a:pPr marL="167640" marR="0" lvl="0" indent="-154940" algn="l" defTabSz="914400" rtl="0" eaLnBrk="1" fontAlgn="auto" latinLnBrk="0" hangingPunct="1">
              <a:lnSpc>
                <a:spcPts val="2810"/>
              </a:lnSpc>
              <a:spcBef>
                <a:spcPts val="100"/>
              </a:spcBef>
              <a:spcAft>
                <a:spcPts val="0"/>
              </a:spcAft>
              <a:buClrTx/>
              <a:buSzPct val="58333"/>
              <a:buFontTx/>
              <a:buChar char="•"/>
              <a:tabLst>
                <a:tab pos="168275" algn="l"/>
              </a:tabLst>
              <a:defRPr/>
            </a:pPr>
            <a:r>
              <a:rPr kumimoji="0" sz="2400" b="0" i="0" u="none" strike="noStrike" kern="1200" cap="none" spc="-30" normalizeH="0" baseline="0" noProof="0" dirty="0">
                <a:ln>
                  <a:noFill/>
                </a:ln>
                <a:solidFill>
                  <a:srgbClr val="282828"/>
                </a:solidFill>
                <a:effectLst/>
                <a:uLnTx/>
                <a:uFillTx/>
                <a:latin typeface="Arial"/>
                <a:ea typeface="+mn-ea"/>
                <a:cs typeface="Arial"/>
              </a:rPr>
              <a:t>Reusable </a:t>
            </a:r>
            <a:r>
              <a:rPr kumimoji="0" sz="2400" b="0" i="0" u="none" strike="noStrike" kern="1200" cap="none" spc="0" normalizeH="0" baseline="0" noProof="0" dirty="0">
                <a:ln>
                  <a:noFill/>
                </a:ln>
                <a:solidFill>
                  <a:srgbClr val="282828"/>
                </a:solidFill>
                <a:effectLst/>
                <a:uLnTx/>
                <a:uFillTx/>
                <a:latin typeface="Arial"/>
                <a:ea typeface="+mn-ea"/>
                <a:cs typeface="Arial"/>
              </a:rPr>
              <a:t>roles </a:t>
            </a:r>
            <a:r>
              <a:rPr kumimoji="0" sz="2400" b="0" i="0" u="none" strike="noStrike" kern="1200" cap="none" spc="25" normalizeH="0" baseline="0" noProof="0" dirty="0">
                <a:ln>
                  <a:noFill/>
                </a:ln>
                <a:solidFill>
                  <a:srgbClr val="282828"/>
                </a:solidFill>
                <a:effectLst/>
                <a:uLnTx/>
                <a:uFillTx/>
                <a:latin typeface="Arial"/>
                <a:ea typeface="+mn-ea"/>
                <a:cs typeface="Arial"/>
              </a:rPr>
              <a:t>target</a:t>
            </a:r>
            <a:r>
              <a:rPr kumimoji="0" sz="2400" b="0" i="0" u="none" strike="noStrike" kern="1200" cap="none" spc="150" normalizeH="0" baseline="0" noProof="0" dirty="0">
                <a:ln>
                  <a:noFill/>
                </a:ln>
                <a:solidFill>
                  <a:srgbClr val="282828"/>
                </a:solidFill>
                <a:effectLst/>
                <a:uLnTx/>
                <a:uFillTx/>
                <a:latin typeface="Arial"/>
                <a:ea typeface="+mn-ea"/>
                <a:cs typeface="Arial"/>
              </a:rPr>
              <a:t> </a:t>
            </a:r>
            <a:r>
              <a:rPr kumimoji="0" sz="2400" b="0" i="0" u="none" strike="noStrike" kern="1200" cap="none" spc="25" normalizeH="0" baseline="0" noProof="0" dirty="0">
                <a:ln>
                  <a:noFill/>
                </a:ln>
                <a:solidFill>
                  <a:srgbClr val="282828"/>
                </a:solidFill>
                <a:effectLst/>
                <a:uLnTx/>
                <a:uFillTx/>
                <a:latin typeface="Arial"/>
                <a:ea typeface="+mn-ea"/>
                <a:cs typeface="Arial"/>
              </a:rPr>
              <a:t>specific</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2810"/>
              </a:lnSpc>
              <a:spcBef>
                <a:spcPts val="0"/>
              </a:spcBef>
              <a:spcAft>
                <a:spcPts val="0"/>
              </a:spcAft>
              <a:buClrTx/>
              <a:buSzTx/>
              <a:buFontTx/>
              <a:buNone/>
              <a:tabLst/>
              <a:defRPr/>
            </a:pPr>
            <a:r>
              <a:rPr kumimoji="0" sz="2400" b="0" i="0" u="none" strike="noStrike" kern="1200" cap="none" spc="25" normalizeH="0" baseline="0" noProof="0" dirty="0">
                <a:ln>
                  <a:noFill/>
                </a:ln>
                <a:solidFill>
                  <a:srgbClr val="282828"/>
                </a:solidFill>
                <a:effectLst/>
                <a:uLnTx/>
                <a:uFillTx/>
                <a:latin typeface="Arial"/>
                <a:ea typeface="+mn-ea"/>
                <a:cs typeface="Arial"/>
              </a:rPr>
              <a:t>network</a:t>
            </a:r>
            <a:r>
              <a:rPr kumimoji="0" sz="2400" b="0" i="0" u="none" strike="noStrike" kern="1200" cap="none" spc="60" normalizeH="0" baseline="0" noProof="0" dirty="0">
                <a:ln>
                  <a:noFill/>
                </a:ln>
                <a:solidFill>
                  <a:srgbClr val="282828"/>
                </a:solidFill>
                <a:effectLst/>
                <a:uLnTx/>
                <a:uFillTx/>
                <a:latin typeface="Arial"/>
                <a:ea typeface="+mn-ea"/>
                <a:cs typeface="Arial"/>
              </a:rPr>
              <a:t> </a:t>
            </a:r>
            <a:r>
              <a:rPr kumimoji="0" sz="2400" b="0" i="0" u="none" strike="noStrike" kern="1200" cap="none" spc="5" normalizeH="0" baseline="0" noProof="0" dirty="0">
                <a:ln>
                  <a:noFill/>
                </a:ln>
                <a:solidFill>
                  <a:srgbClr val="282828"/>
                </a:solidFill>
                <a:effectLst/>
                <a:uLnTx/>
                <a:uFillTx/>
                <a:latin typeface="Arial"/>
                <a:ea typeface="+mn-ea"/>
                <a:cs typeface="Arial"/>
              </a:rPr>
              <a:t>configuration</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ct val="100000"/>
              </a:lnSpc>
              <a:spcBef>
                <a:spcPts val="1370"/>
              </a:spcBef>
              <a:spcAft>
                <a:spcPts val="0"/>
              </a:spcAft>
              <a:buClrTx/>
              <a:buSzPct val="60416"/>
              <a:buFontTx/>
              <a:buChar char="•"/>
              <a:tabLst>
                <a:tab pos="168275" algn="l"/>
              </a:tabLst>
              <a:defRPr/>
            </a:pPr>
            <a:r>
              <a:rPr kumimoji="0" sz="2400" b="0" i="0" u="none" strike="noStrike" kern="1200" cap="none" spc="0" normalizeH="0" baseline="0" noProof="0" dirty="0">
                <a:ln>
                  <a:noFill/>
                </a:ln>
                <a:solidFill>
                  <a:srgbClr val="282828"/>
                </a:solidFill>
                <a:effectLst/>
                <a:uLnTx/>
                <a:uFillTx/>
                <a:latin typeface="Arial"/>
                <a:ea typeface="+mn-ea"/>
                <a:cs typeface="Arial"/>
              </a:rPr>
              <a:t>Start </a:t>
            </a:r>
            <a:r>
              <a:rPr kumimoji="0" sz="2400" b="0" i="0" u="none" strike="noStrike" kern="1200" cap="none" spc="25" normalizeH="0" baseline="0" noProof="0" dirty="0">
                <a:ln>
                  <a:noFill/>
                </a:ln>
                <a:solidFill>
                  <a:srgbClr val="282828"/>
                </a:solidFill>
                <a:effectLst/>
                <a:uLnTx/>
                <a:uFillTx/>
                <a:latin typeface="Arial"/>
                <a:ea typeface="+mn-ea"/>
                <a:cs typeface="Arial"/>
              </a:rPr>
              <a:t>with </a:t>
            </a:r>
            <a:r>
              <a:rPr kumimoji="0" sz="2400" b="0" i="0" u="none" strike="noStrike" kern="1200" cap="none" spc="-5" normalizeH="0" baseline="0" noProof="0" dirty="0">
                <a:ln>
                  <a:noFill/>
                </a:ln>
                <a:solidFill>
                  <a:srgbClr val="282828"/>
                </a:solidFill>
                <a:effectLst/>
                <a:uLnTx/>
                <a:uFillTx/>
                <a:latin typeface="Arial"/>
                <a:ea typeface="+mn-ea"/>
                <a:cs typeface="Arial"/>
              </a:rPr>
              <a:t>enabling </a:t>
            </a:r>
            <a:r>
              <a:rPr kumimoji="0" sz="2400" b="0" i="0" u="none" strike="noStrike" kern="1200" cap="none" spc="-65" normalizeH="0" baseline="0" noProof="0" dirty="0">
                <a:ln>
                  <a:noFill/>
                </a:ln>
                <a:solidFill>
                  <a:srgbClr val="282828"/>
                </a:solidFill>
                <a:effectLst/>
                <a:uLnTx/>
                <a:uFillTx/>
                <a:latin typeface="Arial"/>
                <a:ea typeface="+mn-ea"/>
                <a:cs typeface="Arial"/>
              </a:rPr>
              <a:t>APIs </a:t>
            </a:r>
            <a:r>
              <a:rPr kumimoji="0" sz="2400" b="0" i="0" u="none" strike="noStrike" kern="1200" cap="none" spc="25" normalizeH="0" baseline="0" noProof="0" dirty="0">
                <a:ln>
                  <a:noFill/>
                </a:ln>
                <a:solidFill>
                  <a:srgbClr val="282828"/>
                </a:solidFill>
                <a:effectLst/>
                <a:uLnTx/>
                <a:uFillTx/>
                <a:latin typeface="Arial"/>
                <a:ea typeface="+mn-ea"/>
                <a:cs typeface="Arial"/>
              </a:rPr>
              <a:t>for</a:t>
            </a:r>
            <a:r>
              <a:rPr kumimoji="0" sz="2400" b="0" i="0" u="none" strike="noStrike" kern="1200" cap="none" spc="280" normalizeH="0" baseline="0" noProof="0" dirty="0">
                <a:ln>
                  <a:noFill/>
                </a:ln>
                <a:solidFill>
                  <a:srgbClr val="282828"/>
                </a:solidFill>
                <a:effectLst/>
                <a:uLnTx/>
                <a:uFillTx/>
                <a:latin typeface="Arial"/>
                <a:ea typeface="+mn-ea"/>
                <a:cs typeface="Arial"/>
              </a:rPr>
              <a:t> </a:t>
            </a:r>
            <a:r>
              <a:rPr kumimoji="0" sz="2400" b="0" i="0" u="none" strike="noStrike" kern="1200" cap="none" spc="0" normalizeH="0" baseline="0" noProof="0" dirty="0">
                <a:ln>
                  <a:noFill/>
                </a:ln>
                <a:solidFill>
                  <a:srgbClr val="282828"/>
                </a:solidFill>
                <a:effectLst/>
                <a:uLnTx/>
                <a:uFillTx/>
                <a:latin typeface="Arial"/>
                <a:ea typeface="+mn-ea"/>
                <a:cs typeface="Arial"/>
              </a:rPr>
              <a:t>use</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154940" algn="l" defTabSz="914400" rtl="0" eaLnBrk="1" fontAlgn="auto" latinLnBrk="0" hangingPunct="1">
              <a:lnSpc>
                <a:spcPts val="2810"/>
              </a:lnSpc>
              <a:spcBef>
                <a:spcPts val="1345"/>
              </a:spcBef>
              <a:spcAft>
                <a:spcPts val="0"/>
              </a:spcAft>
              <a:buClrTx/>
              <a:buSzPct val="58333"/>
              <a:buFontTx/>
              <a:buChar char="•"/>
              <a:tabLst>
                <a:tab pos="168275" algn="l"/>
              </a:tabLst>
              <a:defRPr/>
            </a:pPr>
            <a:r>
              <a:rPr kumimoji="0" sz="2400" b="0" i="0" u="none" strike="noStrike" kern="1200" cap="none" spc="5" normalizeH="0" baseline="0" noProof="0" dirty="0">
                <a:ln>
                  <a:noFill/>
                </a:ln>
                <a:solidFill>
                  <a:srgbClr val="282828"/>
                </a:solidFill>
                <a:effectLst/>
                <a:uLnTx/>
                <a:uFillTx/>
                <a:latin typeface="Arial"/>
                <a:ea typeface="+mn-ea"/>
                <a:cs typeface="Arial"/>
              </a:rPr>
              <a:t>Different </a:t>
            </a:r>
            <a:r>
              <a:rPr kumimoji="0" sz="2400" b="0" i="0" u="none" strike="noStrike" kern="1200" cap="none" spc="15" normalizeH="0" baseline="0" noProof="0" dirty="0">
                <a:ln>
                  <a:noFill/>
                </a:ln>
                <a:solidFill>
                  <a:srgbClr val="282828"/>
                </a:solidFill>
                <a:effectLst/>
                <a:uLnTx/>
                <a:uFillTx/>
                <a:latin typeface="Arial"/>
                <a:ea typeface="+mn-ea"/>
                <a:cs typeface="Arial"/>
              </a:rPr>
              <a:t>groups </a:t>
            </a:r>
            <a:r>
              <a:rPr kumimoji="0" sz="2400" b="0" i="0" u="none" strike="noStrike" kern="1200" cap="none" spc="0" normalizeH="0" baseline="0" noProof="0" dirty="0">
                <a:ln>
                  <a:noFill/>
                </a:ln>
                <a:solidFill>
                  <a:srgbClr val="282828"/>
                </a:solidFill>
                <a:effectLst/>
                <a:uLnTx/>
                <a:uFillTx/>
                <a:latin typeface="Arial"/>
                <a:ea typeface="+mn-ea"/>
                <a:cs typeface="Arial"/>
              </a:rPr>
              <a:t>will </a:t>
            </a:r>
            <a:r>
              <a:rPr kumimoji="0" sz="2400" b="0" i="0" u="none" strike="noStrike" kern="1200" cap="none" spc="50" normalizeH="0" baseline="0" noProof="0" dirty="0">
                <a:ln>
                  <a:noFill/>
                </a:ln>
                <a:solidFill>
                  <a:srgbClr val="282828"/>
                </a:solidFill>
                <a:effectLst/>
                <a:uLnTx/>
                <a:uFillTx/>
                <a:latin typeface="Arial"/>
                <a:ea typeface="+mn-ea"/>
                <a:cs typeface="Arial"/>
              </a:rPr>
              <a:t>get</a:t>
            </a:r>
            <a:r>
              <a:rPr kumimoji="0" sz="2400" b="0" i="0" u="none" strike="noStrike" kern="1200" cap="none" spc="165" normalizeH="0" baseline="0" noProof="0" dirty="0">
                <a:ln>
                  <a:noFill/>
                </a:ln>
                <a:solidFill>
                  <a:srgbClr val="282828"/>
                </a:solidFill>
                <a:effectLst/>
                <a:uLnTx/>
                <a:uFillTx/>
                <a:latin typeface="Arial"/>
                <a:ea typeface="+mn-ea"/>
                <a:cs typeface="Arial"/>
              </a:rPr>
              <a:t> </a:t>
            </a:r>
            <a:r>
              <a:rPr kumimoji="0" sz="2400" b="0" i="0" u="none" strike="noStrike" kern="1200" cap="none" spc="25" normalizeH="0" baseline="0" noProof="0" dirty="0">
                <a:ln>
                  <a:noFill/>
                </a:ln>
                <a:solidFill>
                  <a:srgbClr val="282828"/>
                </a:solidFill>
                <a:effectLst/>
                <a:uLnTx/>
                <a:uFillTx/>
                <a:latin typeface="Arial"/>
                <a:ea typeface="+mn-ea"/>
                <a:cs typeface="Arial"/>
              </a:rPr>
              <a:t>different</a:t>
            </a:r>
            <a:endParaRPr kumimoji="0" sz="2400" b="0" i="0" u="none" strike="noStrike" kern="1200" cap="none" spc="0" normalizeH="0" baseline="0" noProof="0">
              <a:ln>
                <a:noFill/>
              </a:ln>
              <a:solidFill>
                <a:prstClr val="black"/>
              </a:solidFill>
              <a:effectLst/>
              <a:uLnTx/>
              <a:uFillTx/>
              <a:latin typeface="Arial"/>
              <a:ea typeface="+mn-ea"/>
              <a:cs typeface="Arial"/>
            </a:endParaRPr>
          </a:p>
          <a:p>
            <a:pPr marL="167640" marR="0" lvl="0" indent="0" algn="l" defTabSz="914400" rtl="0" eaLnBrk="1" fontAlgn="auto" latinLnBrk="0" hangingPunct="1">
              <a:lnSpc>
                <a:spcPts val="2810"/>
              </a:lnSpc>
              <a:spcBef>
                <a:spcPts val="0"/>
              </a:spcBef>
              <a:spcAft>
                <a:spcPts val="0"/>
              </a:spcAft>
              <a:buClrTx/>
              <a:buSzTx/>
              <a:buFontTx/>
              <a:buNone/>
              <a:tabLst/>
              <a:defRPr/>
            </a:pPr>
            <a:r>
              <a:rPr kumimoji="0" sz="2400" b="0" i="0" u="none" strike="noStrike" kern="1200" cap="none" spc="0" normalizeH="0" baseline="0" noProof="0" dirty="0">
                <a:ln>
                  <a:noFill/>
                </a:ln>
                <a:solidFill>
                  <a:srgbClr val="282828"/>
                </a:solidFill>
                <a:effectLst/>
                <a:uLnTx/>
                <a:uFillTx/>
                <a:latin typeface="Arial"/>
                <a:ea typeface="+mn-ea"/>
                <a:cs typeface="Arial"/>
              </a:rPr>
              <a:t>roles</a:t>
            </a:r>
            <a:endParaRPr kumimoji="0" sz="2400" b="0" i="0" u="none" strike="noStrike" kern="1200" cap="none" spc="0" normalizeH="0" baseline="0" noProof="0">
              <a:ln>
                <a:noFill/>
              </a:ln>
              <a:solidFill>
                <a:prstClr val="black"/>
              </a:solidFill>
              <a:effectLst/>
              <a:uLnTx/>
              <a:uFillTx/>
              <a:latin typeface="Arial"/>
              <a:ea typeface="+mn-ea"/>
              <a:cs typeface="Arial"/>
            </a:endParaRPr>
          </a:p>
        </p:txBody>
      </p:sp>
      <p:sp>
        <p:nvSpPr>
          <p:cNvPr id="4" name="object 4"/>
          <p:cNvSpPr/>
          <p:nvPr/>
        </p:nvSpPr>
        <p:spPr>
          <a:xfrm>
            <a:off x="7167153" y="104961"/>
            <a:ext cx="4249944" cy="6648078"/>
          </a:xfrm>
          <a:custGeom>
            <a:avLst/>
            <a:gdLst/>
            <a:ahLst/>
            <a:cxnLst/>
            <a:rect l="l" t="t" r="r" b="b"/>
            <a:pathLst>
              <a:path w="5547359" h="4861560">
                <a:moveTo>
                  <a:pt x="0" y="4861560"/>
                </a:moveTo>
                <a:lnTo>
                  <a:pt x="5547360" y="4861560"/>
                </a:lnTo>
                <a:lnTo>
                  <a:pt x="5547360" y="0"/>
                </a:lnTo>
                <a:lnTo>
                  <a:pt x="0" y="0"/>
                </a:lnTo>
                <a:lnTo>
                  <a:pt x="0" y="4861560"/>
                </a:lnTo>
                <a:close/>
              </a:path>
            </a:pathLst>
          </a:custGeom>
          <a:solidFill>
            <a:srgbClr val="282828"/>
          </a:solidFill>
        </p:spPr>
        <p:txBody>
          <a:bodyPr wrap="square" lIns="0" tIns="0" rIns="0" bIns="0" rtlCol="0"/>
          <a:lstStyle/>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role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iosxe_banner</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task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var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iosxe_logging</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task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var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iosxe_mdp</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task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var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iosxe_ntp</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task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var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iosxe_vlans</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task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var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iosxe_vrf</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task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lang="en-US" sz="1400" dirty="0">
              <a:solidFill>
                <a:schemeClr val="bg1"/>
              </a:solidFill>
              <a:latin typeface="Menlo" panose="020B0609030804020204" pitchFamily="49" charset="0"/>
              <a:ea typeface="Menlo" panose="020B0609030804020204" pitchFamily="49" charset="0"/>
              <a:cs typeface="Menlo" panose="020B0609030804020204" pitchFamily="49" charset="0"/>
            </a:endParaRP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vars</a:t>
            </a:r>
          </a:p>
          <a:p>
            <a:pPr lvl="1" defTabSz="914400" fontAlgn="auto">
              <a:spcBef>
                <a:spcPts val="0"/>
              </a:spcBef>
              <a:spcAft>
                <a:spcPts val="0"/>
              </a:spcAft>
            </a:pPr>
            <a:r>
              <a:rPr lang="en-US" sz="1400" dirty="0">
                <a:solidFill>
                  <a:schemeClr val="bg1"/>
                </a:solidFill>
                <a:latin typeface="Menlo" panose="020B0609030804020204" pitchFamily="49" charset="0"/>
                <a:ea typeface="Menlo" panose="020B0609030804020204" pitchFamily="49" charset="0"/>
                <a:cs typeface="Menlo" panose="020B0609030804020204" pitchFamily="49" charset="0"/>
              </a:rPr>
              <a:t>        `-- </a:t>
            </a:r>
            <a:r>
              <a:rPr lang="en-US" sz="1400" dirty="0" err="1">
                <a:solidFill>
                  <a:schemeClr val="bg1"/>
                </a:solidFill>
                <a:latin typeface="Menlo" panose="020B0609030804020204" pitchFamily="49" charset="0"/>
                <a:ea typeface="Menlo" panose="020B0609030804020204" pitchFamily="49" charset="0"/>
                <a:cs typeface="Menlo" panose="020B0609030804020204" pitchFamily="49" charset="0"/>
              </a:rPr>
              <a:t>main.yml</a:t>
            </a:r>
            <a:endParaRPr kumimoji="0" sz="1400" b="0" i="0" u="none" strike="noStrike" kern="1200" cap="none" spc="0" normalizeH="0" baseline="0" noProof="0" dirty="0">
              <a:ln>
                <a:noFill/>
              </a:ln>
              <a:solidFill>
                <a:schemeClr val="bg1"/>
              </a:solidFill>
              <a:effectLst/>
              <a:uLnTx/>
              <a:uFillTx/>
              <a:latin typeface="Menlo" panose="020B0609030804020204" pitchFamily="49" charset="0"/>
              <a:ea typeface="Menlo" panose="020B0609030804020204" pitchFamily="49" charset="0"/>
              <a:cs typeface="Menlo" panose="020B0609030804020204" pitchFamily="49" charset="0"/>
            </a:endParaRPr>
          </a:p>
        </p:txBody>
      </p:sp>
      <p:sp>
        <p:nvSpPr>
          <p:cNvPr id="6" name="object 6"/>
          <p:cNvSpPr txBox="1">
            <a:spLocks noGrp="1"/>
          </p:cNvSpPr>
          <p:nvPr>
            <p:ph type="title"/>
          </p:nvPr>
        </p:nvSpPr>
        <p:spPr>
          <a:xfrm>
            <a:off x="662736" y="587501"/>
            <a:ext cx="5534025" cy="596265"/>
          </a:xfrm>
          <a:prstGeom prst="rect">
            <a:avLst/>
          </a:prstGeom>
        </p:spPr>
        <p:txBody>
          <a:bodyPr vert="horz" wrap="square" lIns="0" tIns="12065" rIns="0" bIns="0" rtlCol="0">
            <a:spAutoFit/>
          </a:bodyPr>
          <a:lstStyle/>
          <a:p>
            <a:pPr marL="12700">
              <a:lnSpc>
                <a:spcPct val="100000"/>
              </a:lnSpc>
              <a:spcBef>
                <a:spcPts val="95"/>
              </a:spcBef>
            </a:pPr>
            <a:r>
              <a:rPr spc="-10" dirty="0"/>
              <a:t>Ansible </a:t>
            </a:r>
            <a:r>
              <a:rPr spc="-70" dirty="0"/>
              <a:t>Roles </a:t>
            </a:r>
            <a:r>
              <a:rPr spc="-30" dirty="0"/>
              <a:t>Per</a:t>
            </a:r>
            <a:r>
              <a:rPr spc="240" dirty="0"/>
              <a:t> </a:t>
            </a:r>
            <a:r>
              <a:rPr spc="-25" dirty="0"/>
              <a:t>Feature</a:t>
            </a:r>
          </a:p>
        </p:txBody>
      </p:sp>
    </p:spTree>
    <p:extLst>
      <p:ext uri="{BB962C8B-B14F-4D97-AF65-F5344CB8AC3E}">
        <p14:creationId xmlns:p14="http://schemas.microsoft.com/office/powerpoint/2010/main" val="6452203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1C4CF1-2A5A-4D4E-8566-D32001D3C0DA}"/>
              </a:ext>
            </a:extLst>
          </p:cNvPr>
          <p:cNvSpPr>
            <a:spLocks noGrp="1"/>
          </p:cNvSpPr>
          <p:nvPr>
            <p:ph type="body" sz="quarter" idx="10"/>
          </p:nvPr>
        </p:nvSpPr>
        <p:spPr>
          <a:xfrm>
            <a:off x="583688" y="1430868"/>
            <a:ext cx="11036459" cy="4519083"/>
          </a:xfrm>
        </p:spPr>
        <p:txBody>
          <a:bodyPr/>
          <a:lstStyle/>
          <a:p>
            <a:r>
              <a:rPr lang="en-US" altLang="zh-CN" dirty="0" err="1"/>
              <a:t>NetDevOps</a:t>
            </a:r>
            <a:endParaRPr lang="en-US" altLang="zh-CN" dirty="0"/>
          </a:p>
          <a:p>
            <a:r>
              <a:rPr lang="en-US" altLang="zh-CN" dirty="0"/>
              <a:t>CM</a:t>
            </a:r>
            <a:r>
              <a:rPr lang="zh-CN" altLang="en-US" dirty="0"/>
              <a:t> </a:t>
            </a:r>
            <a:r>
              <a:rPr lang="en-US" altLang="zh-CN" dirty="0"/>
              <a:t>Tools</a:t>
            </a:r>
          </a:p>
          <a:p>
            <a:pPr lvl="1"/>
            <a:r>
              <a:rPr lang="en-US" altLang="zh-CN" dirty="0"/>
              <a:t>Agent</a:t>
            </a:r>
            <a:r>
              <a:rPr lang="zh-CN" altLang="en-US" dirty="0"/>
              <a:t> </a:t>
            </a:r>
            <a:r>
              <a:rPr lang="en-US" altLang="zh-CN" dirty="0"/>
              <a:t>Based</a:t>
            </a:r>
          </a:p>
          <a:p>
            <a:pPr lvl="1"/>
            <a:r>
              <a:rPr lang="en-US" altLang="zh-CN" dirty="0"/>
              <a:t>Agentless</a:t>
            </a:r>
          </a:p>
          <a:p>
            <a:r>
              <a:rPr lang="en-US" altLang="zh-CN" dirty="0"/>
              <a:t>Ansible</a:t>
            </a:r>
          </a:p>
          <a:p>
            <a:pPr lvl="1"/>
            <a:r>
              <a:rPr lang="en-US" altLang="zh-CN" dirty="0"/>
              <a:t>inventory</a:t>
            </a:r>
          </a:p>
          <a:p>
            <a:pPr lvl="1"/>
            <a:r>
              <a:rPr lang="en-US" altLang="zh-CN" dirty="0"/>
              <a:t>playbook</a:t>
            </a:r>
          </a:p>
          <a:p>
            <a:pPr lvl="2"/>
            <a:r>
              <a:rPr lang="en-US" altLang="zh-CN" dirty="0"/>
              <a:t>play,</a:t>
            </a:r>
            <a:r>
              <a:rPr lang="zh-CN" altLang="en-US" dirty="0"/>
              <a:t> </a:t>
            </a:r>
            <a:r>
              <a:rPr lang="en-US" altLang="zh-CN" dirty="0"/>
              <a:t>task,</a:t>
            </a:r>
            <a:r>
              <a:rPr lang="zh-CN" altLang="en-US" dirty="0"/>
              <a:t> </a:t>
            </a:r>
            <a:r>
              <a:rPr lang="en-US" altLang="zh-CN" dirty="0"/>
              <a:t>module</a:t>
            </a:r>
          </a:p>
          <a:p>
            <a:pPr lvl="1"/>
            <a:r>
              <a:rPr lang="en-US" altLang="zh-CN" dirty="0"/>
              <a:t>configuration</a:t>
            </a:r>
            <a:r>
              <a:rPr lang="zh-CN" altLang="en-US" dirty="0"/>
              <a:t> </a:t>
            </a:r>
            <a:endParaRPr lang="en-US" altLang="zh-CN" dirty="0"/>
          </a:p>
          <a:p>
            <a:pPr lvl="1"/>
            <a:r>
              <a:rPr lang="en-US" altLang="zh-CN" dirty="0"/>
              <a:t>vars</a:t>
            </a:r>
          </a:p>
          <a:p>
            <a:pPr lvl="1"/>
            <a:r>
              <a:rPr lang="en-US" altLang="zh-CN" dirty="0"/>
              <a:t>roles</a:t>
            </a:r>
          </a:p>
        </p:txBody>
      </p:sp>
      <p:sp>
        <p:nvSpPr>
          <p:cNvPr id="2" name="Title 1">
            <a:extLst>
              <a:ext uri="{FF2B5EF4-FFF2-40B4-BE49-F238E27FC236}">
                <a16:creationId xmlns:a16="http://schemas.microsoft.com/office/drawing/2014/main" id="{37FA97A2-5585-DC42-9D65-5B753AE249E2}"/>
              </a:ext>
            </a:extLst>
          </p:cNvPr>
          <p:cNvSpPr>
            <a:spLocks noGrp="1"/>
          </p:cNvSpPr>
          <p:nvPr>
            <p:ph type="title"/>
          </p:nvPr>
        </p:nvSpPr>
        <p:spPr/>
        <p:txBody>
          <a:bodyPr/>
          <a:lstStyle/>
          <a:p>
            <a:r>
              <a:rPr lang="en-US" altLang="zh-CN" dirty="0"/>
              <a:t>Summary</a:t>
            </a:r>
            <a:endParaRPr lang="en-CN" dirty="0"/>
          </a:p>
        </p:txBody>
      </p:sp>
    </p:spTree>
    <p:extLst>
      <p:ext uri="{BB962C8B-B14F-4D97-AF65-F5344CB8AC3E}">
        <p14:creationId xmlns:p14="http://schemas.microsoft.com/office/powerpoint/2010/main" val="11171687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D1CB1D4-DD93-9A4C-BC5C-065923FD71B9}"/>
              </a:ext>
            </a:extLst>
          </p:cNvPr>
          <p:cNvSpPr>
            <a:spLocks noGrp="1"/>
          </p:cNvSpPr>
          <p:nvPr>
            <p:ph type="body" sz="quarter" idx="10"/>
          </p:nvPr>
        </p:nvSpPr>
        <p:spPr>
          <a:xfrm>
            <a:off x="397461" y="1525044"/>
            <a:ext cx="10911889" cy="4519083"/>
          </a:xfrm>
        </p:spPr>
        <p:txBody>
          <a:bodyPr/>
          <a:lstStyle/>
          <a:p>
            <a:r>
              <a:rPr lang="en-US" altLang="zh-CN" dirty="0"/>
              <a:t>Use</a:t>
            </a:r>
            <a:r>
              <a:rPr lang="zh-CN" altLang="en-US" dirty="0"/>
              <a:t> </a:t>
            </a:r>
            <a:r>
              <a:rPr lang="en-US" altLang="zh-CN" dirty="0" err="1"/>
              <a:t>ios_config</a:t>
            </a:r>
            <a:r>
              <a:rPr lang="zh-CN" altLang="en-US" dirty="0"/>
              <a:t> </a:t>
            </a:r>
            <a:r>
              <a:rPr lang="en-US" altLang="zh-CN" dirty="0"/>
              <a:t>module</a:t>
            </a:r>
            <a:r>
              <a:rPr lang="zh-CN" altLang="en-US" dirty="0"/>
              <a:t> </a:t>
            </a:r>
            <a:r>
              <a:rPr lang="en-US" altLang="zh-CN" dirty="0"/>
              <a:t>to</a:t>
            </a:r>
            <a:r>
              <a:rPr lang="zh-CN" altLang="en-US" dirty="0"/>
              <a:t> </a:t>
            </a:r>
            <a:r>
              <a:rPr lang="en-US" altLang="zh-CN" dirty="0"/>
              <a:t>add</a:t>
            </a:r>
            <a:r>
              <a:rPr lang="zh-CN" altLang="en-US" dirty="0"/>
              <a:t> </a:t>
            </a:r>
            <a:r>
              <a:rPr lang="en-US" altLang="zh-CN" dirty="0"/>
              <a:t>an</a:t>
            </a:r>
            <a:r>
              <a:rPr lang="zh-CN" altLang="en-US" dirty="0"/>
              <a:t> </a:t>
            </a:r>
            <a:r>
              <a:rPr lang="en-US" altLang="zh-CN" dirty="0"/>
              <a:t>ACL</a:t>
            </a:r>
            <a:r>
              <a:rPr lang="zh-CN" altLang="en-US" dirty="0"/>
              <a:t> </a:t>
            </a:r>
            <a:r>
              <a:rPr lang="en-US" altLang="zh-CN" dirty="0"/>
              <a:t>to</a:t>
            </a:r>
            <a:r>
              <a:rPr lang="zh-CN" altLang="en-US" dirty="0"/>
              <a:t> </a:t>
            </a:r>
            <a:r>
              <a:rPr lang="en-US" altLang="zh-CN" dirty="0"/>
              <a:t>target</a:t>
            </a:r>
            <a:r>
              <a:rPr lang="zh-CN" altLang="en-US" dirty="0"/>
              <a:t> </a:t>
            </a:r>
            <a:r>
              <a:rPr lang="en-US" altLang="zh-CN" dirty="0"/>
              <a:t>device.</a:t>
            </a:r>
            <a:r>
              <a:rPr lang="zh-CN" altLang="en-US" dirty="0"/>
              <a:t> </a:t>
            </a:r>
            <a:r>
              <a:rPr lang="en-US" altLang="zh-CN" dirty="0"/>
              <a:t>The</a:t>
            </a:r>
            <a:r>
              <a:rPr lang="zh-CN" altLang="en-US" dirty="0"/>
              <a:t> </a:t>
            </a:r>
            <a:r>
              <a:rPr lang="en-US" altLang="zh-CN" dirty="0"/>
              <a:t>ACL</a:t>
            </a:r>
            <a:r>
              <a:rPr lang="zh-CN" altLang="en-US" dirty="0"/>
              <a:t> </a:t>
            </a:r>
            <a:r>
              <a:rPr lang="en-US" altLang="zh-CN" dirty="0"/>
              <a:t>should</a:t>
            </a:r>
            <a:r>
              <a:rPr lang="zh-CN" altLang="en-US" dirty="0"/>
              <a:t> </a:t>
            </a:r>
            <a:r>
              <a:rPr lang="en-US" altLang="zh-CN" dirty="0"/>
              <a:t>be</a:t>
            </a:r>
            <a:r>
              <a:rPr lang="zh-CN" altLang="en-US" dirty="0"/>
              <a:t> </a:t>
            </a:r>
            <a:r>
              <a:rPr lang="en-US" altLang="zh-CN" dirty="0"/>
              <a:t>named</a:t>
            </a:r>
            <a:r>
              <a:rPr lang="zh-CN" altLang="en-US" dirty="0"/>
              <a:t> </a:t>
            </a:r>
            <a:r>
              <a:rPr lang="en-US" altLang="zh-CN" dirty="0"/>
              <a:t>as</a:t>
            </a:r>
            <a:r>
              <a:rPr lang="zh-CN" altLang="en-US" dirty="0"/>
              <a:t> </a:t>
            </a:r>
            <a:r>
              <a:rPr lang="en-US" altLang="zh-CN" dirty="0"/>
              <a:t>“{{</a:t>
            </a:r>
            <a:r>
              <a:rPr lang="en-US" altLang="zh-CN" dirty="0" err="1"/>
              <a:t>device_hostname</a:t>
            </a:r>
            <a:r>
              <a:rPr lang="en-US" altLang="zh-CN" dirty="0"/>
              <a:t>}}_</a:t>
            </a:r>
            <a:r>
              <a:rPr lang="en-US" altLang="zh-CN" dirty="0" err="1"/>
              <a:t>acl</a:t>
            </a:r>
            <a:r>
              <a:rPr lang="en-US" altLang="zh-CN" dirty="0"/>
              <a:t>”</a:t>
            </a:r>
          </a:p>
          <a:p>
            <a:r>
              <a:rPr lang="en-US" altLang="zh-CN" dirty="0"/>
              <a:t>Make</a:t>
            </a:r>
            <a:r>
              <a:rPr lang="zh-CN" altLang="en-US" dirty="0"/>
              <a:t> </a:t>
            </a:r>
            <a:r>
              <a:rPr lang="en-US" altLang="zh-CN" dirty="0"/>
              <a:t>sure</a:t>
            </a:r>
            <a:r>
              <a:rPr lang="zh-CN" altLang="en-US" dirty="0"/>
              <a:t> </a:t>
            </a:r>
            <a:r>
              <a:rPr lang="en-US" altLang="zh-CN" dirty="0"/>
              <a:t>there’s</a:t>
            </a:r>
            <a:r>
              <a:rPr lang="zh-CN" altLang="en-US" dirty="0"/>
              <a:t> </a:t>
            </a:r>
            <a:r>
              <a:rPr lang="en-US" altLang="zh-CN" dirty="0"/>
              <a:t>no</a:t>
            </a:r>
            <a:r>
              <a:rPr lang="zh-CN" altLang="en-US" dirty="0"/>
              <a:t> </a:t>
            </a:r>
            <a:r>
              <a:rPr lang="en-US" altLang="zh-CN" dirty="0"/>
              <a:t>ACL</a:t>
            </a:r>
            <a:r>
              <a:rPr lang="zh-CN" altLang="en-US" dirty="0"/>
              <a:t> </a:t>
            </a:r>
            <a:r>
              <a:rPr lang="en-US" altLang="zh-CN" dirty="0"/>
              <a:t>using</a:t>
            </a:r>
            <a:r>
              <a:rPr lang="zh-CN" altLang="en-US" dirty="0"/>
              <a:t> </a:t>
            </a:r>
            <a:r>
              <a:rPr lang="en-US" altLang="zh-CN" dirty="0"/>
              <a:t>the</a:t>
            </a:r>
            <a:r>
              <a:rPr lang="zh-CN" altLang="en-US" dirty="0"/>
              <a:t> </a:t>
            </a:r>
            <a:r>
              <a:rPr lang="en-US" altLang="zh-CN" dirty="0"/>
              <a:t>same</a:t>
            </a:r>
            <a:r>
              <a:rPr lang="zh-CN" altLang="en-US" dirty="0"/>
              <a:t> </a:t>
            </a:r>
            <a:r>
              <a:rPr lang="en-US" altLang="zh-CN" dirty="0"/>
              <a:t>ACL</a:t>
            </a:r>
            <a:r>
              <a:rPr lang="zh-CN" altLang="en-US" dirty="0"/>
              <a:t> </a:t>
            </a:r>
            <a:r>
              <a:rPr lang="en-US" altLang="zh-CN" dirty="0"/>
              <a:t>name</a:t>
            </a:r>
          </a:p>
          <a:p>
            <a:r>
              <a:rPr lang="en-US" altLang="zh-CN" dirty="0"/>
              <a:t>The</a:t>
            </a:r>
            <a:r>
              <a:rPr lang="zh-CN" altLang="en-US" dirty="0"/>
              <a:t> </a:t>
            </a:r>
            <a:r>
              <a:rPr lang="en-US" altLang="zh-CN" dirty="0"/>
              <a:t>ACL</a:t>
            </a:r>
            <a:r>
              <a:rPr lang="zh-CN" altLang="en-US" dirty="0"/>
              <a:t> </a:t>
            </a:r>
            <a:r>
              <a:rPr lang="en-US" altLang="zh-CN" dirty="0"/>
              <a:t>should</a:t>
            </a:r>
            <a:r>
              <a:rPr lang="zh-CN" altLang="en-US" dirty="0"/>
              <a:t> </a:t>
            </a:r>
            <a:r>
              <a:rPr lang="en-US" altLang="zh-CN" dirty="0"/>
              <a:t>allow</a:t>
            </a:r>
            <a:r>
              <a:rPr lang="zh-CN" altLang="en-US" dirty="0"/>
              <a:t> </a:t>
            </a:r>
            <a:r>
              <a:rPr lang="en-US" altLang="zh-CN" dirty="0"/>
              <a:t>traffic</a:t>
            </a:r>
            <a:r>
              <a:rPr lang="zh-CN" altLang="en-US" dirty="0"/>
              <a:t> </a:t>
            </a:r>
            <a:r>
              <a:rPr lang="en-US" altLang="zh-CN" dirty="0"/>
              <a:t>from</a:t>
            </a:r>
            <a:r>
              <a:rPr lang="zh-CN" altLang="en-US" dirty="0"/>
              <a:t> </a:t>
            </a:r>
            <a:r>
              <a:rPr lang="en-US" altLang="zh-CN" dirty="0"/>
              <a:t>network</a:t>
            </a:r>
            <a:r>
              <a:rPr lang="zh-CN" altLang="en-US" dirty="0"/>
              <a:t> </a:t>
            </a:r>
            <a:r>
              <a:rPr lang="en-US" altLang="zh-CN" dirty="0"/>
              <a:t>10.1.1.0/24,</a:t>
            </a:r>
            <a:r>
              <a:rPr lang="zh-CN" altLang="en-US" dirty="0"/>
              <a:t> </a:t>
            </a:r>
            <a:r>
              <a:rPr lang="en-US" altLang="zh-CN" dirty="0"/>
              <a:t>10.1.2.0/24</a:t>
            </a:r>
            <a:r>
              <a:rPr lang="zh-CN" altLang="en-US" dirty="0"/>
              <a:t> </a:t>
            </a:r>
            <a:r>
              <a:rPr lang="en-US" altLang="zh-CN" dirty="0"/>
              <a:t>to</a:t>
            </a:r>
            <a:r>
              <a:rPr lang="zh-CN" altLang="en-US" dirty="0"/>
              <a:t> </a:t>
            </a:r>
            <a:r>
              <a:rPr lang="en-US" altLang="zh-CN" dirty="0"/>
              <a:t>any</a:t>
            </a:r>
            <a:r>
              <a:rPr lang="zh-CN" altLang="en-US" dirty="0"/>
              <a:t> </a:t>
            </a:r>
            <a:r>
              <a:rPr lang="en-US" altLang="zh-CN" dirty="0"/>
              <a:t>destination</a:t>
            </a:r>
          </a:p>
          <a:p>
            <a:r>
              <a:rPr lang="en-US" altLang="zh-CN" dirty="0"/>
              <a:t>Create</a:t>
            </a:r>
            <a:r>
              <a:rPr lang="zh-CN" altLang="en-US" dirty="0"/>
              <a:t> </a:t>
            </a:r>
            <a:r>
              <a:rPr lang="en-US" altLang="zh-CN" dirty="0"/>
              <a:t>role</a:t>
            </a:r>
            <a:r>
              <a:rPr lang="zh-CN" altLang="en-US" dirty="0"/>
              <a:t> </a:t>
            </a:r>
            <a:r>
              <a:rPr lang="en-US" altLang="zh-CN" dirty="0"/>
              <a:t>and</a:t>
            </a:r>
            <a:r>
              <a:rPr lang="zh-CN" altLang="en-US" dirty="0"/>
              <a:t> </a:t>
            </a:r>
            <a:r>
              <a:rPr lang="en-US" altLang="zh-CN" dirty="0"/>
              <a:t>playbook</a:t>
            </a:r>
            <a:r>
              <a:rPr lang="zh-CN" altLang="en-US" dirty="0"/>
              <a:t> </a:t>
            </a:r>
            <a:r>
              <a:rPr lang="en-US" altLang="zh-CN" dirty="0"/>
              <a:t>to</a:t>
            </a:r>
            <a:r>
              <a:rPr lang="zh-CN" altLang="en-US" dirty="0"/>
              <a:t> </a:t>
            </a:r>
            <a:r>
              <a:rPr lang="en-US" altLang="zh-CN" dirty="0"/>
              <a:t>finish</a:t>
            </a:r>
            <a:r>
              <a:rPr lang="zh-CN" altLang="en-US" dirty="0"/>
              <a:t> </a:t>
            </a:r>
            <a:r>
              <a:rPr lang="en-US" altLang="zh-CN" dirty="0"/>
              <a:t>this</a:t>
            </a:r>
            <a:r>
              <a:rPr lang="zh-CN" altLang="en-US" dirty="0"/>
              <a:t> </a:t>
            </a:r>
            <a:r>
              <a:rPr lang="en-US" altLang="zh-CN" dirty="0"/>
              <a:t>task</a:t>
            </a:r>
          </a:p>
          <a:p>
            <a:endParaRPr lang="en-US" altLang="zh-CN" dirty="0"/>
          </a:p>
          <a:p>
            <a:pPr lvl="1"/>
            <a:endParaRPr lang="en-CN" dirty="0"/>
          </a:p>
        </p:txBody>
      </p:sp>
      <p:sp>
        <p:nvSpPr>
          <p:cNvPr id="5" name="Title 4">
            <a:extLst>
              <a:ext uri="{FF2B5EF4-FFF2-40B4-BE49-F238E27FC236}">
                <a16:creationId xmlns:a16="http://schemas.microsoft.com/office/drawing/2014/main" id="{BD562BA6-DB85-184B-B7E3-702982A7F7F0}"/>
              </a:ext>
            </a:extLst>
          </p:cNvPr>
          <p:cNvSpPr>
            <a:spLocks noGrp="1"/>
          </p:cNvSpPr>
          <p:nvPr>
            <p:ph type="title"/>
          </p:nvPr>
        </p:nvSpPr>
        <p:spPr/>
        <p:txBody>
          <a:bodyPr/>
          <a:lstStyle/>
          <a:p>
            <a:r>
              <a:rPr lang="en-CN" dirty="0"/>
              <a:t>Hands-on</a:t>
            </a:r>
          </a:p>
        </p:txBody>
      </p:sp>
    </p:spTree>
    <p:extLst>
      <p:ext uri="{BB962C8B-B14F-4D97-AF65-F5344CB8AC3E}">
        <p14:creationId xmlns:p14="http://schemas.microsoft.com/office/powerpoint/2010/main" val="15556141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3538F1-FFEC-C649-AC80-B7AC82F975DF}"/>
              </a:ext>
            </a:extLst>
          </p:cNvPr>
          <p:cNvSpPr>
            <a:spLocks noGrp="1"/>
          </p:cNvSpPr>
          <p:nvPr>
            <p:ph type="body" sz="quarter" idx="10"/>
          </p:nvPr>
        </p:nvSpPr>
        <p:spPr/>
        <p:txBody>
          <a:bodyPr/>
          <a:lstStyle/>
          <a:p>
            <a:r>
              <a:rPr lang="en-US" dirty="0"/>
              <a:t>Learn network programmability basics</a:t>
            </a:r>
            <a:r>
              <a:rPr lang="zh-CN" altLang="en-US" dirty="0"/>
              <a:t> </a:t>
            </a:r>
            <a:r>
              <a:rPr lang="en-US" altLang="zh-CN" dirty="0"/>
              <a:t>(</a:t>
            </a:r>
            <a:r>
              <a:rPr lang="en-US" altLang="zh-CN" dirty="0" err="1"/>
              <a:t>DevNet</a:t>
            </a:r>
            <a:r>
              <a:rPr lang="zh-CN" altLang="en-US" dirty="0"/>
              <a:t> </a:t>
            </a:r>
            <a:r>
              <a:rPr lang="en-US" altLang="zh-CN" dirty="0"/>
              <a:t>Video</a:t>
            </a:r>
            <a:r>
              <a:rPr lang="zh-CN" altLang="en-US" dirty="0"/>
              <a:t> </a:t>
            </a:r>
            <a:r>
              <a:rPr lang="en-US" altLang="zh-CN" dirty="0"/>
              <a:t>Courses)</a:t>
            </a:r>
          </a:p>
          <a:p>
            <a:pPr lvl="1"/>
            <a:r>
              <a:rPr lang="en-US" dirty="0">
                <a:hlinkClick r:id="rId2"/>
              </a:rPr>
              <a:t>https://developer.cisco.com/video/net-prog-basics/</a:t>
            </a:r>
            <a:endParaRPr lang="en-US" dirty="0"/>
          </a:p>
          <a:p>
            <a:r>
              <a:rPr lang="en-US" altLang="zh-CN" dirty="0"/>
              <a:t>Python</a:t>
            </a:r>
            <a:r>
              <a:rPr lang="zh-CN" altLang="en-US" dirty="0"/>
              <a:t> </a:t>
            </a:r>
            <a:r>
              <a:rPr lang="en-US" altLang="zh-CN" dirty="0"/>
              <a:t>Tutorial</a:t>
            </a:r>
          </a:p>
          <a:p>
            <a:pPr lvl="1"/>
            <a:r>
              <a:rPr lang="en-US" dirty="0">
                <a:hlinkClick r:id="rId3"/>
              </a:rPr>
              <a:t>https://www.learnpython.org/</a:t>
            </a:r>
            <a:endParaRPr lang="en-CN" dirty="0"/>
          </a:p>
        </p:txBody>
      </p:sp>
      <p:sp>
        <p:nvSpPr>
          <p:cNvPr id="3" name="Title 2">
            <a:extLst>
              <a:ext uri="{FF2B5EF4-FFF2-40B4-BE49-F238E27FC236}">
                <a16:creationId xmlns:a16="http://schemas.microsoft.com/office/drawing/2014/main" id="{5EFBDCAE-AA5F-104D-9DDF-BF5C89BDDA6B}"/>
              </a:ext>
            </a:extLst>
          </p:cNvPr>
          <p:cNvSpPr>
            <a:spLocks noGrp="1"/>
          </p:cNvSpPr>
          <p:nvPr>
            <p:ph type="title"/>
          </p:nvPr>
        </p:nvSpPr>
        <p:spPr/>
        <p:txBody>
          <a:bodyPr/>
          <a:lstStyle/>
          <a:p>
            <a:r>
              <a:rPr lang="en-CN" dirty="0"/>
              <a:t>Continue</a:t>
            </a:r>
            <a:r>
              <a:rPr lang="zh-CN" altLang="en-US" dirty="0"/>
              <a:t> </a:t>
            </a:r>
            <a:r>
              <a:rPr lang="en-US" altLang="zh-CN" dirty="0"/>
              <a:t>to</a:t>
            </a:r>
            <a:r>
              <a:rPr lang="zh-CN" altLang="en-US" dirty="0"/>
              <a:t> </a:t>
            </a:r>
            <a:r>
              <a:rPr lang="en-US" altLang="zh-CN" dirty="0"/>
              <a:t>study..</a:t>
            </a:r>
            <a:r>
              <a:rPr lang="zh-CN" altLang="en-US" dirty="0"/>
              <a:t> </a:t>
            </a:r>
            <a:endParaRPr lang="en-CN" dirty="0"/>
          </a:p>
        </p:txBody>
      </p:sp>
    </p:spTree>
    <p:extLst>
      <p:ext uri="{BB962C8B-B14F-4D97-AF65-F5344CB8AC3E}">
        <p14:creationId xmlns:p14="http://schemas.microsoft.com/office/powerpoint/2010/main" val="3881862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4682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1E5E00-4EEF-0A49-A4E7-7EAD13D7572F}"/>
              </a:ext>
            </a:extLst>
          </p:cNvPr>
          <p:cNvPicPr>
            <a:picLocks noChangeAspect="1"/>
          </p:cNvPicPr>
          <p:nvPr/>
        </p:nvPicPr>
        <p:blipFill>
          <a:blip r:embed="rId2"/>
          <a:stretch>
            <a:fillRect/>
          </a:stretch>
        </p:blipFill>
        <p:spPr>
          <a:xfrm>
            <a:off x="377398" y="1398813"/>
            <a:ext cx="7620000" cy="3530600"/>
          </a:xfrm>
          <a:prstGeom prst="rect">
            <a:avLst/>
          </a:prstGeom>
        </p:spPr>
      </p:pic>
      <p:sp>
        <p:nvSpPr>
          <p:cNvPr id="6" name="TextBox 5">
            <a:extLst>
              <a:ext uri="{FF2B5EF4-FFF2-40B4-BE49-F238E27FC236}">
                <a16:creationId xmlns:a16="http://schemas.microsoft.com/office/drawing/2014/main" id="{6E654661-68A6-C340-B118-25093E65E0C9}"/>
              </a:ext>
            </a:extLst>
          </p:cNvPr>
          <p:cNvSpPr txBox="1"/>
          <p:nvPr/>
        </p:nvSpPr>
        <p:spPr>
          <a:xfrm>
            <a:off x="8329890" y="2351314"/>
            <a:ext cx="3297698" cy="461665"/>
          </a:xfrm>
          <a:prstGeom prst="rect">
            <a:avLst/>
          </a:prstGeom>
          <a:noFill/>
        </p:spPr>
        <p:txBody>
          <a:bodyPr wrap="none" rtlCol="0">
            <a:spAutoFit/>
          </a:bodyPr>
          <a:lstStyle/>
          <a:p>
            <a:r>
              <a:rPr lang="en-US" sz="2400" b="1" dirty="0">
                <a:solidFill>
                  <a:srgbClr val="2E2E2E"/>
                </a:solidFill>
                <a:latin typeface="+mn-lt"/>
              </a:rPr>
              <a:t>Continuous Integration</a:t>
            </a:r>
          </a:p>
        </p:txBody>
      </p:sp>
      <p:sp>
        <p:nvSpPr>
          <p:cNvPr id="7" name="TextBox 6">
            <a:extLst>
              <a:ext uri="{FF2B5EF4-FFF2-40B4-BE49-F238E27FC236}">
                <a16:creationId xmlns:a16="http://schemas.microsoft.com/office/drawing/2014/main" id="{FF2332E1-DB7A-E846-98A4-4A30A5092D8E}"/>
              </a:ext>
            </a:extLst>
          </p:cNvPr>
          <p:cNvSpPr txBox="1"/>
          <p:nvPr/>
        </p:nvSpPr>
        <p:spPr>
          <a:xfrm>
            <a:off x="8329890" y="2912905"/>
            <a:ext cx="2945037" cy="461665"/>
          </a:xfrm>
          <a:prstGeom prst="rect">
            <a:avLst/>
          </a:prstGeom>
          <a:noFill/>
        </p:spPr>
        <p:txBody>
          <a:bodyPr wrap="none" rtlCol="0">
            <a:spAutoFit/>
          </a:bodyPr>
          <a:lstStyle/>
          <a:p>
            <a:r>
              <a:rPr lang="en-US" sz="2400" b="1" dirty="0">
                <a:solidFill>
                  <a:srgbClr val="2E2E2E"/>
                </a:solidFill>
                <a:latin typeface="+mn-lt"/>
              </a:rPr>
              <a:t>Continuous Delivery</a:t>
            </a:r>
          </a:p>
        </p:txBody>
      </p:sp>
      <p:sp>
        <p:nvSpPr>
          <p:cNvPr id="8" name="TextBox 7">
            <a:extLst>
              <a:ext uri="{FF2B5EF4-FFF2-40B4-BE49-F238E27FC236}">
                <a16:creationId xmlns:a16="http://schemas.microsoft.com/office/drawing/2014/main" id="{3AEE46A6-748C-E04C-92C3-12091CD0993B}"/>
              </a:ext>
            </a:extLst>
          </p:cNvPr>
          <p:cNvSpPr txBox="1"/>
          <p:nvPr/>
        </p:nvSpPr>
        <p:spPr>
          <a:xfrm>
            <a:off x="8329890" y="3474496"/>
            <a:ext cx="3502882" cy="461665"/>
          </a:xfrm>
          <a:prstGeom prst="rect">
            <a:avLst/>
          </a:prstGeom>
          <a:noFill/>
        </p:spPr>
        <p:txBody>
          <a:bodyPr wrap="none" rtlCol="0">
            <a:spAutoFit/>
          </a:bodyPr>
          <a:lstStyle/>
          <a:p>
            <a:r>
              <a:rPr lang="en-US" sz="2400" b="1" dirty="0">
                <a:solidFill>
                  <a:srgbClr val="2E2E2E"/>
                </a:solidFill>
                <a:latin typeface="+mn-lt"/>
              </a:rPr>
              <a:t>Continuous Deployment</a:t>
            </a:r>
          </a:p>
        </p:txBody>
      </p:sp>
    </p:spTree>
    <p:extLst>
      <p:ext uri="{BB962C8B-B14F-4D97-AF65-F5344CB8AC3E}">
        <p14:creationId xmlns:p14="http://schemas.microsoft.com/office/powerpoint/2010/main" val="37387510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254981E-F3B5-7845-8504-47E1450B63F6}"/>
              </a:ext>
            </a:extLst>
          </p:cNvPr>
          <p:cNvPicPr>
            <a:picLocks noChangeAspect="1"/>
          </p:cNvPicPr>
          <p:nvPr/>
        </p:nvPicPr>
        <p:blipFill>
          <a:blip r:embed="rId2"/>
          <a:stretch>
            <a:fillRect/>
          </a:stretch>
        </p:blipFill>
        <p:spPr>
          <a:xfrm>
            <a:off x="533400" y="2195285"/>
            <a:ext cx="6008914" cy="2002971"/>
          </a:xfrm>
          <a:prstGeom prst="rect">
            <a:avLst/>
          </a:prstGeom>
        </p:spPr>
      </p:pic>
      <p:pic>
        <p:nvPicPr>
          <p:cNvPr id="10" name="Picture 9">
            <a:extLst>
              <a:ext uri="{FF2B5EF4-FFF2-40B4-BE49-F238E27FC236}">
                <a16:creationId xmlns:a16="http://schemas.microsoft.com/office/drawing/2014/main" id="{78CBFF09-3038-EA47-A2D4-31A7A255CC97}"/>
              </a:ext>
            </a:extLst>
          </p:cNvPr>
          <p:cNvPicPr>
            <a:picLocks noChangeAspect="1"/>
          </p:cNvPicPr>
          <p:nvPr/>
        </p:nvPicPr>
        <p:blipFill>
          <a:blip r:embed="rId3"/>
          <a:stretch>
            <a:fillRect/>
          </a:stretch>
        </p:blipFill>
        <p:spPr>
          <a:xfrm>
            <a:off x="7718927" y="1418770"/>
            <a:ext cx="3556000" cy="3556000"/>
          </a:xfrm>
          <a:prstGeom prst="rect">
            <a:avLst/>
          </a:prstGeom>
        </p:spPr>
      </p:pic>
    </p:spTree>
    <p:extLst>
      <p:ext uri="{BB962C8B-B14F-4D97-AF65-F5344CB8AC3E}">
        <p14:creationId xmlns:p14="http://schemas.microsoft.com/office/powerpoint/2010/main" val="15069216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9DA943-D27C-324F-8981-EA10FB363CDF}"/>
              </a:ext>
            </a:extLst>
          </p:cNvPr>
          <p:cNvSpPr>
            <a:spLocks noGrp="1"/>
          </p:cNvSpPr>
          <p:nvPr>
            <p:ph type="body" sz="quarter" idx="10"/>
          </p:nvPr>
        </p:nvSpPr>
        <p:spPr/>
        <p:txBody>
          <a:bodyPr/>
          <a:lstStyle/>
          <a:p>
            <a:endParaRPr lang="en-CN"/>
          </a:p>
        </p:txBody>
      </p:sp>
      <p:pic>
        <p:nvPicPr>
          <p:cNvPr id="4" name="Picture 3">
            <a:extLst>
              <a:ext uri="{FF2B5EF4-FFF2-40B4-BE49-F238E27FC236}">
                <a16:creationId xmlns:a16="http://schemas.microsoft.com/office/drawing/2014/main" id="{740D0774-D5DB-F545-8056-2C4E68411876}"/>
              </a:ext>
            </a:extLst>
          </p:cNvPr>
          <p:cNvPicPr>
            <a:picLocks noChangeAspect="1"/>
          </p:cNvPicPr>
          <p:nvPr/>
        </p:nvPicPr>
        <p:blipFill>
          <a:blip r:embed="rId2"/>
          <a:stretch>
            <a:fillRect/>
          </a:stretch>
        </p:blipFill>
        <p:spPr>
          <a:xfrm>
            <a:off x="1327150" y="109049"/>
            <a:ext cx="9318262" cy="6400607"/>
          </a:xfrm>
          <a:prstGeom prst="rect">
            <a:avLst/>
          </a:prstGeom>
        </p:spPr>
      </p:pic>
      <p:sp>
        <p:nvSpPr>
          <p:cNvPr id="5" name="Title 4">
            <a:extLst>
              <a:ext uri="{FF2B5EF4-FFF2-40B4-BE49-F238E27FC236}">
                <a16:creationId xmlns:a16="http://schemas.microsoft.com/office/drawing/2014/main" id="{E9EE4F82-2FD1-474D-BF17-74A09BEB2D05}"/>
              </a:ext>
            </a:extLst>
          </p:cNvPr>
          <p:cNvSpPr>
            <a:spLocks noGrp="1"/>
          </p:cNvSpPr>
          <p:nvPr>
            <p:ph type="title"/>
          </p:nvPr>
        </p:nvSpPr>
        <p:spPr/>
        <p:txBody>
          <a:bodyPr/>
          <a:lstStyle/>
          <a:p>
            <a:endParaRPr lang="en-CN"/>
          </a:p>
        </p:txBody>
      </p:sp>
    </p:spTree>
    <p:extLst>
      <p:ext uri="{BB962C8B-B14F-4D97-AF65-F5344CB8AC3E}">
        <p14:creationId xmlns:p14="http://schemas.microsoft.com/office/powerpoint/2010/main" val="24250257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B40EBBF-1B3C-3546-BA23-6D95501AF57C}"/>
              </a:ext>
            </a:extLst>
          </p:cNvPr>
          <p:cNvSpPr>
            <a:spLocks noGrp="1"/>
          </p:cNvSpPr>
          <p:nvPr>
            <p:ph type="body" sz="quarter" idx="10"/>
          </p:nvPr>
        </p:nvSpPr>
        <p:spPr/>
        <p:txBody>
          <a:bodyPr/>
          <a:lstStyle/>
          <a:p>
            <a:endParaRPr lang="en-CN"/>
          </a:p>
        </p:txBody>
      </p:sp>
      <p:sp>
        <p:nvSpPr>
          <p:cNvPr id="3" name="Title 2">
            <a:extLst>
              <a:ext uri="{FF2B5EF4-FFF2-40B4-BE49-F238E27FC236}">
                <a16:creationId xmlns:a16="http://schemas.microsoft.com/office/drawing/2014/main" id="{EA9E2CFC-402B-994D-8C50-D5F52F0DDDAF}"/>
              </a:ext>
            </a:extLst>
          </p:cNvPr>
          <p:cNvSpPr>
            <a:spLocks noGrp="1"/>
          </p:cNvSpPr>
          <p:nvPr>
            <p:ph type="title"/>
          </p:nvPr>
        </p:nvSpPr>
        <p:spPr/>
        <p:txBody>
          <a:bodyPr/>
          <a:lstStyle/>
          <a:p>
            <a:r>
              <a:rPr lang="en-CN" dirty="0"/>
              <a:t>NetDevOps</a:t>
            </a:r>
          </a:p>
        </p:txBody>
      </p:sp>
      <p:pic>
        <p:nvPicPr>
          <p:cNvPr id="5" name="Picture 4">
            <a:extLst>
              <a:ext uri="{FF2B5EF4-FFF2-40B4-BE49-F238E27FC236}">
                <a16:creationId xmlns:a16="http://schemas.microsoft.com/office/drawing/2014/main" id="{7655FAD2-36C1-0F44-950D-FFA181A97662}"/>
              </a:ext>
            </a:extLst>
          </p:cNvPr>
          <p:cNvPicPr>
            <a:picLocks noChangeAspect="1"/>
          </p:cNvPicPr>
          <p:nvPr/>
        </p:nvPicPr>
        <p:blipFill>
          <a:blip r:embed="rId2"/>
          <a:stretch>
            <a:fillRect/>
          </a:stretch>
        </p:blipFill>
        <p:spPr>
          <a:xfrm>
            <a:off x="1698170" y="2020358"/>
            <a:ext cx="8675915" cy="3882740"/>
          </a:xfrm>
          <a:prstGeom prst="rect">
            <a:avLst/>
          </a:prstGeom>
        </p:spPr>
      </p:pic>
    </p:spTree>
    <p:extLst>
      <p:ext uri="{BB962C8B-B14F-4D97-AF65-F5344CB8AC3E}">
        <p14:creationId xmlns:p14="http://schemas.microsoft.com/office/powerpoint/2010/main" val="30776771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sco DevNet">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DevNet" id="{334C7F0E-413D-E045-8218-2B0D13C8A31E}" vid="{6D1C071B-2B84-C449-A45D-9DF74D5B1D6A}"/>
    </a:ext>
  </a:extLst>
</a:theme>
</file>

<file path=ppt/theme/theme2.xml><?xml version="1.0" encoding="utf-8"?>
<a:theme xmlns:a="http://schemas.openxmlformats.org/drawingml/2006/main" name="1_Cisco Corporate Template 2018 - DevNet">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8 - DevNet" id="{EC8FF9A2-13EC-5642-BA01-C30BBBA70B57}" vid="{3076C56B-7129-8940-870D-D31F56EB3976}"/>
    </a:ext>
  </a:extLst>
</a:theme>
</file>

<file path=ppt/theme/theme3.xml><?xml version="1.0" encoding="utf-8"?>
<a:theme xmlns:a="http://schemas.openxmlformats.org/drawingml/2006/main" name="1_Cisco Corporate Template 2017">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7" id="{AC841D0A-4F3A-404B-8CEF-ADBD58A305C1}" vid="{8D82013A-E1FC-864A-9872-47C049857E44}"/>
    </a:ext>
  </a:extLst>
</a:theme>
</file>

<file path=ppt/theme/theme4.xml><?xml version="1.0" encoding="utf-8"?>
<a:theme xmlns:a="http://schemas.openxmlformats.org/drawingml/2006/main" name="Blue theme 2018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2017_16x9_Corporate template_WST Lock Up" id="{A017039E-00F5-4237-B4C8-7E7F91EF4295}" vid="{94090727-8B40-4640-80B6-6B23D5758A3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Cisco Corporate Template 2018 - DevNet">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8 - DevNet" id="{EC8FF9A2-13EC-5642-BA01-C30BBBA70B57}" vid="{3076C56B-7129-8940-870D-D31F56EB3976}"/>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BBEB"/>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BBEB"/>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themeOverride>
</file>

<file path=ppt/theme/themeOverride2.xml><?xml version="1.0" encoding="utf-8"?>
<a:themeOverride xmlns:a="http://schemas.openxmlformats.org/drawingml/2006/main">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themeOverride>
</file>

<file path=docProps/app.xml><?xml version="1.0" encoding="utf-8"?>
<Properties xmlns="http://schemas.openxmlformats.org/officeDocument/2006/extended-properties" xmlns:vt="http://schemas.openxmlformats.org/officeDocument/2006/docPropsVTypes">
  <Template>Cisco DevNet</Template>
  <TotalTime>7847</TotalTime>
  <Words>5690</Words>
  <Application>Microsoft Macintosh PowerPoint</Application>
  <PresentationFormat>Widescreen</PresentationFormat>
  <Paragraphs>880</Paragraphs>
  <Slides>54</Slides>
  <Notes>7</Notes>
  <HiddenSlides>3</HiddenSlides>
  <MMClips>0</MMClips>
  <ScaleCrop>false</ScaleCrop>
  <HeadingPairs>
    <vt:vector size="8" baseType="variant">
      <vt:variant>
        <vt:lpstr>Fonts Used</vt:lpstr>
      </vt:variant>
      <vt:variant>
        <vt:i4>14</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7" baseType="lpstr">
      <vt:lpstr>Ciscolight</vt:lpstr>
      <vt:lpstr>Arial</vt:lpstr>
      <vt:lpstr>Calibri</vt:lpstr>
      <vt:lpstr>CiscoSans ExtraLight</vt:lpstr>
      <vt:lpstr>CiscoSansTT</vt:lpstr>
      <vt:lpstr>CiscoSansTT ExtraLight</vt:lpstr>
      <vt:lpstr>CiscoSansTT Heavy</vt:lpstr>
      <vt:lpstr>CiscoSansTT Light</vt:lpstr>
      <vt:lpstr>Courier New</vt:lpstr>
      <vt:lpstr>Lucida Sans Unicode</vt:lpstr>
      <vt:lpstr>Menlo</vt:lpstr>
      <vt:lpstr>Tahoma</vt:lpstr>
      <vt:lpstr>Times New Roman</vt:lpstr>
      <vt:lpstr>Wingdings</vt:lpstr>
      <vt:lpstr>Cisco DevNet</vt:lpstr>
      <vt:lpstr>1_Cisco Corporate Template 2018 - DevNet</vt:lpstr>
      <vt:lpstr>1_Cisco Corporate Template 2017</vt:lpstr>
      <vt:lpstr>Blue theme 2018 16x9</vt:lpstr>
      <vt:lpstr>Office Theme</vt:lpstr>
      <vt:lpstr>Cisco Corporate Template 2018 - DevNet</vt:lpstr>
      <vt:lpstr>1_Office Theme</vt:lpstr>
      <vt:lpstr>2_Office Theme</vt:lpstr>
      <vt:lpstr>think-cell Slide</vt:lpstr>
      <vt:lpstr>DevNet Learning Forum</vt:lpstr>
      <vt:lpstr>Agenda</vt:lpstr>
      <vt:lpstr>Review</vt:lpstr>
      <vt:lpstr>PowerPoint Presentation</vt:lpstr>
      <vt:lpstr>DevOps &amp; NetDevOps</vt:lpstr>
      <vt:lpstr>PowerPoint Presentation</vt:lpstr>
      <vt:lpstr>PowerPoint Presentation</vt:lpstr>
      <vt:lpstr>PowerPoint Presentation</vt:lpstr>
      <vt:lpstr>NetDevOps</vt:lpstr>
      <vt:lpstr>PowerPoint Presentation</vt:lpstr>
      <vt:lpstr>Configuration Management Tools</vt:lpstr>
      <vt:lpstr>Matrix of Common Info and Terms</vt:lpstr>
      <vt:lpstr>Why Ansible for the Network?</vt:lpstr>
      <vt:lpstr>Ansible</vt:lpstr>
      <vt:lpstr>Real-Time Remote Execution of Commands</vt:lpstr>
      <vt:lpstr>Change Control Workflow Orchestration</vt:lpstr>
      <vt:lpstr>How does Ansible work?</vt:lpstr>
      <vt:lpstr>Inside the Ansible Control Station</vt:lpstr>
      <vt:lpstr>Installing Ansible</vt:lpstr>
      <vt:lpstr>Ansible Configuration File</vt:lpstr>
      <vt:lpstr>Ansible Authentication Basics</vt:lpstr>
      <vt:lpstr>Ansible Inventory File</vt:lpstr>
      <vt:lpstr>Ansible CLI Tool Overview</vt:lpstr>
      <vt:lpstr>Using Ansible CLI for ad-hoc Commands</vt:lpstr>
      <vt:lpstr>PowerPoint Presentation</vt:lpstr>
      <vt:lpstr>Ansible Terms</vt:lpstr>
      <vt:lpstr>Ansible Playbooks</vt:lpstr>
      <vt:lpstr>Ansible Playbooks</vt:lpstr>
      <vt:lpstr>Using Variable Files and Loops with Ansible</vt:lpstr>
      <vt:lpstr>Using Variable Files and Loops with Ansible</vt:lpstr>
      <vt:lpstr>Host and Group Variables</vt:lpstr>
      <vt:lpstr>PowerPoint Presentation</vt:lpstr>
      <vt:lpstr>Jinja2 Templating – Variables to the Max!</vt:lpstr>
      <vt:lpstr>Jinja2 Templating – Variables to the Max!</vt:lpstr>
      <vt:lpstr>PowerPoint Presentation</vt:lpstr>
      <vt:lpstr>Ansible and Networking</vt:lpstr>
      <vt:lpstr>Review: Installing Ansible</vt:lpstr>
      <vt:lpstr>Review: Ansible Configuration File</vt:lpstr>
      <vt:lpstr>Review: Ansible Inventory File</vt:lpstr>
      <vt:lpstr>Network Authentication</vt:lpstr>
      <vt:lpstr>ios_facts</vt:lpstr>
      <vt:lpstr>ios_command</vt:lpstr>
      <vt:lpstr>ios_config</vt:lpstr>
      <vt:lpstr>ios_vrf</vt:lpstr>
      <vt:lpstr>ios_user</vt:lpstr>
      <vt:lpstr>netconf_config</vt:lpstr>
      <vt:lpstr>Use our Ansible Mastery!</vt:lpstr>
      <vt:lpstr>PowerPoint Presentation</vt:lpstr>
      <vt:lpstr>Ansible Working Directory</vt:lpstr>
      <vt:lpstr>Ansible Roles Per Feature</vt:lpstr>
      <vt:lpstr>Summary</vt:lpstr>
      <vt:lpstr>Hands-on</vt:lpstr>
      <vt:lpstr>Continue to study..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nt Learning Forum</dc:title>
  <dc:creator>Frank Tan (qutan)</dc:creator>
  <cp:lastModifiedBy>Frank Tan (qutan)</cp:lastModifiedBy>
  <cp:revision>2</cp:revision>
  <dcterms:created xsi:type="dcterms:W3CDTF">2020-03-01T12:42:14Z</dcterms:created>
  <dcterms:modified xsi:type="dcterms:W3CDTF">2020-04-16T07:58:32Z</dcterms:modified>
</cp:coreProperties>
</file>